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theme/theme2.xml" ContentType="application/vnd.openxmlformats-officedocument.theme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theme/theme4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92" r:id="rId2"/>
    <p:sldMasterId id="2147483726" r:id="rId3"/>
    <p:sldMasterId id="2147483774" r:id="rId4"/>
  </p:sldMasterIdLst>
  <p:notesMasterIdLst>
    <p:notesMasterId r:id="rId44"/>
  </p:notesMasterIdLst>
  <p:sldIdLst>
    <p:sldId id="1052" r:id="rId5"/>
    <p:sldId id="1056" r:id="rId6"/>
    <p:sldId id="1047" r:id="rId7"/>
    <p:sldId id="284" r:id="rId8"/>
    <p:sldId id="293" r:id="rId9"/>
    <p:sldId id="280" r:id="rId10"/>
    <p:sldId id="282" r:id="rId11"/>
    <p:sldId id="283" r:id="rId12"/>
    <p:sldId id="289" r:id="rId13"/>
    <p:sldId id="290" r:id="rId14"/>
    <p:sldId id="288" r:id="rId15"/>
    <p:sldId id="285" r:id="rId16"/>
    <p:sldId id="286" r:id="rId17"/>
    <p:sldId id="287" r:id="rId18"/>
    <p:sldId id="291" r:id="rId19"/>
    <p:sldId id="292" r:id="rId20"/>
    <p:sldId id="431" r:id="rId21"/>
    <p:sldId id="294" r:id="rId22"/>
    <p:sldId id="384" r:id="rId23"/>
    <p:sldId id="297" r:id="rId24"/>
    <p:sldId id="296" r:id="rId25"/>
    <p:sldId id="416" r:id="rId26"/>
    <p:sldId id="415" r:id="rId27"/>
    <p:sldId id="388" r:id="rId28"/>
    <p:sldId id="420" r:id="rId29"/>
    <p:sldId id="421" r:id="rId30"/>
    <p:sldId id="422" r:id="rId31"/>
    <p:sldId id="432" r:id="rId32"/>
    <p:sldId id="419" r:id="rId33"/>
    <p:sldId id="426" r:id="rId34"/>
    <p:sldId id="425" r:id="rId35"/>
    <p:sldId id="429" r:id="rId36"/>
    <p:sldId id="430" r:id="rId37"/>
    <p:sldId id="428" r:id="rId38"/>
    <p:sldId id="434" r:id="rId39"/>
    <p:sldId id="433" r:id="rId40"/>
    <p:sldId id="435" r:id="rId41"/>
    <p:sldId id="436" r:id="rId42"/>
    <p:sldId id="1057" r:id="rId43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AD5AD1F-F6AC-4C3F-AA97-93251A9408D5}" v="1341" dt="2022-08-05T10:22:50.554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577" autoAdjust="0"/>
    <p:restoredTop sz="94660"/>
  </p:normalViewPr>
  <p:slideViewPr>
    <p:cSldViewPr snapToGrid="0">
      <p:cViewPr>
        <p:scale>
          <a:sx n="70" d="100"/>
          <a:sy n="70" d="100"/>
        </p:scale>
        <p:origin x="552" y="3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slide" Target="slides/slide35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slide" Target="slides/slide38.xml"/><Relationship Id="rId47" Type="http://schemas.openxmlformats.org/officeDocument/2006/relationships/theme" Target="theme/theme1.xml"/><Relationship Id="rId50" Type="http://schemas.microsoft.com/office/2015/10/relationships/revisionInfo" Target="revisionInfo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41" Type="http://schemas.openxmlformats.org/officeDocument/2006/relationships/slide" Target="slides/slide3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presProps" Target="pres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microsoft.com/office/2016/11/relationships/changesInfo" Target="changesInfos/changesInfo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4" Type="http://schemas.openxmlformats.org/officeDocument/2006/relationships/notesMaster" Target="notesMasters/notesMaster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slide" Target="slides/slide39.xml"/><Relationship Id="rId48" Type="http://schemas.openxmlformats.org/officeDocument/2006/relationships/tableStyles" Target="tableStyles.xml"/><Relationship Id="rId8" Type="http://schemas.openxmlformats.org/officeDocument/2006/relationships/slide" Target="slides/slide4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yush Upendranath Bhupal" userId="6b6d5788-80ed-4f51-ac98-0534e81c51ce" providerId="ADAL" clId="{8F339638-5416-44EC-BF05-2E56A3E13779}"/>
    <pc:docChg chg="undo redo custSel addSld modSld">
      <pc:chgData name="Ayush Upendranath Bhupal" userId="6b6d5788-80ed-4f51-ac98-0534e81c51ce" providerId="ADAL" clId="{8F339638-5416-44EC-BF05-2E56A3E13779}" dt="2022-07-27T15:48:17.298" v="525" actId="20577"/>
      <pc:docMkLst>
        <pc:docMk/>
      </pc:docMkLst>
      <pc:sldChg chg="addSp delSp modSp new mod setBg">
        <pc:chgData name="Ayush Upendranath Bhupal" userId="6b6d5788-80ed-4f51-ac98-0534e81c51ce" providerId="ADAL" clId="{8F339638-5416-44EC-BF05-2E56A3E13779}" dt="2022-07-27T14:42:41.462" v="95" actId="6549"/>
        <pc:sldMkLst>
          <pc:docMk/>
          <pc:sldMk cId="1508931319" sldId="284"/>
        </pc:sldMkLst>
        <pc:spChg chg="mod">
          <ac:chgData name="Ayush Upendranath Bhupal" userId="6b6d5788-80ed-4f51-ac98-0534e81c51ce" providerId="ADAL" clId="{8F339638-5416-44EC-BF05-2E56A3E13779}" dt="2022-07-27T14:39:45.150" v="20" actId="26606"/>
          <ac:spMkLst>
            <pc:docMk/>
            <pc:sldMk cId="1508931319" sldId="284"/>
            <ac:spMk id="2" creationId="{73574681-85B1-4B5B-BB34-1BD3ADCA3208}"/>
          </ac:spMkLst>
        </pc:spChg>
        <pc:spChg chg="del">
          <ac:chgData name="Ayush Upendranath Bhupal" userId="6b6d5788-80ed-4f51-ac98-0534e81c51ce" providerId="ADAL" clId="{8F339638-5416-44EC-BF05-2E56A3E13779}" dt="2022-07-27T14:39:13.345" v="1" actId="22"/>
          <ac:spMkLst>
            <pc:docMk/>
            <pc:sldMk cId="1508931319" sldId="284"/>
            <ac:spMk id="3" creationId="{C0E0A2C9-C3D8-445E-ACBF-B402891CA4FB}"/>
          </ac:spMkLst>
        </pc:spChg>
        <pc:spChg chg="add mod">
          <ac:chgData name="Ayush Upendranath Bhupal" userId="6b6d5788-80ed-4f51-ac98-0534e81c51ce" providerId="ADAL" clId="{8F339638-5416-44EC-BF05-2E56A3E13779}" dt="2022-07-27T14:42:41.462" v="95" actId="6549"/>
          <ac:spMkLst>
            <pc:docMk/>
            <pc:sldMk cId="1508931319" sldId="284"/>
            <ac:spMk id="9" creationId="{B6AA15B1-7CB8-C65E-300F-6EA27C2751D1}"/>
          </ac:spMkLst>
        </pc:spChg>
        <pc:spChg chg="add del">
          <ac:chgData name="Ayush Upendranath Bhupal" userId="6b6d5788-80ed-4f51-ac98-0534e81c51ce" providerId="ADAL" clId="{8F339638-5416-44EC-BF05-2E56A3E13779}" dt="2022-07-27T14:39:45.143" v="19" actId="26606"/>
          <ac:spMkLst>
            <pc:docMk/>
            <pc:sldMk cId="1508931319" sldId="284"/>
            <ac:spMk id="12" creationId="{7F57BEA8-497D-4AA8-8A18-BDCD696B25FE}"/>
          </ac:spMkLst>
        </pc:spChg>
        <pc:spChg chg="add">
          <ac:chgData name="Ayush Upendranath Bhupal" userId="6b6d5788-80ed-4f51-ac98-0534e81c51ce" providerId="ADAL" clId="{8F339638-5416-44EC-BF05-2E56A3E13779}" dt="2022-07-27T14:39:45.150" v="20" actId="26606"/>
          <ac:spMkLst>
            <pc:docMk/>
            <pc:sldMk cId="1508931319" sldId="284"/>
            <ac:spMk id="18" creationId="{96918796-2918-40D6-BE3A-4600C47FCD42}"/>
          </ac:spMkLst>
        </pc:spChg>
        <pc:picChg chg="add mod ord">
          <ac:chgData name="Ayush Upendranath Bhupal" userId="6b6d5788-80ed-4f51-ac98-0534e81c51ce" providerId="ADAL" clId="{8F339638-5416-44EC-BF05-2E56A3E13779}" dt="2022-07-27T14:42:10.976" v="92" actId="14100"/>
          <ac:picMkLst>
            <pc:docMk/>
            <pc:sldMk cId="1508931319" sldId="284"/>
            <ac:picMk id="5" creationId="{6FD94CE2-C77D-43C4-BDD8-9056776034AF}"/>
          </ac:picMkLst>
        </pc:picChg>
        <pc:cxnChg chg="add del">
          <ac:chgData name="Ayush Upendranath Bhupal" userId="6b6d5788-80ed-4f51-ac98-0534e81c51ce" providerId="ADAL" clId="{8F339638-5416-44EC-BF05-2E56A3E13779}" dt="2022-07-27T14:39:45.143" v="19" actId="26606"/>
          <ac:cxnSpMkLst>
            <pc:docMk/>
            <pc:sldMk cId="1508931319" sldId="284"/>
            <ac:cxnSpMk id="10" creationId="{D2E961F1-4A28-4A5F-BBD4-6E400E5E6C75}"/>
          </ac:cxnSpMkLst>
        </pc:cxnChg>
        <pc:cxnChg chg="add del">
          <ac:chgData name="Ayush Upendranath Bhupal" userId="6b6d5788-80ed-4f51-ac98-0534e81c51ce" providerId="ADAL" clId="{8F339638-5416-44EC-BF05-2E56A3E13779}" dt="2022-07-27T14:39:45.143" v="19" actId="26606"/>
          <ac:cxnSpMkLst>
            <pc:docMk/>
            <pc:sldMk cId="1508931319" sldId="284"/>
            <ac:cxnSpMk id="14" creationId="{A82415D3-DDE5-4D63-8CB3-23A5EC581B27}"/>
          </ac:cxnSpMkLst>
        </pc:cxnChg>
        <pc:cxnChg chg="add del">
          <ac:chgData name="Ayush Upendranath Bhupal" userId="6b6d5788-80ed-4f51-ac98-0534e81c51ce" providerId="ADAL" clId="{8F339638-5416-44EC-BF05-2E56A3E13779}" dt="2022-07-27T14:39:45.143" v="19" actId="26606"/>
          <ac:cxnSpMkLst>
            <pc:docMk/>
            <pc:sldMk cId="1508931319" sldId="284"/>
            <ac:cxnSpMk id="16" creationId="{AD7193FB-6AE6-4B3B-8F89-56B55DD63B4D}"/>
          </ac:cxnSpMkLst>
        </pc:cxnChg>
      </pc:sldChg>
      <pc:sldChg chg="addSp delSp modSp new mod setBg">
        <pc:chgData name="Ayush Upendranath Bhupal" userId="6b6d5788-80ed-4f51-ac98-0534e81c51ce" providerId="ADAL" clId="{8F339638-5416-44EC-BF05-2E56A3E13779}" dt="2022-07-27T15:48:17.298" v="525" actId="20577"/>
        <pc:sldMkLst>
          <pc:docMk/>
          <pc:sldMk cId="1499161885" sldId="285"/>
        </pc:sldMkLst>
        <pc:spChg chg="mod">
          <ac:chgData name="Ayush Upendranath Bhupal" userId="6b6d5788-80ed-4f51-ac98-0534e81c51ce" providerId="ADAL" clId="{8F339638-5416-44EC-BF05-2E56A3E13779}" dt="2022-07-27T14:48:39.502" v="191" actId="27636"/>
          <ac:spMkLst>
            <pc:docMk/>
            <pc:sldMk cId="1499161885" sldId="285"/>
            <ac:spMk id="2" creationId="{635DB3D5-9492-416A-A7FE-96CE81E53B8A}"/>
          </ac:spMkLst>
        </pc:spChg>
        <pc:spChg chg="del">
          <ac:chgData name="Ayush Upendranath Bhupal" userId="6b6d5788-80ed-4f51-ac98-0534e81c51ce" providerId="ADAL" clId="{8F339638-5416-44EC-BF05-2E56A3E13779}" dt="2022-07-27T14:46:44.908" v="97" actId="931"/>
          <ac:spMkLst>
            <pc:docMk/>
            <pc:sldMk cId="1499161885" sldId="285"/>
            <ac:spMk id="3" creationId="{8785F386-F02B-4497-8B5A-478F147FEF92}"/>
          </ac:spMkLst>
        </pc:spChg>
        <pc:spChg chg="add mod">
          <ac:chgData name="Ayush Upendranath Bhupal" userId="6b6d5788-80ed-4f51-ac98-0534e81c51ce" providerId="ADAL" clId="{8F339638-5416-44EC-BF05-2E56A3E13779}" dt="2022-07-27T15:48:17.298" v="525" actId="20577"/>
          <ac:spMkLst>
            <pc:docMk/>
            <pc:sldMk cId="1499161885" sldId="285"/>
            <ac:spMk id="9" creationId="{186B9809-82E1-04DA-FD32-6A2348087C9C}"/>
          </ac:spMkLst>
        </pc:spChg>
        <pc:spChg chg="add">
          <ac:chgData name="Ayush Upendranath Bhupal" userId="6b6d5788-80ed-4f51-ac98-0534e81c51ce" providerId="ADAL" clId="{8F339638-5416-44EC-BF05-2E56A3E13779}" dt="2022-07-27T14:47:00.267" v="101" actId="26606"/>
          <ac:spMkLst>
            <pc:docMk/>
            <pc:sldMk cId="1499161885" sldId="285"/>
            <ac:spMk id="12" creationId="{5E39A796-BE83-48B1-B33F-35C4A32AAB57}"/>
          </ac:spMkLst>
        </pc:spChg>
        <pc:spChg chg="add">
          <ac:chgData name="Ayush Upendranath Bhupal" userId="6b6d5788-80ed-4f51-ac98-0534e81c51ce" providerId="ADAL" clId="{8F339638-5416-44EC-BF05-2E56A3E13779}" dt="2022-07-27T14:47:00.267" v="101" actId="26606"/>
          <ac:spMkLst>
            <pc:docMk/>
            <pc:sldMk cId="1499161885" sldId="285"/>
            <ac:spMk id="14" creationId="{72F84B47-E267-4194-8194-831DB7B5547F}"/>
          </ac:spMkLst>
        </pc:spChg>
        <pc:picChg chg="add mod">
          <ac:chgData name="Ayush Upendranath Bhupal" userId="6b6d5788-80ed-4f51-ac98-0534e81c51ce" providerId="ADAL" clId="{8F339638-5416-44EC-BF05-2E56A3E13779}" dt="2022-07-27T14:47:41.432" v="106" actId="14100"/>
          <ac:picMkLst>
            <pc:docMk/>
            <pc:sldMk cId="1499161885" sldId="285"/>
            <ac:picMk id="5" creationId="{C1C8C599-3FBF-49E1-A8FA-D58917035426}"/>
          </ac:picMkLst>
        </pc:picChg>
      </pc:sldChg>
      <pc:sldChg chg="addSp delSp modSp new mod">
        <pc:chgData name="Ayush Upendranath Bhupal" userId="6b6d5788-80ed-4f51-ac98-0534e81c51ce" providerId="ADAL" clId="{8F339638-5416-44EC-BF05-2E56A3E13779}" dt="2022-07-27T15:29:59.579" v="480" actId="20577"/>
        <pc:sldMkLst>
          <pc:docMk/>
          <pc:sldMk cId="1495342392" sldId="286"/>
        </pc:sldMkLst>
        <pc:spChg chg="del">
          <ac:chgData name="Ayush Upendranath Bhupal" userId="6b6d5788-80ed-4f51-ac98-0534e81c51ce" providerId="ADAL" clId="{8F339638-5416-44EC-BF05-2E56A3E13779}" dt="2022-07-27T15:25:40.360" v="420" actId="478"/>
          <ac:spMkLst>
            <pc:docMk/>
            <pc:sldMk cId="1495342392" sldId="286"/>
            <ac:spMk id="2" creationId="{74430910-BCAC-4EF0-B7DA-46214DB2876A}"/>
          </ac:spMkLst>
        </pc:spChg>
        <pc:spChg chg="del">
          <ac:chgData name="Ayush Upendranath Bhupal" userId="6b6d5788-80ed-4f51-ac98-0534e81c51ce" providerId="ADAL" clId="{8F339638-5416-44EC-BF05-2E56A3E13779}" dt="2022-07-27T15:24:11.693" v="399"/>
          <ac:spMkLst>
            <pc:docMk/>
            <pc:sldMk cId="1495342392" sldId="286"/>
            <ac:spMk id="3" creationId="{288AE717-3699-45BD-9FAA-AA6252E018EC}"/>
          </ac:spMkLst>
        </pc:spChg>
        <pc:graphicFrameChg chg="add mod">
          <ac:chgData name="Ayush Upendranath Bhupal" userId="6b6d5788-80ed-4f51-ac98-0534e81c51ce" providerId="ADAL" clId="{8F339638-5416-44EC-BF05-2E56A3E13779}" dt="2022-07-27T15:29:15.520" v="456" actId="20577"/>
          <ac:graphicFrameMkLst>
            <pc:docMk/>
            <pc:sldMk cId="1495342392" sldId="286"/>
            <ac:graphicFrameMk id="4" creationId="{98AE70A7-9777-4CEC-9984-85DECC7020A4}"/>
          </ac:graphicFrameMkLst>
        </pc:graphicFrameChg>
        <pc:graphicFrameChg chg="add mod">
          <ac:chgData name="Ayush Upendranath Bhupal" userId="6b6d5788-80ed-4f51-ac98-0534e81c51ce" providerId="ADAL" clId="{8F339638-5416-44EC-BF05-2E56A3E13779}" dt="2022-07-27T15:29:59.579" v="480" actId="20577"/>
          <ac:graphicFrameMkLst>
            <pc:docMk/>
            <pc:sldMk cId="1495342392" sldId="286"/>
            <ac:graphicFrameMk id="5" creationId="{931DCCF4-7C62-4362-8C4D-482B16E4345C}"/>
          </ac:graphicFrameMkLst>
        </pc:graphicFrameChg>
      </pc:sldChg>
      <pc:sldChg chg="addSp delSp modSp new mod setBg">
        <pc:chgData name="Ayush Upendranath Bhupal" userId="6b6d5788-80ed-4f51-ac98-0534e81c51ce" providerId="ADAL" clId="{8F339638-5416-44EC-BF05-2E56A3E13779}" dt="2022-07-27T14:56:00.915" v="381" actId="20577"/>
        <pc:sldMkLst>
          <pc:docMk/>
          <pc:sldMk cId="4072814482" sldId="287"/>
        </pc:sldMkLst>
        <pc:spChg chg="mod">
          <ac:chgData name="Ayush Upendranath Bhupal" userId="6b6d5788-80ed-4f51-ac98-0534e81c51ce" providerId="ADAL" clId="{8F339638-5416-44EC-BF05-2E56A3E13779}" dt="2022-07-27T14:56:00.915" v="381" actId="20577"/>
          <ac:spMkLst>
            <pc:docMk/>
            <pc:sldMk cId="4072814482" sldId="287"/>
            <ac:spMk id="2" creationId="{B7866C0E-BC2F-4EA7-B048-4CBD243D925E}"/>
          </ac:spMkLst>
        </pc:spChg>
        <pc:spChg chg="add del">
          <ac:chgData name="Ayush Upendranath Bhupal" userId="6b6d5788-80ed-4f51-ac98-0534e81c51ce" providerId="ADAL" clId="{8F339638-5416-44EC-BF05-2E56A3E13779}" dt="2022-07-27T14:55:04.223" v="307" actId="26606"/>
          <ac:spMkLst>
            <pc:docMk/>
            <pc:sldMk cId="4072814482" sldId="287"/>
            <ac:spMk id="3" creationId="{FFC923E2-8608-45D4-BA0C-466BA23A29CB}"/>
          </ac:spMkLst>
        </pc:spChg>
        <pc:spChg chg="add">
          <ac:chgData name="Ayush Upendranath Bhupal" userId="6b6d5788-80ed-4f51-ac98-0534e81c51ce" providerId="ADAL" clId="{8F339638-5416-44EC-BF05-2E56A3E13779}" dt="2022-07-27T14:55:04.223" v="307" actId="26606"/>
          <ac:spMkLst>
            <pc:docMk/>
            <pc:sldMk cId="4072814482" sldId="287"/>
            <ac:spMk id="9" creationId="{6753252F-4873-4F63-801D-CC719279A7D5}"/>
          </ac:spMkLst>
        </pc:spChg>
        <pc:spChg chg="add del">
          <ac:chgData name="Ayush Upendranath Bhupal" userId="6b6d5788-80ed-4f51-ac98-0534e81c51ce" providerId="ADAL" clId="{8F339638-5416-44EC-BF05-2E56A3E13779}" dt="2022-07-27T14:52:12.994" v="277" actId="26606"/>
          <ac:spMkLst>
            <pc:docMk/>
            <pc:sldMk cId="4072814482" sldId="287"/>
            <ac:spMk id="10" creationId="{6753252F-4873-4F63-801D-CC719279A7D5}"/>
          </ac:spMkLst>
        </pc:spChg>
        <pc:spChg chg="add del">
          <ac:chgData name="Ayush Upendranath Bhupal" userId="6b6d5788-80ed-4f51-ac98-0534e81c51ce" providerId="ADAL" clId="{8F339638-5416-44EC-BF05-2E56A3E13779}" dt="2022-07-27T14:52:12.994" v="277" actId="26606"/>
          <ac:spMkLst>
            <pc:docMk/>
            <pc:sldMk cId="4072814482" sldId="287"/>
            <ac:spMk id="12" creationId="{047C8CCB-F95D-4249-92DD-651249D3535A}"/>
          </ac:spMkLst>
        </pc:spChg>
        <pc:spChg chg="add">
          <ac:chgData name="Ayush Upendranath Bhupal" userId="6b6d5788-80ed-4f51-ac98-0534e81c51ce" providerId="ADAL" clId="{8F339638-5416-44EC-BF05-2E56A3E13779}" dt="2022-07-27T14:55:04.223" v="307" actId="26606"/>
          <ac:spMkLst>
            <pc:docMk/>
            <pc:sldMk cId="4072814482" sldId="287"/>
            <ac:spMk id="14" creationId="{047C8CCB-F95D-4249-92DD-651249D3535A}"/>
          </ac:spMkLst>
        </pc:spChg>
        <pc:picChg chg="add del mod ord">
          <ac:chgData name="Ayush Upendranath Bhupal" userId="6b6d5788-80ed-4f51-ac98-0534e81c51ce" providerId="ADAL" clId="{8F339638-5416-44EC-BF05-2E56A3E13779}" dt="2022-07-27T14:53:07.276" v="303" actId="931"/>
          <ac:picMkLst>
            <pc:docMk/>
            <pc:sldMk cId="4072814482" sldId="287"/>
            <ac:picMk id="5" creationId="{0F2645BB-371F-44A7-A4C6-F5D01EB6718D}"/>
          </ac:picMkLst>
        </pc:picChg>
        <pc:picChg chg="add mod">
          <ac:chgData name="Ayush Upendranath Bhupal" userId="6b6d5788-80ed-4f51-ac98-0534e81c51ce" providerId="ADAL" clId="{8F339638-5416-44EC-BF05-2E56A3E13779}" dt="2022-07-27T14:55:23.257" v="314" actId="1076"/>
          <ac:picMkLst>
            <pc:docMk/>
            <pc:sldMk cId="4072814482" sldId="287"/>
            <ac:picMk id="7" creationId="{9F949F6B-9D6C-4E06-8A9C-C358F9766CAE}"/>
          </ac:picMkLst>
        </pc:picChg>
      </pc:sldChg>
    </pc:docChg>
  </pc:docChgLst>
  <pc:docChgLst>
    <pc:chgData name="Ayush Upendranath Bhupal" userId="6b6d5788-80ed-4f51-ac98-0534e81c51ce" providerId="ADAL" clId="{7AD5AD1F-F6AC-4C3F-AA97-93251A9408D5}"/>
    <pc:docChg chg="undo redo custSel addSld delSld modSld sldOrd modMainMaster">
      <pc:chgData name="Ayush Upendranath Bhupal" userId="6b6d5788-80ed-4f51-ac98-0534e81c51ce" providerId="ADAL" clId="{7AD5AD1F-F6AC-4C3F-AA97-93251A9408D5}" dt="2022-08-05T10:22:50.554" v="5796" actId="1036"/>
      <pc:docMkLst>
        <pc:docMk/>
      </pc:docMkLst>
      <pc:sldChg chg="modSp mod">
        <pc:chgData name="Ayush Upendranath Bhupal" userId="6b6d5788-80ed-4f51-ac98-0534e81c51ce" providerId="ADAL" clId="{7AD5AD1F-F6AC-4C3F-AA97-93251A9408D5}" dt="2022-08-02T11:36:29.956" v="4458" actId="5793"/>
        <pc:sldMkLst>
          <pc:docMk/>
          <pc:sldMk cId="852706345" sldId="280"/>
        </pc:sldMkLst>
        <pc:spChg chg="mod">
          <ac:chgData name="Ayush Upendranath Bhupal" userId="6b6d5788-80ed-4f51-ac98-0534e81c51ce" providerId="ADAL" clId="{7AD5AD1F-F6AC-4C3F-AA97-93251A9408D5}" dt="2022-08-02T11:36:25.842" v="4457" actId="403"/>
          <ac:spMkLst>
            <pc:docMk/>
            <pc:sldMk cId="852706345" sldId="280"/>
            <ac:spMk id="2" creationId="{D33BDA76-746E-4465-A2DA-8161112F1537}"/>
          </ac:spMkLst>
        </pc:spChg>
        <pc:spChg chg="mod">
          <ac:chgData name="Ayush Upendranath Bhupal" userId="6b6d5788-80ed-4f51-ac98-0534e81c51ce" providerId="ADAL" clId="{7AD5AD1F-F6AC-4C3F-AA97-93251A9408D5}" dt="2022-08-02T11:36:29.956" v="4458" actId="5793"/>
          <ac:spMkLst>
            <pc:docMk/>
            <pc:sldMk cId="852706345" sldId="280"/>
            <ac:spMk id="3" creationId="{EE80BF10-B6F6-4584-B658-7154D7A20382}"/>
          </ac:spMkLst>
        </pc:spChg>
        <pc:spChg chg="mod">
          <ac:chgData name="Ayush Upendranath Bhupal" userId="6b6d5788-80ed-4f51-ac98-0534e81c51ce" providerId="ADAL" clId="{7AD5AD1F-F6AC-4C3F-AA97-93251A9408D5}" dt="2022-08-02T11:36:25.842" v="4457" actId="403"/>
          <ac:spMkLst>
            <pc:docMk/>
            <pc:sldMk cId="852706345" sldId="280"/>
            <ac:spMk id="4" creationId="{35C85A17-24BD-49D0-93BD-2293CA5EC285}"/>
          </ac:spMkLst>
        </pc:spChg>
      </pc:sldChg>
      <pc:sldChg chg="modSp mod">
        <pc:chgData name="Ayush Upendranath Bhupal" userId="6b6d5788-80ed-4f51-ac98-0534e81c51ce" providerId="ADAL" clId="{7AD5AD1F-F6AC-4C3F-AA97-93251A9408D5}" dt="2022-08-04T15:01:15.187" v="5273" actId="1036"/>
        <pc:sldMkLst>
          <pc:docMk/>
          <pc:sldMk cId="780934082" sldId="282"/>
        </pc:sldMkLst>
        <pc:spChg chg="mod">
          <ac:chgData name="Ayush Upendranath Bhupal" userId="6b6d5788-80ed-4f51-ac98-0534e81c51ce" providerId="ADAL" clId="{7AD5AD1F-F6AC-4C3F-AA97-93251A9408D5}" dt="2022-08-02T11:36:12.049" v="4454" actId="403"/>
          <ac:spMkLst>
            <pc:docMk/>
            <pc:sldMk cId="780934082" sldId="282"/>
            <ac:spMk id="2" creationId="{D65FC8CA-9BB1-49F0-B794-08B95E197DC9}"/>
          </ac:spMkLst>
        </pc:spChg>
        <pc:spChg chg="mod">
          <ac:chgData name="Ayush Upendranath Bhupal" userId="6b6d5788-80ed-4f51-ac98-0534e81c51ce" providerId="ADAL" clId="{7AD5AD1F-F6AC-4C3F-AA97-93251A9408D5}" dt="2022-08-02T11:36:12.049" v="4454" actId="403"/>
          <ac:spMkLst>
            <pc:docMk/>
            <pc:sldMk cId="780934082" sldId="282"/>
            <ac:spMk id="3" creationId="{146F8C0C-F19E-4329-A6A3-922E55774A21}"/>
          </ac:spMkLst>
        </pc:spChg>
        <pc:spChg chg="mod">
          <ac:chgData name="Ayush Upendranath Bhupal" userId="6b6d5788-80ed-4f51-ac98-0534e81c51ce" providerId="ADAL" clId="{7AD5AD1F-F6AC-4C3F-AA97-93251A9408D5}" dt="2022-08-02T11:36:12.049" v="4454" actId="403"/>
          <ac:spMkLst>
            <pc:docMk/>
            <pc:sldMk cId="780934082" sldId="282"/>
            <ac:spMk id="4" creationId="{EBB00A22-9699-4E08-BBEB-4055F9C3DFE1}"/>
          </ac:spMkLst>
        </pc:spChg>
        <pc:picChg chg="mod">
          <ac:chgData name="Ayush Upendranath Bhupal" userId="6b6d5788-80ed-4f51-ac98-0534e81c51ce" providerId="ADAL" clId="{7AD5AD1F-F6AC-4C3F-AA97-93251A9408D5}" dt="2022-08-04T15:01:15.187" v="5273" actId="1036"/>
          <ac:picMkLst>
            <pc:docMk/>
            <pc:sldMk cId="780934082" sldId="282"/>
            <ac:picMk id="6" creationId="{CB857A93-D549-49E5-967B-342D1C888BA3}"/>
          </ac:picMkLst>
        </pc:picChg>
      </pc:sldChg>
      <pc:sldChg chg="modSp mod">
        <pc:chgData name="Ayush Upendranath Bhupal" userId="6b6d5788-80ed-4f51-ac98-0534e81c51ce" providerId="ADAL" clId="{7AD5AD1F-F6AC-4C3F-AA97-93251A9408D5}" dt="2022-08-04T10:10:52.729" v="5005" actId="20577"/>
        <pc:sldMkLst>
          <pc:docMk/>
          <pc:sldMk cId="1433746877" sldId="283"/>
        </pc:sldMkLst>
        <pc:spChg chg="mod">
          <ac:chgData name="Ayush Upendranath Bhupal" userId="6b6d5788-80ed-4f51-ac98-0534e81c51ce" providerId="ADAL" clId="{7AD5AD1F-F6AC-4C3F-AA97-93251A9408D5}" dt="2022-08-02T11:35:49.568" v="4449" actId="403"/>
          <ac:spMkLst>
            <pc:docMk/>
            <pc:sldMk cId="1433746877" sldId="283"/>
            <ac:spMk id="2" creationId="{FA6C7637-2003-4AA2-B54B-B44E38D5B620}"/>
          </ac:spMkLst>
        </pc:spChg>
        <pc:spChg chg="mod">
          <ac:chgData name="Ayush Upendranath Bhupal" userId="6b6d5788-80ed-4f51-ac98-0534e81c51ce" providerId="ADAL" clId="{7AD5AD1F-F6AC-4C3F-AA97-93251A9408D5}" dt="2022-08-04T10:10:52.729" v="5005" actId="20577"/>
          <ac:spMkLst>
            <pc:docMk/>
            <pc:sldMk cId="1433746877" sldId="283"/>
            <ac:spMk id="3" creationId="{1E1FEA40-DD83-4773-9E17-2DA50A859BE9}"/>
          </ac:spMkLst>
        </pc:spChg>
        <pc:spChg chg="mod">
          <ac:chgData name="Ayush Upendranath Bhupal" userId="6b6d5788-80ed-4f51-ac98-0534e81c51ce" providerId="ADAL" clId="{7AD5AD1F-F6AC-4C3F-AA97-93251A9408D5}" dt="2022-08-02T10:55:30.445" v="4126"/>
          <ac:spMkLst>
            <pc:docMk/>
            <pc:sldMk cId="1433746877" sldId="283"/>
            <ac:spMk id="4" creationId="{67B99FA9-651D-4225-89D6-28113F7F42D4}"/>
          </ac:spMkLst>
        </pc:spChg>
      </pc:sldChg>
      <pc:sldChg chg="addSp delSp modSp mod ord setBg delDesignElem">
        <pc:chgData name="Ayush Upendranath Bhupal" userId="6b6d5788-80ed-4f51-ac98-0534e81c51ce" providerId="ADAL" clId="{7AD5AD1F-F6AC-4C3F-AA97-93251A9408D5}" dt="2022-08-02T11:32:08.476" v="4406" actId="122"/>
        <pc:sldMkLst>
          <pc:docMk/>
          <pc:sldMk cId="1508931319" sldId="284"/>
        </pc:sldMkLst>
        <pc:spChg chg="mod">
          <ac:chgData name="Ayush Upendranath Bhupal" userId="6b6d5788-80ed-4f51-ac98-0534e81c51ce" providerId="ADAL" clId="{7AD5AD1F-F6AC-4C3F-AA97-93251A9408D5}" dt="2022-08-02T10:50:18.148" v="4056" actId="1076"/>
          <ac:spMkLst>
            <pc:docMk/>
            <pc:sldMk cId="1508931319" sldId="284"/>
            <ac:spMk id="2" creationId="{73574681-85B1-4B5B-BB34-1BD3ADCA3208}"/>
          </ac:spMkLst>
        </pc:spChg>
        <pc:spChg chg="mod">
          <ac:chgData name="Ayush Upendranath Bhupal" userId="6b6d5788-80ed-4f51-ac98-0534e81c51ce" providerId="ADAL" clId="{7AD5AD1F-F6AC-4C3F-AA97-93251A9408D5}" dt="2022-08-02T11:32:08.476" v="4406" actId="122"/>
          <ac:spMkLst>
            <pc:docMk/>
            <pc:sldMk cId="1508931319" sldId="284"/>
            <ac:spMk id="9" creationId="{B6AA15B1-7CB8-C65E-300F-6EA27C2751D1}"/>
          </ac:spMkLst>
        </pc:spChg>
        <pc:spChg chg="add del">
          <ac:chgData name="Ayush Upendranath Bhupal" userId="6b6d5788-80ed-4f51-ac98-0534e81c51ce" providerId="ADAL" clId="{7AD5AD1F-F6AC-4C3F-AA97-93251A9408D5}" dt="2022-08-02T10:48:57.706" v="4049"/>
          <ac:spMkLst>
            <pc:docMk/>
            <pc:sldMk cId="1508931319" sldId="284"/>
            <ac:spMk id="18" creationId="{96918796-2918-40D6-BE3A-4600C47FCD42}"/>
          </ac:spMkLst>
        </pc:spChg>
      </pc:sldChg>
      <pc:sldChg chg="addSp delSp modSp mod ord setBg delDesignElem">
        <pc:chgData name="Ayush Upendranath Bhupal" userId="6b6d5788-80ed-4f51-ac98-0534e81c51ce" providerId="ADAL" clId="{7AD5AD1F-F6AC-4C3F-AA97-93251A9408D5}" dt="2022-08-02T11:43:35.740" v="4504" actId="1076"/>
        <pc:sldMkLst>
          <pc:docMk/>
          <pc:sldMk cId="1499161885" sldId="285"/>
        </pc:sldMkLst>
        <pc:spChg chg="mod">
          <ac:chgData name="Ayush Upendranath Bhupal" userId="6b6d5788-80ed-4f51-ac98-0534e81c51ce" providerId="ADAL" clId="{7AD5AD1F-F6AC-4C3F-AA97-93251A9408D5}" dt="2022-08-02T11:35:07.693" v="4433" actId="403"/>
          <ac:spMkLst>
            <pc:docMk/>
            <pc:sldMk cId="1499161885" sldId="285"/>
            <ac:spMk id="9" creationId="{186B9809-82E1-04DA-FD32-6A2348087C9C}"/>
          </ac:spMkLst>
        </pc:spChg>
        <pc:spChg chg="add del">
          <ac:chgData name="Ayush Upendranath Bhupal" userId="6b6d5788-80ed-4f51-ac98-0534e81c51ce" providerId="ADAL" clId="{7AD5AD1F-F6AC-4C3F-AA97-93251A9408D5}" dt="2022-08-02T10:48:57.706" v="4049"/>
          <ac:spMkLst>
            <pc:docMk/>
            <pc:sldMk cId="1499161885" sldId="285"/>
            <ac:spMk id="12" creationId="{5E39A796-BE83-48B1-B33F-35C4A32AAB57}"/>
          </ac:spMkLst>
        </pc:spChg>
        <pc:spChg chg="add del">
          <ac:chgData name="Ayush Upendranath Bhupal" userId="6b6d5788-80ed-4f51-ac98-0534e81c51ce" providerId="ADAL" clId="{7AD5AD1F-F6AC-4C3F-AA97-93251A9408D5}" dt="2022-08-02T10:48:57.706" v="4049"/>
          <ac:spMkLst>
            <pc:docMk/>
            <pc:sldMk cId="1499161885" sldId="285"/>
            <ac:spMk id="14" creationId="{72F84B47-E267-4194-8194-831DB7B5547F}"/>
          </ac:spMkLst>
        </pc:spChg>
        <pc:picChg chg="mod ord">
          <ac:chgData name="Ayush Upendranath Bhupal" userId="6b6d5788-80ed-4f51-ac98-0534e81c51ce" providerId="ADAL" clId="{7AD5AD1F-F6AC-4C3F-AA97-93251A9408D5}" dt="2022-08-02T11:43:35.740" v="4504" actId="1076"/>
          <ac:picMkLst>
            <pc:docMk/>
            <pc:sldMk cId="1499161885" sldId="285"/>
            <ac:picMk id="5" creationId="{C1C8C599-3FBF-49E1-A8FA-D58917035426}"/>
          </ac:picMkLst>
        </pc:picChg>
      </pc:sldChg>
      <pc:sldChg chg="addSp delSp modSp mod setBg">
        <pc:chgData name="Ayush Upendranath Bhupal" userId="6b6d5788-80ed-4f51-ac98-0534e81c51ce" providerId="ADAL" clId="{7AD5AD1F-F6AC-4C3F-AA97-93251A9408D5}" dt="2022-08-04T15:27:12.139" v="5279" actId="478"/>
        <pc:sldMkLst>
          <pc:docMk/>
          <pc:sldMk cId="1495342392" sldId="286"/>
        </pc:sldMkLst>
        <pc:spChg chg="add del mod">
          <ac:chgData name="Ayush Upendranath Bhupal" userId="6b6d5788-80ed-4f51-ac98-0534e81c51ce" providerId="ADAL" clId="{7AD5AD1F-F6AC-4C3F-AA97-93251A9408D5}" dt="2022-08-04T15:27:12.139" v="5279" actId="478"/>
          <ac:spMkLst>
            <pc:docMk/>
            <pc:sldMk cId="1495342392" sldId="286"/>
            <ac:spMk id="3" creationId="{44AD35DC-64B2-4152-AB9B-02E327683692}"/>
          </ac:spMkLst>
        </pc:spChg>
        <pc:graphicFrameChg chg="del mod">
          <ac:chgData name="Ayush Upendranath Bhupal" userId="6b6d5788-80ed-4f51-ac98-0534e81c51ce" providerId="ADAL" clId="{7AD5AD1F-F6AC-4C3F-AA97-93251A9408D5}" dt="2022-08-04T13:37:02.629" v="5183" actId="478"/>
          <ac:graphicFrameMkLst>
            <pc:docMk/>
            <pc:sldMk cId="1495342392" sldId="286"/>
            <ac:graphicFrameMk id="4" creationId="{98AE70A7-9777-4CEC-9984-85DECC7020A4}"/>
          </ac:graphicFrameMkLst>
        </pc:graphicFrameChg>
        <pc:graphicFrameChg chg="del mod">
          <ac:chgData name="Ayush Upendranath Bhupal" userId="6b6d5788-80ed-4f51-ac98-0534e81c51ce" providerId="ADAL" clId="{7AD5AD1F-F6AC-4C3F-AA97-93251A9408D5}" dt="2022-08-04T13:40:40.133" v="5237" actId="478"/>
          <ac:graphicFrameMkLst>
            <pc:docMk/>
            <pc:sldMk cId="1495342392" sldId="286"/>
            <ac:graphicFrameMk id="5" creationId="{931DCCF4-7C62-4362-8C4D-482B16E4345C}"/>
          </ac:graphicFrameMkLst>
        </pc:graphicFrameChg>
        <pc:graphicFrameChg chg="add mod">
          <ac:chgData name="Ayush Upendranath Bhupal" userId="6b6d5788-80ed-4f51-ac98-0534e81c51ce" providerId="ADAL" clId="{7AD5AD1F-F6AC-4C3F-AA97-93251A9408D5}" dt="2022-08-04T13:38:58.897" v="5236" actId="14100"/>
          <ac:graphicFrameMkLst>
            <pc:docMk/>
            <pc:sldMk cId="1495342392" sldId="286"/>
            <ac:graphicFrameMk id="6" creationId="{8DC6F627-4B4E-4B84-9186-6BC85B9B34AB}"/>
          </ac:graphicFrameMkLst>
        </pc:graphicFrameChg>
        <pc:graphicFrameChg chg="add mod">
          <ac:chgData name="Ayush Upendranath Bhupal" userId="6b6d5788-80ed-4f51-ac98-0534e81c51ce" providerId="ADAL" clId="{7AD5AD1F-F6AC-4C3F-AA97-93251A9408D5}" dt="2022-08-04T13:42:23.208" v="5267" actId="14100"/>
          <ac:graphicFrameMkLst>
            <pc:docMk/>
            <pc:sldMk cId="1495342392" sldId="286"/>
            <ac:graphicFrameMk id="7" creationId="{09D64045-D3D4-4A61-ABA1-983FAB3D7EB3}"/>
          </ac:graphicFrameMkLst>
        </pc:graphicFrameChg>
        <pc:picChg chg="add del">
          <ac:chgData name="Ayush Upendranath Bhupal" userId="6b6d5788-80ed-4f51-ac98-0534e81c51ce" providerId="ADAL" clId="{7AD5AD1F-F6AC-4C3F-AA97-93251A9408D5}" dt="2022-08-02T11:12:47.373" v="4223"/>
          <ac:picMkLst>
            <pc:docMk/>
            <pc:sldMk cId="1495342392" sldId="286"/>
            <ac:picMk id="2" creationId="{551CF69F-BDB0-4935-A84C-5B7893AB7977}"/>
          </ac:picMkLst>
        </pc:picChg>
      </pc:sldChg>
      <pc:sldChg chg="addSp delSp modSp mod setBg delDesignElem">
        <pc:chgData name="Ayush Upendranath Bhupal" userId="6b6d5788-80ed-4f51-ac98-0534e81c51ce" providerId="ADAL" clId="{7AD5AD1F-F6AC-4C3F-AA97-93251A9408D5}" dt="2022-08-04T18:10:52.480" v="5666" actId="14100"/>
        <pc:sldMkLst>
          <pc:docMk/>
          <pc:sldMk cId="4072814482" sldId="287"/>
        </pc:sldMkLst>
        <pc:spChg chg="add del mod">
          <ac:chgData name="Ayush Upendranath Bhupal" userId="6b6d5788-80ed-4f51-ac98-0534e81c51ce" providerId="ADAL" clId="{7AD5AD1F-F6AC-4C3F-AA97-93251A9408D5}" dt="2022-08-04T18:10:07.707" v="5655" actId="478"/>
          <ac:spMkLst>
            <pc:docMk/>
            <pc:sldMk cId="4072814482" sldId="287"/>
            <ac:spMk id="6" creationId="{40A50C9E-FD96-4236-99F7-9849405962D4}"/>
          </ac:spMkLst>
        </pc:spChg>
        <pc:spChg chg="add del">
          <ac:chgData name="Ayush Upendranath Bhupal" userId="6b6d5788-80ed-4f51-ac98-0534e81c51ce" providerId="ADAL" clId="{7AD5AD1F-F6AC-4C3F-AA97-93251A9408D5}" dt="2022-08-02T10:48:57.706" v="4049"/>
          <ac:spMkLst>
            <pc:docMk/>
            <pc:sldMk cId="4072814482" sldId="287"/>
            <ac:spMk id="9" creationId="{6753252F-4873-4F63-801D-CC719279A7D5}"/>
          </ac:spMkLst>
        </pc:spChg>
        <pc:spChg chg="add del">
          <ac:chgData name="Ayush Upendranath Bhupal" userId="6b6d5788-80ed-4f51-ac98-0534e81c51ce" providerId="ADAL" clId="{7AD5AD1F-F6AC-4C3F-AA97-93251A9408D5}" dt="2022-08-02T10:48:57.706" v="4049"/>
          <ac:spMkLst>
            <pc:docMk/>
            <pc:sldMk cId="4072814482" sldId="287"/>
            <ac:spMk id="14" creationId="{047C8CCB-F95D-4249-92DD-651249D3535A}"/>
          </ac:spMkLst>
        </pc:spChg>
        <pc:picChg chg="add del mod">
          <ac:chgData name="Ayush Upendranath Bhupal" userId="6b6d5788-80ed-4f51-ac98-0534e81c51ce" providerId="ADAL" clId="{7AD5AD1F-F6AC-4C3F-AA97-93251A9408D5}" dt="2022-08-04T18:10:01.779" v="5653" actId="478"/>
          <ac:picMkLst>
            <pc:docMk/>
            <pc:sldMk cId="4072814482" sldId="287"/>
            <ac:picMk id="4" creationId="{ED1D3025-F3C6-4151-AE5D-58517F57009E}"/>
          </ac:picMkLst>
        </pc:picChg>
        <pc:picChg chg="del mod">
          <ac:chgData name="Ayush Upendranath Bhupal" userId="6b6d5788-80ed-4f51-ac98-0534e81c51ce" providerId="ADAL" clId="{7AD5AD1F-F6AC-4C3F-AA97-93251A9408D5}" dt="2022-08-04T18:10:04.024" v="5654" actId="478"/>
          <ac:picMkLst>
            <pc:docMk/>
            <pc:sldMk cId="4072814482" sldId="287"/>
            <ac:picMk id="7" creationId="{9F949F6B-9D6C-4E06-8A9C-C358F9766CAE}"/>
          </ac:picMkLst>
        </pc:picChg>
        <pc:picChg chg="add mod">
          <ac:chgData name="Ayush Upendranath Bhupal" userId="6b6d5788-80ed-4f51-ac98-0534e81c51ce" providerId="ADAL" clId="{7AD5AD1F-F6AC-4C3F-AA97-93251A9408D5}" dt="2022-08-04T18:10:52.480" v="5666" actId="14100"/>
          <ac:picMkLst>
            <pc:docMk/>
            <pc:sldMk cId="4072814482" sldId="287"/>
            <ac:picMk id="9" creationId="{2E8DB55C-1251-4129-908C-64B224400FD4}"/>
          </ac:picMkLst>
        </pc:picChg>
      </pc:sldChg>
      <pc:sldChg chg="addSp delSp modSp new mod ord setBg">
        <pc:chgData name="Ayush Upendranath Bhupal" userId="6b6d5788-80ed-4f51-ac98-0534e81c51ce" providerId="ADAL" clId="{7AD5AD1F-F6AC-4C3F-AA97-93251A9408D5}" dt="2022-08-03T09:45:15.218" v="4913" actId="1035"/>
        <pc:sldMkLst>
          <pc:docMk/>
          <pc:sldMk cId="3689816802" sldId="288"/>
        </pc:sldMkLst>
        <pc:spChg chg="add del mod">
          <ac:chgData name="Ayush Upendranath Bhupal" userId="6b6d5788-80ed-4f51-ac98-0534e81c51ce" providerId="ADAL" clId="{7AD5AD1F-F6AC-4C3F-AA97-93251A9408D5}" dt="2022-08-02T11:35:21.318" v="4437" actId="403"/>
          <ac:spMkLst>
            <pc:docMk/>
            <pc:sldMk cId="3689816802" sldId="288"/>
            <ac:spMk id="2" creationId="{05A9A3B0-2336-448E-B78B-18E175554726}"/>
          </ac:spMkLst>
        </pc:spChg>
        <pc:spChg chg="add del">
          <ac:chgData name="Ayush Upendranath Bhupal" userId="6b6d5788-80ed-4f51-ac98-0534e81c51ce" providerId="ADAL" clId="{7AD5AD1F-F6AC-4C3F-AA97-93251A9408D5}" dt="2022-07-27T18:15:03.287" v="8" actId="931"/>
          <ac:spMkLst>
            <pc:docMk/>
            <pc:sldMk cId="3689816802" sldId="288"/>
            <ac:spMk id="3" creationId="{2F5EE6B0-0ADF-43E5-B628-6BEBA5845995}"/>
          </ac:spMkLst>
        </pc:spChg>
        <pc:spChg chg="add del">
          <ac:chgData name="Ayush Upendranath Bhupal" userId="6b6d5788-80ed-4f51-ac98-0534e81c51ce" providerId="ADAL" clId="{7AD5AD1F-F6AC-4C3F-AA97-93251A9408D5}" dt="2022-07-27T18:14:46.971" v="5" actId="26606"/>
          <ac:spMkLst>
            <pc:docMk/>
            <pc:sldMk cId="3689816802" sldId="288"/>
            <ac:spMk id="10" creationId="{42A4FC2C-047E-45A5-965D-8E1E3BF09BC6}"/>
          </ac:spMkLst>
        </pc:spChg>
        <pc:spChg chg="add del">
          <ac:chgData name="Ayush Upendranath Bhupal" userId="6b6d5788-80ed-4f51-ac98-0534e81c51ce" providerId="ADAL" clId="{7AD5AD1F-F6AC-4C3F-AA97-93251A9408D5}" dt="2022-07-27T18:15:51.374" v="14" actId="26606"/>
          <ac:spMkLst>
            <pc:docMk/>
            <pc:sldMk cId="3689816802" sldId="288"/>
            <ac:spMk id="11" creationId="{39E71D5C-77BC-528A-CF27-509E9C25E52D}"/>
          </ac:spMkLst>
        </pc:spChg>
        <pc:spChg chg="add del">
          <ac:chgData name="Ayush Upendranath Bhupal" userId="6b6d5788-80ed-4f51-ac98-0534e81c51ce" providerId="ADAL" clId="{7AD5AD1F-F6AC-4C3F-AA97-93251A9408D5}" dt="2022-07-27T18:15:51.374" v="14" actId="26606"/>
          <ac:spMkLst>
            <pc:docMk/>
            <pc:sldMk cId="3689816802" sldId="288"/>
            <ac:spMk id="14" creationId="{3AFE8227-C443-417B-BA91-520EB1EF4559}"/>
          </ac:spMkLst>
        </pc:spChg>
        <pc:spChg chg="add del">
          <ac:chgData name="Ayush Upendranath Bhupal" userId="6b6d5788-80ed-4f51-ac98-0534e81c51ce" providerId="ADAL" clId="{7AD5AD1F-F6AC-4C3F-AA97-93251A9408D5}" dt="2022-07-27T18:15:51.374" v="14" actId="26606"/>
          <ac:spMkLst>
            <pc:docMk/>
            <pc:sldMk cId="3689816802" sldId="288"/>
            <ac:spMk id="16" creationId="{907741FC-B544-4A6E-B831-6789D042333D}"/>
          </ac:spMkLst>
        </pc:spChg>
        <pc:spChg chg="add del">
          <ac:chgData name="Ayush Upendranath Bhupal" userId="6b6d5788-80ed-4f51-ac98-0534e81c51ce" providerId="ADAL" clId="{7AD5AD1F-F6AC-4C3F-AA97-93251A9408D5}" dt="2022-07-27T18:15:51.374" v="14" actId="26606"/>
          <ac:spMkLst>
            <pc:docMk/>
            <pc:sldMk cId="3689816802" sldId="288"/>
            <ac:spMk id="18" creationId="{3F0BE7ED-7814-4273-B18A-F26CC0380380}"/>
          </ac:spMkLst>
        </pc:spChg>
        <pc:picChg chg="add del mod">
          <ac:chgData name="Ayush Upendranath Bhupal" userId="6b6d5788-80ed-4f51-ac98-0534e81c51ce" providerId="ADAL" clId="{7AD5AD1F-F6AC-4C3F-AA97-93251A9408D5}" dt="2022-07-27T18:14:51.726" v="7" actId="931"/>
          <ac:picMkLst>
            <pc:docMk/>
            <pc:sldMk cId="3689816802" sldId="288"/>
            <ac:picMk id="5" creationId="{9517960F-63A3-4953-BBC0-12709BBCC893}"/>
          </ac:picMkLst>
        </pc:picChg>
        <pc:picChg chg="add mod ord">
          <ac:chgData name="Ayush Upendranath Bhupal" userId="6b6d5788-80ed-4f51-ac98-0534e81c51ce" providerId="ADAL" clId="{7AD5AD1F-F6AC-4C3F-AA97-93251A9408D5}" dt="2022-08-03T09:45:15.218" v="4913" actId="1035"/>
          <ac:picMkLst>
            <pc:docMk/>
            <pc:sldMk cId="3689816802" sldId="288"/>
            <ac:picMk id="7" creationId="{C36CFEA2-A6A4-42DC-9902-30471DC168BD}"/>
          </ac:picMkLst>
        </pc:picChg>
      </pc:sldChg>
      <pc:sldChg chg="modSp new mod">
        <pc:chgData name="Ayush Upendranath Bhupal" userId="6b6d5788-80ed-4f51-ac98-0534e81c51ce" providerId="ADAL" clId="{7AD5AD1F-F6AC-4C3F-AA97-93251A9408D5}" dt="2022-08-04T10:11:06.365" v="5020" actId="20577"/>
        <pc:sldMkLst>
          <pc:docMk/>
          <pc:sldMk cId="3911060722" sldId="289"/>
        </pc:sldMkLst>
        <pc:spChg chg="mod">
          <ac:chgData name="Ayush Upendranath Bhupal" userId="6b6d5788-80ed-4f51-ac98-0534e81c51ce" providerId="ADAL" clId="{7AD5AD1F-F6AC-4C3F-AA97-93251A9408D5}" dt="2022-08-02T11:35:39.698" v="4445" actId="403"/>
          <ac:spMkLst>
            <pc:docMk/>
            <pc:sldMk cId="3911060722" sldId="289"/>
            <ac:spMk id="2" creationId="{788A15B5-76D5-4998-A0CD-BCFF55F37BCB}"/>
          </ac:spMkLst>
        </pc:spChg>
        <pc:spChg chg="mod">
          <ac:chgData name="Ayush Upendranath Bhupal" userId="6b6d5788-80ed-4f51-ac98-0534e81c51ce" providerId="ADAL" clId="{7AD5AD1F-F6AC-4C3F-AA97-93251A9408D5}" dt="2022-08-04T10:11:06.365" v="5020" actId="20577"/>
          <ac:spMkLst>
            <pc:docMk/>
            <pc:sldMk cId="3911060722" sldId="289"/>
            <ac:spMk id="3" creationId="{5EC80116-A9EC-4865-B07B-BFACC33A7E55}"/>
          </ac:spMkLst>
        </pc:spChg>
      </pc:sldChg>
      <pc:sldChg chg="addSp delSp modSp new mod setBg delDesignElem">
        <pc:chgData name="Ayush Upendranath Bhupal" userId="6b6d5788-80ed-4f51-ac98-0534e81c51ce" providerId="ADAL" clId="{7AD5AD1F-F6AC-4C3F-AA97-93251A9408D5}" dt="2022-08-04T15:21:32.109" v="5275" actId="1036"/>
        <pc:sldMkLst>
          <pc:docMk/>
          <pc:sldMk cId="171740164" sldId="290"/>
        </pc:sldMkLst>
        <pc:spChg chg="add del">
          <ac:chgData name="Ayush Upendranath Bhupal" userId="6b6d5788-80ed-4f51-ac98-0534e81c51ce" providerId="ADAL" clId="{7AD5AD1F-F6AC-4C3F-AA97-93251A9408D5}" dt="2022-07-28T15:48:07.925" v="935" actId="26606"/>
          <ac:spMkLst>
            <pc:docMk/>
            <pc:sldMk cId="171740164" sldId="290"/>
            <ac:spMk id="2" creationId="{91886DCC-B99F-432E-9CE2-CA27AD5EC12A}"/>
          </ac:spMkLst>
        </pc:spChg>
        <pc:spChg chg="del">
          <ac:chgData name="Ayush Upendranath Bhupal" userId="6b6d5788-80ed-4f51-ac98-0534e81c51ce" providerId="ADAL" clId="{7AD5AD1F-F6AC-4C3F-AA97-93251A9408D5}" dt="2022-07-28T15:47:46.613" v="922" actId="931"/>
          <ac:spMkLst>
            <pc:docMk/>
            <pc:sldMk cId="171740164" sldId="290"/>
            <ac:spMk id="3" creationId="{9948FE1B-2B33-469D-AD93-19806F50D7AF}"/>
          </ac:spMkLst>
        </pc:spChg>
        <pc:spChg chg="add del">
          <ac:chgData name="Ayush Upendranath Bhupal" userId="6b6d5788-80ed-4f51-ac98-0534e81c51ce" providerId="ADAL" clId="{7AD5AD1F-F6AC-4C3F-AA97-93251A9408D5}" dt="2022-07-28T15:48:02.206" v="930" actId="26606"/>
          <ac:spMkLst>
            <pc:docMk/>
            <pc:sldMk cId="171740164" sldId="290"/>
            <ac:spMk id="9" creationId="{8ECD1879-2E69-CA2A-9993-A55F9242CA7F}"/>
          </ac:spMkLst>
        </pc:spChg>
        <pc:spChg chg="add del">
          <ac:chgData name="Ayush Upendranath Bhupal" userId="6b6d5788-80ed-4f51-ac98-0534e81c51ce" providerId="ADAL" clId="{7AD5AD1F-F6AC-4C3F-AA97-93251A9408D5}" dt="2022-07-28T15:47:57.181" v="928" actId="26606"/>
          <ac:spMkLst>
            <pc:docMk/>
            <pc:sldMk cId="171740164" sldId="290"/>
            <ac:spMk id="10" creationId="{F3060C83-F051-4F0E-ABAD-AA0DFC48B218}"/>
          </ac:spMkLst>
        </pc:spChg>
        <pc:spChg chg="add del">
          <ac:chgData name="Ayush Upendranath Bhupal" userId="6b6d5788-80ed-4f51-ac98-0534e81c51ce" providerId="ADAL" clId="{7AD5AD1F-F6AC-4C3F-AA97-93251A9408D5}" dt="2022-07-28T15:47:57.181" v="928" actId="26606"/>
          <ac:spMkLst>
            <pc:docMk/>
            <pc:sldMk cId="171740164" sldId="290"/>
            <ac:spMk id="12" creationId="{83C98ABE-055B-441F-B07E-44F97F083C39}"/>
          </ac:spMkLst>
        </pc:spChg>
        <pc:spChg chg="add del">
          <ac:chgData name="Ayush Upendranath Bhupal" userId="6b6d5788-80ed-4f51-ac98-0534e81c51ce" providerId="ADAL" clId="{7AD5AD1F-F6AC-4C3F-AA97-93251A9408D5}" dt="2022-07-28T15:47:57.181" v="928" actId="26606"/>
          <ac:spMkLst>
            <pc:docMk/>
            <pc:sldMk cId="171740164" sldId="290"/>
            <ac:spMk id="14" creationId="{29FDB030-9B49-4CED-8CCD-4D99382388AC}"/>
          </ac:spMkLst>
        </pc:spChg>
        <pc:spChg chg="add del">
          <ac:chgData name="Ayush Upendranath Bhupal" userId="6b6d5788-80ed-4f51-ac98-0534e81c51ce" providerId="ADAL" clId="{7AD5AD1F-F6AC-4C3F-AA97-93251A9408D5}" dt="2022-07-28T15:47:57.181" v="928" actId="26606"/>
          <ac:spMkLst>
            <pc:docMk/>
            <pc:sldMk cId="171740164" sldId="290"/>
            <ac:spMk id="16" creationId="{3783CA14-24A1-485C-8B30-D6A5D87987AD}"/>
          </ac:spMkLst>
        </pc:spChg>
        <pc:spChg chg="add del">
          <ac:chgData name="Ayush Upendranath Bhupal" userId="6b6d5788-80ed-4f51-ac98-0534e81c51ce" providerId="ADAL" clId="{7AD5AD1F-F6AC-4C3F-AA97-93251A9408D5}" dt="2022-07-28T15:47:57.181" v="928" actId="26606"/>
          <ac:spMkLst>
            <pc:docMk/>
            <pc:sldMk cId="171740164" sldId="290"/>
            <ac:spMk id="18" creationId="{9A97C86A-04D6-40F7-AE84-31AB43E6A846}"/>
          </ac:spMkLst>
        </pc:spChg>
        <pc:spChg chg="add del">
          <ac:chgData name="Ayush Upendranath Bhupal" userId="6b6d5788-80ed-4f51-ac98-0534e81c51ce" providerId="ADAL" clId="{7AD5AD1F-F6AC-4C3F-AA97-93251A9408D5}" dt="2022-07-28T15:47:57.181" v="928" actId="26606"/>
          <ac:spMkLst>
            <pc:docMk/>
            <pc:sldMk cId="171740164" sldId="290"/>
            <ac:spMk id="20" creationId="{FF9F2414-84E8-453E-B1F3-389FDE8192D9}"/>
          </ac:spMkLst>
        </pc:spChg>
        <pc:spChg chg="add del">
          <ac:chgData name="Ayush Upendranath Bhupal" userId="6b6d5788-80ed-4f51-ac98-0534e81c51ce" providerId="ADAL" clId="{7AD5AD1F-F6AC-4C3F-AA97-93251A9408D5}" dt="2022-07-28T15:47:57.181" v="928" actId="26606"/>
          <ac:spMkLst>
            <pc:docMk/>
            <pc:sldMk cId="171740164" sldId="290"/>
            <ac:spMk id="22" creationId="{3ECA69A1-7536-43AC-85EF-C7106179F5ED}"/>
          </ac:spMkLst>
        </pc:spChg>
        <pc:spChg chg="add del">
          <ac:chgData name="Ayush Upendranath Bhupal" userId="6b6d5788-80ed-4f51-ac98-0534e81c51ce" providerId="ADAL" clId="{7AD5AD1F-F6AC-4C3F-AA97-93251A9408D5}" dt="2022-07-28T15:48:02.206" v="930" actId="26606"/>
          <ac:spMkLst>
            <pc:docMk/>
            <pc:sldMk cId="171740164" sldId="290"/>
            <ac:spMk id="24" creationId="{2B97F24A-32CE-4C1C-A50D-3016B394DCFB}"/>
          </ac:spMkLst>
        </pc:spChg>
        <pc:spChg chg="add del">
          <ac:chgData name="Ayush Upendranath Bhupal" userId="6b6d5788-80ed-4f51-ac98-0534e81c51ce" providerId="ADAL" clId="{7AD5AD1F-F6AC-4C3F-AA97-93251A9408D5}" dt="2022-07-28T15:48:02.206" v="930" actId="26606"/>
          <ac:spMkLst>
            <pc:docMk/>
            <pc:sldMk cId="171740164" sldId="290"/>
            <ac:spMk id="25" creationId="{91886DCC-B99F-432E-9CE2-CA27AD5EC12A}"/>
          </ac:spMkLst>
        </pc:spChg>
        <pc:spChg chg="add del">
          <ac:chgData name="Ayush Upendranath Bhupal" userId="6b6d5788-80ed-4f51-ac98-0534e81c51ce" providerId="ADAL" clId="{7AD5AD1F-F6AC-4C3F-AA97-93251A9408D5}" dt="2022-07-28T15:48:02.206" v="930" actId="26606"/>
          <ac:spMkLst>
            <pc:docMk/>
            <pc:sldMk cId="171740164" sldId="290"/>
            <ac:spMk id="26" creationId="{CD8B4F24-440B-49E9-B85D-733523DC064B}"/>
          </ac:spMkLst>
        </pc:spChg>
        <pc:spChg chg="add del">
          <ac:chgData name="Ayush Upendranath Bhupal" userId="6b6d5788-80ed-4f51-ac98-0534e81c51ce" providerId="ADAL" clId="{7AD5AD1F-F6AC-4C3F-AA97-93251A9408D5}" dt="2022-07-28T15:48:04.133" v="932" actId="26606"/>
          <ac:spMkLst>
            <pc:docMk/>
            <pc:sldMk cId="171740164" sldId="290"/>
            <ac:spMk id="28" creationId="{F13C74B1-5B17-4795-BED0-7140497B445A}"/>
          </ac:spMkLst>
        </pc:spChg>
        <pc:spChg chg="add del">
          <ac:chgData name="Ayush Upendranath Bhupal" userId="6b6d5788-80ed-4f51-ac98-0534e81c51ce" providerId="ADAL" clId="{7AD5AD1F-F6AC-4C3F-AA97-93251A9408D5}" dt="2022-07-28T15:48:04.133" v="932" actId="26606"/>
          <ac:spMkLst>
            <pc:docMk/>
            <pc:sldMk cId="171740164" sldId="290"/>
            <ac:spMk id="29" creationId="{91886DCC-B99F-432E-9CE2-CA27AD5EC12A}"/>
          </ac:spMkLst>
        </pc:spChg>
        <pc:spChg chg="add del">
          <ac:chgData name="Ayush Upendranath Bhupal" userId="6b6d5788-80ed-4f51-ac98-0534e81c51ce" providerId="ADAL" clId="{7AD5AD1F-F6AC-4C3F-AA97-93251A9408D5}" dt="2022-07-28T15:48:04.133" v="932" actId="26606"/>
          <ac:spMkLst>
            <pc:docMk/>
            <pc:sldMk cId="171740164" sldId="290"/>
            <ac:spMk id="30" creationId="{D4974D33-8DC5-464E-8C6D-BE58F0669C17}"/>
          </ac:spMkLst>
        </pc:spChg>
        <pc:spChg chg="add del">
          <ac:chgData name="Ayush Upendranath Bhupal" userId="6b6d5788-80ed-4f51-ac98-0534e81c51ce" providerId="ADAL" clId="{7AD5AD1F-F6AC-4C3F-AA97-93251A9408D5}" dt="2022-07-28T15:48:04.133" v="932" actId="26606"/>
          <ac:spMkLst>
            <pc:docMk/>
            <pc:sldMk cId="171740164" sldId="290"/>
            <ac:spMk id="31" creationId="{6700D374-4E5C-23B6-1498-989B495AC33F}"/>
          </ac:spMkLst>
        </pc:spChg>
        <pc:spChg chg="add del">
          <ac:chgData name="Ayush Upendranath Bhupal" userId="6b6d5788-80ed-4f51-ac98-0534e81c51ce" providerId="ADAL" clId="{7AD5AD1F-F6AC-4C3F-AA97-93251A9408D5}" dt="2022-07-28T15:48:07.918" v="934" actId="26606"/>
          <ac:spMkLst>
            <pc:docMk/>
            <pc:sldMk cId="171740164" sldId="290"/>
            <ac:spMk id="33" creationId="{3AFE8227-C443-417B-BA91-520EB1EF4559}"/>
          </ac:spMkLst>
        </pc:spChg>
        <pc:spChg chg="add del">
          <ac:chgData name="Ayush Upendranath Bhupal" userId="6b6d5788-80ed-4f51-ac98-0534e81c51ce" providerId="ADAL" clId="{7AD5AD1F-F6AC-4C3F-AA97-93251A9408D5}" dt="2022-07-28T15:48:07.918" v="934" actId="26606"/>
          <ac:spMkLst>
            <pc:docMk/>
            <pc:sldMk cId="171740164" sldId="290"/>
            <ac:spMk id="34" creationId="{91886DCC-B99F-432E-9CE2-CA27AD5EC12A}"/>
          </ac:spMkLst>
        </pc:spChg>
        <pc:spChg chg="add del">
          <ac:chgData name="Ayush Upendranath Bhupal" userId="6b6d5788-80ed-4f51-ac98-0534e81c51ce" providerId="ADAL" clId="{7AD5AD1F-F6AC-4C3F-AA97-93251A9408D5}" dt="2022-07-28T15:48:07.918" v="934" actId="26606"/>
          <ac:spMkLst>
            <pc:docMk/>
            <pc:sldMk cId="171740164" sldId="290"/>
            <ac:spMk id="35" creationId="{ADF5CAA3-EE6F-6633-504B-77E59D8E3CD6}"/>
          </ac:spMkLst>
        </pc:spChg>
        <pc:spChg chg="add del">
          <ac:chgData name="Ayush Upendranath Bhupal" userId="6b6d5788-80ed-4f51-ac98-0534e81c51ce" providerId="ADAL" clId="{7AD5AD1F-F6AC-4C3F-AA97-93251A9408D5}" dt="2022-07-28T15:48:07.918" v="934" actId="26606"/>
          <ac:spMkLst>
            <pc:docMk/>
            <pc:sldMk cId="171740164" sldId="290"/>
            <ac:spMk id="36" creationId="{907741FC-B544-4A6E-B831-6789D042333D}"/>
          </ac:spMkLst>
        </pc:spChg>
        <pc:spChg chg="add del">
          <ac:chgData name="Ayush Upendranath Bhupal" userId="6b6d5788-80ed-4f51-ac98-0534e81c51ce" providerId="ADAL" clId="{7AD5AD1F-F6AC-4C3F-AA97-93251A9408D5}" dt="2022-07-28T15:48:07.918" v="934" actId="26606"/>
          <ac:spMkLst>
            <pc:docMk/>
            <pc:sldMk cId="171740164" sldId="290"/>
            <ac:spMk id="37" creationId="{3F0BE7ED-7814-4273-B18A-F26CC0380380}"/>
          </ac:spMkLst>
        </pc:spChg>
        <pc:spChg chg="add">
          <ac:chgData name="Ayush Upendranath Bhupal" userId="6b6d5788-80ed-4f51-ac98-0534e81c51ce" providerId="ADAL" clId="{7AD5AD1F-F6AC-4C3F-AA97-93251A9408D5}" dt="2022-07-28T15:48:07.925" v="935" actId="26606"/>
          <ac:spMkLst>
            <pc:docMk/>
            <pc:sldMk cId="171740164" sldId="290"/>
            <ac:spMk id="39" creationId="{91886DCC-B99F-432E-9CE2-CA27AD5EC12A}"/>
          </ac:spMkLst>
        </pc:spChg>
        <pc:spChg chg="add mod">
          <ac:chgData name="Ayush Upendranath Bhupal" userId="6b6d5788-80ed-4f51-ac98-0534e81c51ce" providerId="ADAL" clId="{7AD5AD1F-F6AC-4C3F-AA97-93251A9408D5}" dt="2022-08-02T11:35:28.879" v="4441" actId="403"/>
          <ac:spMkLst>
            <pc:docMk/>
            <pc:sldMk cId="171740164" sldId="290"/>
            <ac:spMk id="40" creationId="{09F012CB-9405-C27A-3000-D47BCDD7AAEB}"/>
          </ac:spMkLst>
        </pc:spChg>
        <pc:spChg chg="add del">
          <ac:chgData name="Ayush Upendranath Bhupal" userId="6b6d5788-80ed-4f51-ac98-0534e81c51ce" providerId="ADAL" clId="{7AD5AD1F-F6AC-4C3F-AA97-93251A9408D5}" dt="2022-08-02T10:48:57.706" v="4049"/>
          <ac:spMkLst>
            <pc:docMk/>
            <pc:sldMk cId="171740164" sldId="290"/>
            <ac:spMk id="41" creationId="{5E39A796-BE83-48B1-B33F-35C4A32AAB57}"/>
          </ac:spMkLst>
        </pc:spChg>
        <pc:spChg chg="add del">
          <ac:chgData name="Ayush Upendranath Bhupal" userId="6b6d5788-80ed-4f51-ac98-0534e81c51ce" providerId="ADAL" clId="{7AD5AD1F-F6AC-4C3F-AA97-93251A9408D5}" dt="2022-08-02T10:48:57.706" v="4049"/>
          <ac:spMkLst>
            <pc:docMk/>
            <pc:sldMk cId="171740164" sldId="290"/>
            <ac:spMk id="42" creationId="{72F84B47-E267-4194-8194-831DB7B5547F}"/>
          </ac:spMkLst>
        </pc:spChg>
        <pc:picChg chg="add mod">
          <ac:chgData name="Ayush Upendranath Bhupal" userId="6b6d5788-80ed-4f51-ac98-0534e81c51ce" providerId="ADAL" clId="{7AD5AD1F-F6AC-4C3F-AA97-93251A9408D5}" dt="2022-08-04T15:21:32.109" v="5275" actId="1036"/>
          <ac:picMkLst>
            <pc:docMk/>
            <pc:sldMk cId="171740164" sldId="290"/>
            <ac:picMk id="5" creationId="{E1ED2988-3E75-4A3A-9A87-0FD974B41B61}"/>
          </ac:picMkLst>
        </pc:picChg>
      </pc:sldChg>
      <pc:sldChg chg="addSp delSp modSp new mod setBg">
        <pc:chgData name="Ayush Upendranath Bhupal" userId="6b6d5788-80ed-4f51-ac98-0534e81c51ce" providerId="ADAL" clId="{7AD5AD1F-F6AC-4C3F-AA97-93251A9408D5}" dt="2022-08-04T15:31:42.702" v="5282" actId="478"/>
        <pc:sldMkLst>
          <pc:docMk/>
          <pc:sldMk cId="4278045587" sldId="291"/>
        </pc:sldMkLst>
        <pc:spChg chg="del">
          <ac:chgData name="Ayush Upendranath Bhupal" userId="6b6d5788-80ed-4f51-ac98-0534e81c51ce" providerId="ADAL" clId="{7AD5AD1F-F6AC-4C3F-AA97-93251A9408D5}" dt="2022-07-29T10:39:30.813" v="1082" actId="26606"/>
          <ac:spMkLst>
            <pc:docMk/>
            <pc:sldMk cId="4278045587" sldId="291"/>
            <ac:spMk id="2" creationId="{29D2C402-C655-40F9-BAF6-3BAC9A97FB73}"/>
          </ac:spMkLst>
        </pc:spChg>
        <pc:spChg chg="del">
          <ac:chgData name="Ayush Upendranath Bhupal" userId="6b6d5788-80ed-4f51-ac98-0534e81c51ce" providerId="ADAL" clId="{7AD5AD1F-F6AC-4C3F-AA97-93251A9408D5}" dt="2022-07-29T10:39:21.370" v="1079" actId="931"/>
          <ac:spMkLst>
            <pc:docMk/>
            <pc:sldMk cId="4278045587" sldId="291"/>
            <ac:spMk id="3" creationId="{B6EDDE8F-86DB-4F40-8ABC-590C5A3859F6}"/>
          </ac:spMkLst>
        </pc:spChg>
        <pc:spChg chg="add del mod">
          <ac:chgData name="Ayush Upendranath Bhupal" userId="6b6d5788-80ed-4f51-ac98-0534e81c51ce" providerId="ADAL" clId="{7AD5AD1F-F6AC-4C3F-AA97-93251A9408D5}" dt="2022-08-04T15:31:42.702" v="5282" actId="478"/>
          <ac:spMkLst>
            <pc:docMk/>
            <pc:sldMk cId="4278045587" sldId="291"/>
            <ac:spMk id="3" creationId="{E2EB4AA9-F2EA-41D8-82B6-E26C5D62458C}"/>
          </ac:spMkLst>
        </pc:spChg>
        <pc:picChg chg="add del mod">
          <ac:chgData name="Ayush Upendranath Bhupal" userId="6b6d5788-80ed-4f51-ac98-0534e81c51ce" providerId="ADAL" clId="{7AD5AD1F-F6AC-4C3F-AA97-93251A9408D5}" dt="2022-08-04T13:32:43.479" v="5172" actId="478"/>
          <ac:picMkLst>
            <pc:docMk/>
            <pc:sldMk cId="4278045587" sldId="291"/>
            <ac:picMk id="5" creationId="{00606010-8796-4F6D-8E10-E23A33BE2935}"/>
          </ac:picMkLst>
        </pc:picChg>
        <pc:picChg chg="add mod">
          <ac:chgData name="Ayush Upendranath Bhupal" userId="6b6d5788-80ed-4f51-ac98-0534e81c51ce" providerId="ADAL" clId="{7AD5AD1F-F6AC-4C3F-AA97-93251A9408D5}" dt="2022-08-04T13:33:03.336" v="5178" actId="14100"/>
          <ac:picMkLst>
            <pc:docMk/>
            <pc:sldMk cId="4278045587" sldId="291"/>
            <ac:picMk id="1026" creationId="{8FE4D22F-088B-499E-94DC-9F270AFFFE91}"/>
          </ac:picMkLst>
        </pc:picChg>
      </pc:sldChg>
      <pc:sldChg chg="addSp delSp modSp new mod setBg">
        <pc:chgData name="Ayush Upendranath Bhupal" userId="6b6d5788-80ed-4f51-ac98-0534e81c51ce" providerId="ADAL" clId="{7AD5AD1F-F6AC-4C3F-AA97-93251A9408D5}" dt="2022-08-04T16:28:20.395" v="5349" actId="14100"/>
        <pc:sldMkLst>
          <pc:docMk/>
          <pc:sldMk cId="531018853" sldId="292"/>
        </pc:sldMkLst>
        <pc:spChg chg="del">
          <ac:chgData name="Ayush Upendranath Bhupal" userId="6b6d5788-80ed-4f51-ac98-0534e81c51ce" providerId="ADAL" clId="{7AD5AD1F-F6AC-4C3F-AA97-93251A9408D5}" dt="2022-07-29T10:40:03.217" v="1092" actId="26606"/>
          <ac:spMkLst>
            <pc:docMk/>
            <pc:sldMk cId="531018853" sldId="292"/>
            <ac:spMk id="2" creationId="{59C2A91A-3CC5-4889-8D53-ACA5209488FF}"/>
          </ac:spMkLst>
        </pc:spChg>
        <pc:spChg chg="del">
          <ac:chgData name="Ayush Upendranath Bhupal" userId="6b6d5788-80ed-4f51-ac98-0534e81c51ce" providerId="ADAL" clId="{7AD5AD1F-F6AC-4C3F-AA97-93251A9408D5}" dt="2022-07-29T10:39:59.786" v="1089" actId="931"/>
          <ac:spMkLst>
            <pc:docMk/>
            <pc:sldMk cId="531018853" sldId="292"/>
            <ac:spMk id="3" creationId="{A5D36146-ABB4-462C-A207-22635DD5F797}"/>
          </ac:spMkLst>
        </pc:spChg>
        <pc:spChg chg="add del mod">
          <ac:chgData name="Ayush Upendranath Bhupal" userId="6b6d5788-80ed-4f51-ac98-0534e81c51ce" providerId="ADAL" clId="{7AD5AD1F-F6AC-4C3F-AA97-93251A9408D5}" dt="2022-08-04T16:27:52.638" v="5344" actId="478"/>
          <ac:spMkLst>
            <pc:docMk/>
            <pc:sldMk cId="531018853" sldId="292"/>
            <ac:spMk id="3" creationId="{DAA13617-6A8B-429B-B485-C1BDFD2C79F1}"/>
          </ac:spMkLst>
        </pc:spChg>
        <pc:picChg chg="add del mod">
          <ac:chgData name="Ayush Upendranath Bhupal" userId="6b6d5788-80ed-4f51-ac98-0534e81c51ce" providerId="ADAL" clId="{7AD5AD1F-F6AC-4C3F-AA97-93251A9408D5}" dt="2022-08-04T16:27:48.159" v="5342" actId="478"/>
          <ac:picMkLst>
            <pc:docMk/>
            <pc:sldMk cId="531018853" sldId="292"/>
            <ac:picMk id="5" creationId="{E0764D21-2FAA-44DB-99DB-77D1F8E031D2}"/>
          </ac:picMkLst>
        </pc:picChg>
        <pc:picChg chg="add del">
          <ac:chgData name="Ayush Upendranath Bhupal" userId="6b6d5788-80ed-4f51-ac98-0534e81c51ce" providerId="ADAL" clId="{7AD5AD1F-F6AC-4C3F-AA97-93251A9408D5}" dt="2022-08-04T16:27:46.671" v="5341"/>
          <ac:picMkLst>
            <pc:docMk/>
            <pc:sldMk cId="531018853" sldId="292"/>
            <ac:picMk id="2050" creationId="{75249D6F-62FB-4E28-9004-A7512FE6A96A}"/>
          </ac:picMkLst>
        </pc:picChg>
        <pc:picChg chg="add mod">
          <ac:chgData name="Ayush Upendranath Bhupal" userId="6b6d5788-80ed-4f51-ac98-0534e81c51ce" providerId="ADAL" clId="{7AD5AD1F-F6AC-4C3F-AA97-93251A9408D5}" dt="2022-08-04T16:28:20.395" v="5349" actId="14100"/>
          <ac:picMkLst>
            <pc:docMk/>
            <pc:sldMk cId="531018853" sldId="292"/>
            <ac:picMk id="2052" creationId="{989C38C5-199D-4F1E-953D-91989B3FAF1C}"/>
          </ac:picMkLst>
        </pc:picChg>
      </pc:sldChg>
      <pc:sldChg chg="delSp modSp new mod ord">
        <pc:chgData name="Ayush Upendranath Bhupal" userId="6b6d5788-80ed-4f51-ac98-0534e81c51ce" providerId="ADAL" clId="{7AD5AD1F-F6AC-4C3F-AA97-93251A9408D5}" dt="2022-08-02T11:36:46.970" v="4464" actId="113"/>
        <pc:sldMkLst>
          <pc:docMk/>
          <pc:sldMk cId="2311862226" sldId="293"/>
        </pc:sldMkLst>
        <pc:spChg chg="mod">
          <ac:chgData name="Ayush Upendranath Bhupal" userId="6b6d5788-80ed-4f51-ac98-0534e81c51ce" providerId="ADAL" clId="{7AD5AD1F-F6AC-4C3F-AA97-93251A9408D5}" dt="2022-08-02T11:36:46.970" v="4464" actId="113"/>
          <ac:spMkLst>
            <pc:docMk/>
            <pc:sldMk cId="2311862226" sldId="293"/>
            <ac:spMk id="2" creationId="{191C2C6D-8234-4530-A390-42F33A1E1BF9}"/>
          </ac:spMkLst>
        </pc:spChg>
        <pc:spChg chg="del">
          <ac:chgData name="Ayush Upendranath Bhupal" userId="6b6d5788-80ed-4f51-ac98-0534e81c51ce" providerId="ADAL" clId="{7AD5AD1F-F6AC-4C3F-AA97-93251A9408D5}" dt="2022-07-29T10:42:33.734" v="1128" actId="478"/>
          <ac:spMkLst>
            <pc:docMk/>
            <pc:sldMk cId="2311862226" sldId="293"/>
            <ac:spMk id="3" creationId="{7BF66F25-405D-49CA-AA91-65196EEC6836}"/>
          </ac:spMkLst>
        </pc:spChg>
      </pc:sldChg>
      <pc:sldChg chg="delSp modSp new mod">
        <pc:chgData name="Ayush Upendranath Bhupal" userId="6b6d5788-80ed-4f51-ac98-0534e81c51ce" providerId="ADAL" clId="{7AD5AD1F-F6AC-4C3F-AA97-93251A9408D5}" dt="2022-08-02T11:34:44.114" v="4428" actId="113"/>
        <pc:sldMkLst>
          <pc:docMk/>
          <pc:sldMk cId="1252990769" sldId="294"/>
        </pc:sldMkLst>
        <pc:spChg chg="mod">
          <ac:chgData name="Ayush Upendranath Bhupal" userId="6b6d5788-80ed-4f51-ac98-0534e81c51ce" providerId="ADAL" clId="{7AD5AD1F-F6AC-4C3F-AA97-93251A9408D5}" dt="2022-08-02T11:34:44.114" v="4428" actId="113"/>
          <ac:spMkLst>
            <pc:docMk/>
            <pc:sldMk cId="1252990769" sldId="294"/>
            <ac:spMk id="2" creationId="{18FBA963-295E-4DE8-AB74-AB24E0C1AC94}"/>
          </ac:spMkLst>
        </pc:spChg>
        <pc:spChg chg="del">
          <ac:chgData name="Ayush Upendranath Bhupal" userId="6b6d5788-80ed-4f51-ac98-0534e81c51ce" providerId="ADAL" clId="{7AD5AD1F-F6AC-4C3F-AA97-93251A9408D5}" dt="2022-07-29T10:43:08.949" v="1161" actId="478"/>
          <ac:spMkLst>
            <pc:docMk/>
            <pc:sldMk cId="1252990769" sldId="294"/>
            <ac:spMk id="3" creationId="{F4377483-43B0-4227-9480-7F5806D9AFAD}"/>
          </ac:spMkLst>
        </pc:spChg>
      </pc:sldChg>
      <pc:sldChg chg="addSp delSp new del">
        <pc:chgData name="Ayush Upendranath Bhupal" userId="6b6d5788-80ed-4f51-ac98-0534e81c51ce" providerId="ADAL" clId="{7AD5AD1F-F6AC-4C3F-AA97-93251A9408D5}" dt="2022-07-29T10:47:06.337" v="1198" actId="47"/>
        <pc:sldMkLst>
          <pc:docMk/>
          <pc:sldMk cId="3469546637" sldId="295"/>
        </pc:sldMkLst>
        <pc:picChg chg="add del">
          <ac:chgData name="Ayush Upendranath Bhupal" userId="6b6d5788-80ed-4f51-ac98-0534e81c51ce" providerId="ADAL" clId="{7AD5AD1F-F6AC-4C3F-AA97-93251A9408D5}" dt="2022-07-29T10:46:46.123" v="1194"/>
          <ac:picMkLst>
            <pc:docMk/>
            <pc:sldMk cId="3469546637" sldId="295"/>
            <ac:picMk id="4" creationId="{3FB1B7E3-57AE-45B4-A92C-AEE3ED310721}"/>
          </ac:picMkLst>
        </pc:picChg>
      </pc:sldChg>
      <pc:sldChg chg="addSp delSp modSp add del mod">
        <pc:chgData name="Ayush Upendranath Bhupal" userId="6b6d5788-80ed-4f51-ac98-0534e81c51ce" providerId="ADAL" clId="{7AD5AD1F-F6AC-4C3F-AA97-93251A9408D5}" dt="2022-08-02T11:37:29.727" v="4467" actId="2711"/>
        <pc:sldMkLst>
          <pc:docMk/>
          <pc:sldMk cId="854006699" sldId="296"/>
        </pc:sldMkLst>
        <pc:spChg chg="mod">
          <ac:chgData name="Ayush Upendranath Bhupal" userId="6b6d5788-80ed-4f51-ac98-0534e81c51ce" providerId="ADAL" clId="{7AD5AD1F-F6AC-4C3F-AA97-93251A9408D5}" dt="2022-08-02T11:37:29.727" v="4467" actId="2711"/>
          <ac:spMkLst>
            <pc:docMk/>
            <pc:sldMk cId="854006699" sldId="296"/>
            <ac:spMk id="2" creationId="{DAB6ABEC-53B1-479C-BCBE-716F91BD1060}"/>
          </ac:spMkLst>
        </pc:spChg>
        <pc:spChg chg="add del">
          <ac:chgData name="Ayush Upendranath Bhupal" userId="6b6d5788-80ed-4f51-ac98-0534e81c51ce" providerId="ADAL" clId="{7AD5AD1F-F6AC-4C3F-AA97-93251A9408D5}" dt="2022-08-02T11:22:25.977" v="4305" actId="22"/>
          <ac:spMkLst>
            <pc:docMk/>
            <pc:sldMk cId="854006699" sldId="296"/>
            <ac:spMk id="7" creationId="{E8161AA7-0902-4EBD-A1D4-1B5DB2101812}"/>
          </ac:spMkLst>
        </pc:spChg>
        <pc:spChg chg="mod">
          <ac:chgData name="Ayush Upendranath Bhupal" userId="6b6d5788-80ed-4f51-ac98-0534e81c51ce" providerId="ADAL" clId="{7AD5AD1F-F6AC-4C3F-AA97-93251A9408D5}" dt="2022-08-02T11:37:29.727" v="4467" actId="2711"/>
          <ac:spMkLst>
            <pc:docMk/>
            <pc:sldMk cId="854006699" sldId="296"/>
            <ac:spMk id="10" creationId="{060FD871-DC23-4B8C-B59D-C8EEEF9AEE7E}"/>
          </ac:spMkLst>
        </pc:spChg>
        <pc:picChg chg="mod">
          <ac:chgData name="Ayush Upendranath Bhupal" userId="6b6d5788-80ed-4f51-ac98-0534e81c51ce" providerId="ADAL" clId="{7AD5AD1F-F6AC-4C3F-AA97-93251A9408D5}" dt="2022-08-02T10:55:30.445" v="4126"/>
          <ac:picMkLst>
            <pc:docMk/>
            <pc:sldMk cId="854006699" sldId="296"/>
            <ac:picMk id="5" creationId="{19C44352-1271-4A1B-B7D1-5B7F512C9336}"/>
          </ac:picMkLst>
        </pc:picChg>
        <pc:picChg chg="add mod">
          <ac:chgData name="Ayush Upendranath Bhupal" userId="6b6d5788-80ed-4f51-ac98-0534e81c51ce" providerId="ADAL" clId="{7AD5AD1F-F6AC-4C3F-AA97-93251A9408D5}" dt="2022-08-02T11:24:40.350" v="4313" actId="1076"/>
          <ac:picMkLst>
            <pc:docMk/>
            <pc:sldMk cId="854006699" sldId="296"/>
            <ac:picMk id="8" creationId="{BDD83D8C-8795-4D71-9085-C56F0925E55B}"/>
          </ac:picMkLst>
        </pc:picChg>
      </pc:sldChg>
      <pc:sldChg chg="addSp delSp modSp new del mod">
        <pc:chgData name="Ayush Upendranath Bhupal" userId="6b6d5788-80ed-4f51-ac98-0534e81c51ce" providerId="ADAL" clId="{7AD5AD1F-F6AC-4C3F-AA97-93251A9408D5}" dt="2022-08-01T17:52:37.842" v="2638" actId="2696"/>
        <pc:sldMkLst>
          <pc:docMk/>
          <pc:sldMk cId="1749211995" sldId="296"/>
        </pc:sldMkLst>
        <pc:spChg chg="mod">
          <ac:chgData name="Ayush Upendranath Bhupal" userId="6b6d5788-80ed-4f51-ac98-0534e81c51ce" providerId="ADAL" clId="{7AD5AD1F-F6AC-4C3F-AA97-93251A9408D5}" dt="2022-07-29T11:18:33.955" v="1788" actId="122"/>
          <ac:spMkLst>
            <pc:docMk/>
            <pc:sldMk cId="1749211995" sldId="296"/>
            <ac:spMk id="2" creationId="{DAB6ABEC-53B1-479C-BCBE-716F91BD1060}"/>
          </ac:spMkLst>
        </pc:spChg>
        <pc:spChg chg="del">
          <ac:chgData name="Ayush Upendranath Bhupal" userId="6b6d5788-80ed-4f51-ac98-0534e81c51ce" providerId="ADAL" clId="{7AD5AD1F-F6AC-4C3F-AA97-93251A9408D5}" dt="2022-07-29T11:23:31.550" v="1789" actId="22"/>
          <ac:spMkLst>
            <pc:docMk/>
            <pc:sldMk cId="1749211995" sldId="296"/>
            <ac:spMk id="3" creationId="{4CE27B40-E6FC-4CAE-8DF7-80EFCCD81D8F}"/>
          </ac:spMkLst>
        </pc:spChg>
        <pc:spChg chg="add mod">
          <ac:chgData name="Ayush Upendranath Bhupal" userId="6b6d5788-80ed-4f51-ac98-0534e81c51ce" providerId="ADAL" clId="{7AD5AD1F-F6AC-4C3F-AA97-93251A9408D5}" dt="2022-07-29T11:30:41.320" v="1823" actId="1076"/>
          <ac:spMkLst>
            <pc:docMk/>
            <pc:sldMk cId="1749211995" sldId="296"/>
            <ac:spMk id="10" creationId="{060FD871-DC23-4B8C-B59D-C8EEEF9AEE7E}"/>
          </ac:spMkLst>
        </pc:spChg>
        <pc:picChg chg="add mod ord">
          <ac:chgData name="Ayush Upendranath Bhupal" userId="6b6d5788-80ed-4f51-ac98-0534e81c51ce" providerId="ADAL" clId="{7AD5AD1F-F6AC-4C3F-AA97-93251A9408D5}" dt="2022-07-29T11:30:24.832" v="1822" actId="1076"/>
          <ac:picMkLst>
            <pc:docMk/>
            <pc:sldMk cId="1749211995" sldId="296"/>
            <ac:picMk id="5" creationId="{19C44352-1271-4A1B-B7D1-5B7F512C9336}"/>
          </ac:picMkLst>
        </pc:picChg>
        <pc:picChg chg="add del">
          <ac:chgData name="Ayush Upendranath Bhupal" userId="6b6d5788-80ed-4f51-ac98-0534e81c51ce" providerId="ADAL" clId="{7AD5AD1F-F6AC-4C3F-AA97-93251A9408D5}" dt="2022-07-29T11:28:41.298" v="1792" actId="22"/>
          <ac:picMkLst>
            <pc:docMk/>
            <pc:sldMk cId="1749211995" sldId="296"/>
            <ac:picMk id="7" creationId="{CE2A8095-46AC-44FD-A527-49F8D56886FB}"/>
          </ac:picMkLst>
        </pc:picChg>
        <pc:picChg chg="add mod">
          <ac:chgData name="Ayush Upendranath Bhupal" userId="6b6d5788-80ed-4f51-ac98-0534e81c51ce" providerId="ADAL" clId="{7AD5AD1F-F6AC-4C3F-AA97-93251A9408D5}" dt="2022-07-29T11:29:18.464" v="1798" actId="1076"/>
          <ac:picMkLst>
            <pc:docMk/>
            <pc:sldMk cId="1749211995" sldId="296"/>
            <ac:picMk id="9" creationId="{7518671C-7A95-47E9-84BC-9DD6D6578424}"/>
          </ac:picMkLst>
        </pc:picChg>
      </pc:sldChg>
      <pc:sldChg chg="addSp delSp modSp new del mod ord">
        <pc:chgData name="Ayush Upendranath Bhupal" userId="6b6d5788-80ed-4f51-ac98-0534e81c51ce" providerId="ADAL" clId="{7AD5AD1F-F6AC-4C3F-AA97-93251A9408D5}" dt="2022-08-01T17:52:37.842" v="2638" actId="2696"/>
        <pc:sldMkLst>
          <pc:docMk/>
          <pc:sldMk cId="2902204179" sldId="297"/>
        </pc:sldMkLst>
        <pc:spChg chg="mod">
          <ac:chgData name="Ayush Upendranath Bhupal" userId="6b6d5788-80ed-4f51-ac98-0534e81c51ce" providerId="ADAL" clId="{7AD5AD1F-F6AC-4C3F-AA97-93251A9408D5}" dt="2022-07-29T11:31:15.086" v="1829" actId="122"/>
          <ac:spMkLst>
            <pc:docMk/>
            <pc:sldMk cId="2902204179" sldId="297"/>
            <ac:spMk id="2" creationId="{44FDD9BE-9457-4EF6-9A36-5F4746146803}"/>
          </ac:spMkLst>
        </pc:spChg>
        <pc:spChg chg="mod">
          <ac:chgData name="Ayush Upendranath Bhupal" userId="6b6d5788-80ed-4f51-ac98-0534e81c51ce" providerId="ADAL" clId="{7AD5AD1F-F6AC-4C3F-AA97-93251A9408D5}" dt="2022-07-29T11:31:53.280" v="1899" actId="20577"/>
          <ac:spMkLst>
            <pc:docMk/>
            <pc:sldMk cId="2902204179" sldId="297"/>
            <ac:spMk id="3" creationId="{C1461FED-501B-4700-BC35-309310C1AECE}"/>
          </ac:spMkLst>
        </pc:spChg>
        <pc:spChg chg="add del mod">
          <ac:chgData name="Ayush Upendranath Bhupal" userId="6b6d5788-80ed-4f51-ac98-0534e81c51ce" providerId="ADAL" clId="{7AD5AD1F-F6AC-4C3F-AA97-93251A9408D5}" dt="2022-07-29T11:31:12.687" v="1828" actId="478"/>
          <ac:spMkLst>
            <pc:docMk/>
            <pc:sldMk cId="2902204179" sldId="297"/>
            <ac:spMk id="5" creationId="{3FDD1AED-B49F-418C-B0EF-83FE3E0C6C37}"/>
          </ac:spMkLst>
        </pc:spChg>
        <pc:picChg chg="add mod">
          <ac:chgData name="Ayush Upendranath Bhupal" userId="6b6d5788-80ed-4f51-ac98-0534e81c51ce" providerId="ADAL" clId="{7AD5AD1F-F6AC-4C3F-AA97-93251A9408D5}" dt="2022-07-29T11:37:20.922" v="2180" actId="1076"/>
          <ac:picMkLst>
            <pc:docMk/>
            <pc:sldMk cId="2902204179" sldId="297"/>
            <ac:picMk id="7" creationId="{77DE4390-373E-4ABC-BA31-6E5A96E2E9DD}"/>
          </ac:picMkLst>
        </pc:picChg>
      </pc:sldChg>
      <pc:sldChg chg="addSp modSp add del mod">
        <pc:chgData name="Ayush Upendranath Bhupal" userId="6b6d5788-80ed-4f51-ac98-0534e81c51ce" providerId="ADAL" clId="{7AD5AD1F-F6AC-4C3F-AA97-93251A9408D5}" dt="2022-08-05T09:17:03.329" v="5780" actId="20577"/>
        <pc:sldMkLst>
          <pc:docMk/>
          <pc:sldMk cId="4091057981" sldId="297"/>
        </pc:sldMkLst>
        <pc:spChg chg="mod">
          <ac:chgData name="Ayush Upendranath Bhupal" userId="6b6d5788-80ed-4f51-ac98-0534e81c51ce" providerId="ADAL" clId="{7AD5AD1F-F6AC-4C3F-AA97-93251A9408D5}" dt="2022-08-02T11:20:25.055" v="4283" actId="2711"/>
          <ac:spMkLst>
            <pc:docMk/>
            <pc:sldMk cId="4091057981" sldId="297"/>
            <ac:spMk id="2" creationId="{44FDD9BE-9457-4EF6-9A36-5F4746146803}"/>
          </ac:spMkLst>
        </pc:spChg>
        <pc:spChg chg="mod">
          <ac:chgData name="Ayush Upendranath Bhupal" userId="6b6d5788-80ed-4f51-ac98-0534e81c51ce" providerId="ADAL" clId="{7AD5AD1F-F6AC-4C3F-AA97-93251A9408D5}" dt="2022-08-05T09:17:03.329" v="5780" actId="20577"/>
          <ac:spMkLst>
            <pc:docMk/>
            <pc:sldMk cId="4091057981" sldId="297"/>
            <ac:spMk id="3" creationId="{C1461FED-501B-4700-BC35-309310C1AECE}"/>
          </ac:spMkLst>
        </pc:spChg>
        <pc:spChg chg="add mod">
          <ac:chgData name="Ayush Upendranath Bhupal" userId="6b6d5788-80ed-4f51-ac98-0534e81c51ce" providerId="ADAL" clId="{7AD5AD1F-F6AC-4C3F-AA97-93251A9408D5}" dt="2022-08-05T08:35:37.972" v="5778" actId="403"/>
          <ac:spMkLst>
            <pc:docMk/>
            <pc:sldMk cId="4091057981" sldId="297"/>
            <ac:spMk id="4" creationId="{A52F7E8C-200A-4CD0-8E8C-E6E66CC1131B}"/>
          </ac:spMkLst>
        </pc:spChg>
        <pc:picChg chg="mod">
          <ac:chgData name="Ayush Upendranath Bhupal" userId="6b6d5788-80ed-4f51-ac98-0534e81c51ce" providerId="ADAL" clId="{7AD5AD1F-F6AC-4C3F-AA97-93251A9408D5}" dt="2022-08-04T17:03:30.434" v="5559" actId="1076"/>
          <ac:picMkLst>
            <pc:docMk/>
            <pc:sldMk cId="4091057981" sldId="297"/>
            <ac:picMk id="7" creationId="{77DE4390-373E-4ABC-BA31-6E5A96E2E9DD}"/>
          </ac:picMkLst>
        </pc:picChg>
      </pc:sldChg>
      <pc:sldChg chg="delSp modSp add del mod ord">
        <pc:chgData name="Ayush Upendranath Bhupal" userId="6b6d5788-80ed-4f51-ac98-0534e81c51ce" providerId="ADAL" clId="{7AD5AD1F-F6AC-4C3F-AA97-93251A9408D5}" dt="2022-08-05T08:34:28.690" v="5756" actId="20577"/>
        <pc:sldMkLst>
          <pc:docMk/>
          <pc:sldMk cId="2108493000" sldId="384"/>
        </pc:sldMkLst>
        <pc:spChg chg="mod">
          <ac:chgData name="Ayush Upendranath Bhupal" userId="6b6d5788-80ed-4f51-ac98-0534e81c51ce" providerId="ADAL" clId="{7AD5AD1F-F6AC-4C3F-AA97-93251A9408D5}" dt="2022-08-01T17:53:04.185" v="2673" actId="20577"/>
          <ac:spMkLst>
            <pc:docMk/>
            <pc:sldMk cId="2108493000" sldId="384"/>
            <ac:spMk id="2" creationId="{00000000-0000-0000-0000-000000000000}"/>
          </ac:spMkLst>
        </pc:spChg>
        <pc:spChg chg="mod">
          <ac:chgData name="Ayush Upendranath Bhupal" userId="6b6d5788-80ed-4f51-ac98-0534e81c51ce" providerId="ADAL" clId="{7AD5AD1F-F6AC-4C3F-AA97-93251A9408D5}" dt="2022-08-04T18:14:36.788" v="5671" actId="1076"/>
          <ac:spMkLst>
            <pc:docMk/>
            <pc:sldMk cId="2108493000" sldId="384"/>
            <ac:spMk id="3" creationId="{12FC7BF7-46CD-4685-A0E9-9ED1D63E2CDC}"/>
          </ac:spMkLst>
        </pc:spChg>
        <pc:spChg chg="mod">
          <ac:chgData name="Ayush Upendranath Bhupal" userId="6b6d5788-80ed-4f51-ac98-0534e81c51ce" providerId="ADAL" clId="{7AD5AD1F-F6AC-4C3F-AA97-93251A9408D5}" dt="2022-08-05T08:15:59.526" v="5697" actId="1076"/>
          <ac:spMkLst>
            <pc:docMk/>
            <pc:sldMk cId="2108493000" sldId="384"/>
            <ac:spMk id="4" creationId="{B3A0E789-3887-48C4-BE5A-509C8F3D0A1C}"/>
          </ac:spMkLst>
        </pc:spChg>
        <pc:spChg chg="del mod">
          <ac:chgData name="Ayush Upendranath Bhupal" userId="6b6d5788-80ed-4f51-ac98-0534e81c51ce" providerId="ADAL" clId="{7AD5AD1F-F6AC-4C3F-AA97-93251A9408D5}" dt="2022-08-04T16:59:26.968" v="5496" actId="478"/>
          <ac:spMkLst>
            <pc:docMk/>
            <pc:sldMk cId="2108493000" sldId="384"/>
            <ac:spMk id="5" creationId="{B331FB12-827C-4B61-9166-2E4892B0059C}"/>
          </ac:spMkLst>
        </pc:spChg>
        <pc:spChg chg="mod">
          <ac:chgData name="Ayush Upendranath Bhupal" userId="6b6d5788-80ed-4f51-ac98-0534e81c51ce" providerId="ADAL" clId="{7AD5AD1F-F6AC-4C3F-AA97-93251A9408D5}" dt="2022-08-05T08:34:28.690" v="5756" actId="20577"/>
          <ac:spMkLst>
            <pc:docMk/>
            <pc:sldMk cId="2108493000" sldId="384"/>
            <ac:spMk id="9" creationId="{D216F91E-408C-4B8F-9C2A-993175201E90}"/>
          </ac:spMkLst>
        </pc:spChg>
        <pc:picChg chg="del">
          <ac:chgData name="Ayush Upendranath Bhupal" userId="6b6d5788-80ed-4f51-ac98-0534e81c51ce" providerId="ADAL" clId="{7AD5AD1F-F6AC-4C3F-AA97-93251A9408D5}" dt="2022-08-04T16:58:40.146" v="5476" actId="478"/>
          <ac:picMkLst>
            <pc:docMk/>
            <pc:sldMk cId="2108493000" sldId="384"/>
            <ac:picMk id="6" creationId="{C1309F0B-B56C-4CA8-97D1-40AABB422A49}"/>
          </ac:picMkLst>
        </pc:picChg>
        <pc:picChg chg="del">
          <ac:chgData name="Ayush Upendranath Bhupal" userId="6b6d5788-80ed-4f51-ac98-0534e81c51ce" providerId="ADAL" clId="{7AD5AD1F-F6AC-4C3F-AA97-93251A9408D5}" dt="2022-08-04T16:58:52.809" v="5486" actId="478"/>
          <ac:picMkLst>
            <pc:docMk/>
            <pc:sldMk cId="2108493000" sldId="384"/>
            <ac:picMk id="7" creationId="{9386083F-5179-40E9-914E-C27829DBAE25}"/>
          </ac:picMkLst>
        </pc:picChg>
      </pc:sldChg>
      <pc:sldChg chg="addSp delSp modSp add mod">
        <pc:chgData name="Ayush Upendranath Bhupal" userId="6b6d5788-80ed-4f51-ac98-0534e81c51ce" providerId="ADAL" clId="{7AD5AD1F-F6AC-4C3F-AA97-93251A9408D5}" dt="2022-08-04T16:15:26.906" v="5339" actId="20577"/>
        <pc:sldMkLst>
          <pc:docMk/>
          <pc:sldMk cId="387184210" sldId="388"/>
        </pc:sldMkLst>
        <pc:spChg chg="mod">
          <ac:chgData name="Ayush Upendranath Bhupal" userId="6b6d5788-80ed-4f51-ac98-0534e81c51ce" providerId="ADAL" clId="{7AD5AD1F-F6AC-4C3F-AA97-93251A9408D5}" dt="2022-08-02T11:25:39.862" v="4328" actId="403"/>
          <ac:spMkLst>
            <pc:docMk/>
            <pc:sldMk cId="387184210" sldId="388"/>
            <ac:spMk id="2" creationId="{00000000-0000-0000-0000-000000000000}"/>
          </ac:spMkLst>
        </pc:spChg>
        <pc:spChg chg="add del">
          <ac:chgData name="Ayush Upendranath Bhupal" userId="6b6d5788-80ed-4f51-ac98-0534e81c51ce" providerId="ADAL" clId="{7AD5AD1F-F6AC-4C3F-AA97-93251A9408D5}" dt="2022-07-29T11:09:25.183" v="1627"/>
          <ac:spMkLst>
            <pc:docMk/>
            <pc:sldMk cId="387184210" sldId="388"/>
            <ac:spMk id="3" creationId="{353B9531-13C6-4527-89CF-FF354621C9D9}"/>
          </ac:spMkLst>
        </pc:spChg>
        <pc:spChg chg="mod">
          <ac:chgData name="Ayush Upendranath Bhupal" userId="6b6d5788-80ed-4f51-ac98-0534e81c51ce" providerId="ADAL" clId="{7AD5AD1F-F6AC-4C3F-AA97-93251A9408D5}" dt="2022-08-04T16:15:26.906" v="5339" actId="20577"/>
          <ac:spMkLst>
            <pc:docMk/>
            <pc:sldMk cId="387184210" sldId="388"/>
            <ac:spMk id="4" creationId="{CA45C4EC-A881-4999-8B27-73F99152842B}"/>
          </ac:spMkLst>
        </pc:spChg>
      </pc:sldChg>
      <pc:sldChg chg="addSp delSp modSp add del mod">
        <pc:chgData name="Ayush Upendranath Bhupal" userId="6b6d5788-80ed-4f51-ac98-0534e81c51ce" providerId="ADAL" clId="{7AD5AD1F-F6AC-4C3F-AA97-93251A9408D5}" dt="2022-08-05T10:03:06.713" v="5794" actId="1076"/>
        <pc:sldMkLst>
          <pc:docMk/>
          <pc:sldMk cId="162766306" sldId="415"/>
        </pc:sldMkLst>
        <pc:spChg chg="del mod ord">
          <ac:chgData name="Ayush Upendranath Bhupal" userId="6b6d5788-80ed-4f51-ac98-0534e81c51ce" providerId="ADAL" clId="{7AD5AD1F-F6AC-4C3F-AA97-93251A9408D5}" dt="2022-08-02T11:25:33.191" v="4326" actId="403"/>
          <ac:spMkLst>
            <pc:docMk/>
            <pc:sldMk cId="162766306" sldId="415"/>
            <ac:spMk id="2" creationId="{55F4CAB4-4E8F-4388-B6A7-A41D41D36366}"/>
          </ac:spMkLst>
        </pc:spChg>
        <pc:spChg chg="mod">
          <ac:chgData name="Ayush Upendranath Bhupal" userId="6b6d5788-80ed-4f51-ac98-0534e81c51ce" providerId="ADAL" clId="{7AD5AD1F-F6AC-4C3F-AA97-93251A9408D5}" dt="2022-08-05T10:03:06.713" v="5794" actId="1076"/>
          <ac:spMkLst>
            <pc:docMk/>
            <pc:sldMk cId="162766306" sldId="415"/>
            <ac:spMk id="3" creationId="{F2B83ACE-22E1-4DA4-B738-4B7CAD063935}"/>
          </ac:spMkLst>
        </pc:spChg>
        <pc:spChg chg="mod">
          <ac:chgData name="Ayush Upendranath Bhupal" userId="6b6d5788-80ed-4f51-ac98-0534e81c51ce" providerId="ADAL" clId="{7AD5AD1F-F6AC-4C3F-AA97-93251A9408D5}" dt="2022-07-29T10:48:06.816" v="1201" actId="2711"/>
          <ac:spMkLst>
            <pc:docMk/>
            <pc:sldMk cId="162766306" sldId="415"/>
            <ac:spMk id="5" creationId="{1F731647-AF9F-4484-9586-7A96A7401BC4}"/>
          </ac:spMkLst>
        </pc:spChg>
        <pc:spChg chg="add mod">
          <ac:chgData name="Ayush Upendranath Bhupal" userId="6b6d5788-80ed-4f51-ac98-0534e81c51ce" providerId="ADAL" clId="{7AD5AD1F-F6AC-4C3F-AA97-93251A9408D5}" dt="2022-07-29T10:46:22.623" v="1185" actId="478"/>
          <ac:spMkLst>
            <pc:docMk/>
            <pc:sldMk cId="162766306" sldId="415"/>
            <ac:spMk id="7" creationId="{007BFCF1-73F4-4792-904D-440C7A9A67FD}"/>
          </ac:spMkLst>
        </pc:spChg>
        <pc:spChg chg="mod">
          <ac:chgData name="Ayush Upendranath Bhupal" userId="6b6d5788-80ed-4f51-ac98-0534e81c51ce" providerId="ADAL" clId="{7AD5AD1F-F6AC-4C3F-AA97-93251A9408D5}" dt="2022-07-29T10:48:06.816" v="1201" actId="2711"/>
          <ac:spMkLst>
            <pc:docMk/>
            <pc:sldMk cId="162766306" sldId="415"/>
            <ac:spMk id="13" creationId="{3686CD17-880A-413C-9C72-6CEA6B8609B1}"/>
          </ac:spMkLst>
        </pc:spChg>
        <pc:spChg chg="mod">
          <ac:chgData name="Ayush Upendranath Bhupal" userId="6b6d5788-80ed-4f51-ac98-0534e81c51ce" providerId="ADAL" clId="{7AD5AD1F-F6AC-4C3F-AA97-93251A9408D5}" dt="2022-07-29T10:48:06.816" v="1201" actId="2711"/>
          <ac:spMkLst>
            <pc:docMk/>
            <pc:sldMk cId="162766306" sldId="415"/>
            <ac:spMk id="21" creationId="{AEBC76CA-3153-4EE7-AE00-6DBE1A27FCC0}"/>
          </ac:spMkLst>
        </pc:spChg>
        <pc:spChg chg="mod">
          <ac:chgData name="Ayush Upendranath Bhupal" userId="6b6d5788-80ed-4f51-ac98-0534e81c51ce" providerId="ADAL" clId="{7AD5AD1F-F6AC-4C3F-AA97-93251A9408D5}" dt="2022-07-29T10:48:06.816" v="1201" actId="2711"/>
          <ac:spMkLst>
            <pc:docMk/>
            <pc:sldMk cId="162766306" sldId="415"/>
            <ac:spMk id="22" creationId="{3696E99F-2728-4D71-A21B-124B22CBA195}"/>
          </ac:spMkLst>
        </pc:spChg>
        <pc:picChg chg="mod">
          <ac:chgData name="Ayush Upendranath Bhupal" userId="6b6d5788-80ed-4f51-ac98-0534e81c51ce" providerId="ADAL" clId="{7AD5AD1F-F6AC-4C3F-AA97-93251A9408D5}" dt="2022-08-05T10:01:39.889" v="5790" actId="1076"/>
          <ac:picMkLst>
            <pc:docMk/>
            <pc:sldMk cId="162766306" sldId="415"/>
            <ac:picMk id="16" creationId="{571161CA-ED85-453C-9EB8-F71F28D0C932}"/>
          </ac:picMkLst>
        </pc:picChg>
        <pc:picChg chg="mod">
          <ac:chgData name="Ayush Upendranath Bhupal" userId="6b6d5788-80ed-4f51-ac98-0534e81c51ce" providerId="ADAL" clId="{7AD5AD1F-F6AC-4C3F-AA97-93251A9408D5}" dt="2022-08-05T10:01:07.949" v="5781" actId="1076"/>
          <ac:picMkLst>
            <pc:docMk/>
            <pc:sldMk cId="162766306" sldId="415"/>
            <ac:picMk id="17" creationId="{A4A4C1FB-092E-43CD-B121-E63D181DA3DD}"/>
          </ac:picMkLst>
        </pc:picChg>
        <pc:picChg chg="ord">
          <ac:chgData name="Ayush Upendranath Bhupal" userId="6b6d5788-80ed-4f51-ac98-0534e81c51ce" providerId="ADAL" clId="{7AD5AD1F-F6AC-4C3F-AA97-93251A9408D5}" dt="2022-07-29T10:48:42.582" v="1216" actId="167"/>
          <ac:picMkLst>
            <pc:docMk/>
            <pc:sldMk cId="162766306" sldId="415"/>
            <ac:picMk id="20" creationId="{4F7C1996-0D4C-499D-8861-8A9182C82F79}"/>
          </ac:picMkLst>
        </pc:picChg>
      </pc:sldChg>
      <pc:sldChg chg="modSp add del mod">
        <pc:chgData name="Ayush Upendranath Bhupal" userId="6b6d5788-80ed-4f51-ac98-0534e81c51ce" providerId="ADAL" clId="{7AD5AD1F-F6AC-4C3F-AA97-93251A9408D5}" dt="2022-08-05T06:35:03.059" v="5695" actId="6549"/>
        <pc:sldMkLst>
          <pc:docMk/>
          <pc:sldMk cId="634492290" sldId="416"/>
        </pc:sldMkLst>
        <pc:spChg chg="mod">
          <ac:chgData name="Ayush Upendranath Bhupal" userId="6b6d5788-80ed-4f51-ac98-0534e81c51ce" providerId="ADAL" clId="{7AD5AD1F-F6AC-4C3F-AA97-93251A9408D5}" dt="2022-08-02T11:25:08.723" v="4321" actId="1076"/>
          <ac:spMkLst>
            <pc:docMk/>
            <pc:sldMk cId="634492290" sldId="416"/>
            <ac:spMk id="2" creationId="{8427905A-B96E-4B4A-8096-5200FD146842}"/>
          </ac:spMkLst>
        </pc:spChg>
        <pc:spChg chg="mod">
          <ac:chgData name="Ayush Upendranath Bhupal" userId="6b6d5788-80ed-4f51-ac98-0534e81c51ce" providerId="ADAL" clId="{7AD5AD1F-F6AC-4C3F-AA97-93251A9408D5}" dt="2022-08-05T06:35:03.059" v="5695" actId="6549"/>
          <ac:spMkLst>
            <pc:docMk/>
            <pc:sldMk cId="634492290" sldId="416"/>
            <ac:spMk id="3" creationId="{1EE88D93-5DD4-4E18-9778-04B97725911C}"/>
          </ac:spMkLst>
        </pc:spChg>
      </pc:sldChg>
      <pc:sldChg chg="modSp new del mod">
        <pc:chgData name="Ayush Upendranath Bhupal" userId="6b6d5788-80ed-4f51-ac98-0534e81c51ce" providerId="ADAL" clId="{7AD5AD1F-F6AC-4C3F-AA97-93251A9408D5}" dt="2022-08-01T17:52:37.842" v="2638" actId="2696"/>
        <pc:sldMkLst>
          <pc:docMk/>
          <pc:sldMk cId="1379382604" sldId="416"/>
        </pc:sldMkLst>
        <pc:spChg chg="mod">
          <ac:chgData name="Ayush Upendranath Bhupal" userId="6b6d5788-80ed-4f51-ac98-0534e81c51ce" providerId="ADAL" clId="{7AD5AD1F-F6AC-4C3F-AA97-93251A9408D5}" dt="2022-07-29T11:38:19.340" v="2314" actId="20577"/>
          <ac:spMkLst>
            <pc:docMk/>
            <pc:sldMk cId="1379382604" sldId="416"/>
            <ac:spMk id="3" creationId="{1EE88D93-5DD4-4E18-9778-04B97725911C}"/>
          </ac:spMkLst>
        </pc:spChg>
      </pc:sldChg>
      <pc:sldChg chg="add del">
        <pc:chgData name="Ayush Upendranath Bhupal" userId="6b6d5788-80ed-4f51-ac98-0534e81c51ce" providerId="ADAL" clId="{7AD5AD1F-F6AC-4C3F-AA97-93251A9408D5}" dt="2022-07-29T10:44:37.266" v="1172" actId="47"/>
        <pc:sldMkLst>
          <pc:docMk/>
          <pc:sldMk cId="3029762924" sldId="416"/>
        </pc:sldMkLst>
      </pc:sldChg>
      <pc:sldChg chg="addSp delSp modSp new del mod">
        <pc:chgData name="Ayush Upendranath Bhupal" userId="6b6d5788-80ed-4f51-ac98-0534e81c51ce" providerId="ADAL" clId="{7AD5AD1F-F6AC-4C3F-AA97-93251A9408D5}" dt="2022-07-29T11:43:47.801" v="2342" actId="47"/>
        <pc:sldMkLst>
          <pc:docMk/>
          <pc:sldMk cId="1626740069" sldId="417"/>
        </pc:sldMkLst>
        <pc:spChg chg="del">
          <ac:chgData name="Ayush Upendranath Bhupal" userId="6b6d5788-80ed-4f51-ac98-0534e81c51ce" providerId="ADAL" clId="{7AD5AD1F-F6AC-4C3F-AA97-93251A9408D5}" dt="2022-07-29T11:42:05.739" v="2318" actId="22"/>
          <ac:spMkLst>
            <pc:docMk/>
            <pc:sldMk cId="1626740069" sldId="417"/>
            <ac:spMk id="3" creationId="{81655986-85D9-45AB-9F90-04E3D4EE6DCD}"/>
          </ac:spMkLst>
        </pc:spChg>
        <pc:picChg chg="add del">
          <ac:chgData name="Ayush Upendranath Bhupal" userId="6b6d5788-80ed-4f51-ac98-0534e81c51ce" providerId="ADAL" clId="{7AD5AD1F-F6AC-4C3F-AA97-93251A9408D5}" dt="2022-07-29T11:41:55.101" v="2317" actId="22"/>
          <ac:picMkLst>
            <pc:docMk/>
            <pc:sldMk cId="1626740069" sldId="417"/>
            <ac:picMk id="5" creationId="{6B9035B6-9E65-4DF9-AE5C-B6F42769B190}"/>
          </ac:picMkLst>
        </pc:picChg>
        <pc:picChg chg="add mod ord">
          <ac:chgData name="Ayush Upendranath Bhupal" userId="6b6d5788-80ed-4f51-ac98-0534e81c51ce" providerId="ADAL" clId="{7AD5AD1F-F6AC-4C3F-AA97-93251A9408D5}" dt="2022-07-29T11:42:23.782" v="2322" actId="14100"/>
          <ac:picMkLst>
            <pc:docMk/>
            <pc:sldMk cId="1626740069" sldId="417"/>
            <ac:picMk id="7" creationId="{3A460937-ACD8-4867-9DB0-FE4A7C7A8276}"/>
          </ac:picMkLst>
        </pc:picChg>
      </pc:sldChg>
      <pc:sldChg chg="addSp delSp modSp add del mod setBg delDesignElem">
        <pc:chgData name="Ayush Upendranath Bhupal" userId="6b6d5788-80ed-4f51-ac98-0534e81c51ce" providerId="ADAL" clId="{7AD5AD1F-F6AC-4C3F-AA97-93251A9408D5}" dt="2022-07-29T11:43:46.140" v="2341" actId="47"/>
        <pc:sldMkLst>
          <pc:docMk/>
          <pc:sldMk cId="755556137" sldId="418"/>
        </pc:sldMkLst>
        <pc:spChg chg="add del mod">
          <ac:chgData name="Ayush Upendranath Bhupal" userId="6b6d5788-80ed-4f51-ac98-0534e81c51ce" providerId="ADAL" clId="{7AD5AD1F-F6AC-4C3F-AA97-93251A9408D5}" dt="2022-07-29T11:43:02.742" v="2331" actId="478"/>
          <ac:spMkLst>
            <pc:docMk/>
            <pc:sldMk cId="755556137" sldId="418"/>
            <ac:spMk id="4" creationId="{70CBDD3D-39B4-498D-A127-08FBAFF4FFB6}"/>
          </ac:spMkLst>
        </pc:spChg>
        <pc:spChg chg="del">
          <ac:chgData name="Ayush Upendranath Bhupal" userId="6b6d5788-80ed-4f51-ac98-0534e81c51ce" providerId="ADAL" clId="{7AD5AD1F-F6AC-4C3F-AA97-93251A9408D5}" dt="2022-07-29T11:42:32.951" v="2324"/>
          <ac:spMkLst>
            <pc:docMk/>
            <pc:sldMk cId="755556137" sldId="418"/>
            <ac:spMk id="9" creationId="{6753252F-4873-4F63-801D-CC719279A7D5}"/>
          </ac:spMkLst>
        </pc:spChg>
        <pc:spChg chg="del">
          <ac:chgData name="Ayush Upendranath Bhupal" userId="6b6d5788-80ed-4f51-ac98-0534e81c51ce" providerId="ADAL" clId="{7AD5AD1F-F6AC-4C3F-AA97-93251A9408D5}" dt="2022-07-29T11:42:32.951" v="2324"/>
          <ac:spMkLst>
            <pc:docMk/>
            <pc:sldMk cId="755556137" sldId="418"/>
            <ac:spMk id="14" creationId="{047C8CCB-F95D-4249-92DD-651249D3535A}"/>
          </ac:spMkLst>
        </pc:spChg>
        <pc:picChg chg="add mod">
          <ac:chgData name="Ayush Upendranath Bhupal" userId="6b6d5788-80ed-4f51-ac98-0534e81c51ce" providerId="ADAL" clId="{7AD5AD1F-F6AC-4C3F-AA97-93251A9408D5}" dt="2022-07-29T11:43:04.455" v="2332" actId="1076"/>
          <ac:picMkLst>
            <pc:docMk/>
            <pc:sldMk cId="755556137" sldId="418"/>
            <ac:picMk id="6" creationId="{A2DCC373-C2A7-4CC4-8A5E-0EFC59D302A2}"/>
          </ac:picMkLst>
        </pc:picChg>
        <pc:picChg chg="del">
          <ac:chgData name="Ayush Upendranath Bhupal" userId="6b6d5788-80ed-4f51-ac98-0534e81c51ce" providerId="ADAL" clId="{7AD5AD1F-F6AC-4C3F-AA97-93251A9408D5}" dt="2022-07-29T11:42:50.444" v="2329" actId="478"/>
          <ac:picMkLst>
            <pc:docMk/>
            <pc:sldMk cId="755556137" sldId="418"/>
            <ac:picMk id="7" creationId="{9F949F6B-9D6C-4E06-8A9C-C358F9766CAE}"/>
          </ac:picMkLst>
        </pc:picChg>
      </pc:sldChg>
      <pc:sldChg chg="delSp add del setBg delDesignElem">
        <pc:chgData name="Ayush Upendranath Bhupal" userId="6b6d5788-80ed-4f51-ac98-0534e81c51ce" providerId="ADAL" clId="{7AD5AD1F-F6AC-4C3F-AA97-93251A9408D5}" dt="2022-07-29T11:42:39.529" v="2327" actId="47"/>
        <pc:sldMkLst>
          <pc:docMk/>
          <pc:sldMk cId="954040266" sldId="419"/>
        </pc:sldMkLst>
        <pc:spChg chg="del">
          <ac:chgData name="Ayush Upendranath Bhupal" userId="6b6d5788-80ed-4f51-ac98-0534e81c51ce" providerId="ADAL" clId="{7AD5AD1F-F6AC-4C3F-AA97-93251A9408D5}" dt="2022-07-29T11:42:35.045" v="2326"/>
          <ac:spMkLst>
            <pc:docMk/>
            <pc:sldMk cId="954040266" sldId="419"/>
            <ac:spMk id="9" creationId="{6753252F-4873-4F63-801D-CC719279A7D5}"/>
          </ac:spMkLst>
        </pc:spChg>
        <pc:spChg chg="del">
          <ac:chgData name="Ayush Upendranath Bhupal" userId="6b6d5788-80ed-4f51-ac98-0534e81c51ce" providerId="ADAL" clId="{7AD5AD1F-F6AC-4C3F-AA97-93251A9408D5}" dt="2022-07-29T11:42:35.045" v="2326"/>
          <ac:spMkLst>
            <pc:docMk/>
            <pc:sldMk cId="954040266" sldId="419"/>
            <ac:spMk id="14" creationId="{047C8CCB-F95D-4249-92DD-651249D3535A}"/>
          </ac:spMkLst>
        </pc:spChg>
      </pc:sldChg>
      <pc:sldChg chg="addSp delSp modSp add mod delDesignElem">
        <pc:chgData name="Ayush Upendranath Bhupal" userId="6b6d5788-80ed-4f51-ac98-0534e81c51ce" providerId="ADAL" clId="{7AD5AD1F-F6AC-4C3F-AA97-93251A9408D5}" dt="2022-08-02T11:27:04.373" v="4342" actId="14100"/>
        <pc:sldMkLst>
          <pc:docMk/>
          <pc:sldMk cId="3041064371" sldId="419"/>
        </pc:sldMkLst>
        <pc:spChg chg="mod">
          <ac:chgData name="Ayush Upendranath Bhupal" userId="6b6d5788-80ed-4f51-ac98-0534e81c51ce" providerId="ADAL" clId="{7AD5AD1F-F6AC-4C3F-AA97-93251A9408D5}" dt="2022-07-29T11:43:56.611" v="2363" actId="20577"/>
          <ac:spMkLst>
            <pc:docMk/>
            <pc:sldMk cId="3041064371" sldId="419"/>
            <ac:spMk id="2" creationId="{B7866C0E-BC2F-4EA7-B048-4CBD243D925E}"/>
          </ac:spMkLst>
        </pc:spChg>
        <pc:spChg chg="add del mod">
          <ac:chgData name="Ayush Upendranath Bhupal" userId="6b6d5788-80ed-4f51-ac98-0534e81c51ce" providerId="ADAL" clId="{7AD5AD1F-F6AC-4C3F-AA97-93251A9408D5}" dt="2022-07-29T11:43:35.494" v="2339" actId="478"/>
          <ac:spMkLst>
            <pc:docMk/>
            <pc:sldMk cId="3041064371" sldId="419"/>
            <ac:spMk id="4" creationId="{20033FAE-8B32-4552-9D2C-6D8A2CD6A0AC}"/>
          </ac:spMkLst>
        </pc:spChg>
        <pc:spChg chg="add del">
          <ac:chgData name="Ayush Upendranath Bhupal" userId="6b6d5788-80ed-4f51-ac98-0534e81c51ce" providerId="ADAL" clId="{7AD5AD1F-F6AC-4C3F-AA97-93251A9408D5}" dt="2022-08-02T10:48:57.706" v="4049"/>
          <ac:spMkLst>
            <pc:docMk/>
            <pc:sldMk cId="3041064371" sldId="419"/>
            <ac:spMk id="9" creationId="{6753252F-4873-4F63-801D-CC719279A7D5}"/>
          </ac:spMkLst>
        </pc:spChg>
        <pc:spChg chg="add del">
          <ac:chgData name="Ayush Upendranath Bhupal" userId="6b6d5788-80ed-4f51-ac98-0534e81c51ce" providerId="ADAL" clId="{7AD5AD1F-F6AC-4C3F-AA97-93251A9408D5}" dt="2022-08-02T10:48:57.706" v="4049"/>
          <ac:spMkLst>
            <pc:docMk/>
            <pc:sldMk cId="3041064371" sldId="419"/>
            <ac:spMk id="14" creationId="{047C8CCB-F95D-4249-92DD-651249D3535A}"/>
          </ac:spMkLst>
        </pc:spChg>
        <pc:picChg chg="add mod">
          <ac:chgData name="Ayush Upendranath Bhupal" userId="6b6d5788-80ed-4f51-ac98-0534e81c51ce" providerId="ADAL" clId="{7AD5AD1F-F6AC-4C3F-AA97-93251A9408D5}" dt="2022-08-02T11:27:04.373" v="4342" actId="14100"/>
          <ac:picMkLst>
            <pc:docMk/>
            <pc:sldMk cId="3041064371" sldId="419"/>
            <ac:picMk id="6" creationId="{84974FC3-BC68-4166-938D-F340EB13259D}"/>
          </ac:picMkLst>
        </pc:picChg>
        <pc:picChg chg="del">
          <ac:chgData name="Ayush Upendranath Bhupal" userId="6b6d5788-80ed-4f51-ac98-0534e81c51ce" providerId="ADAL" clId="{7AD5AD1F-F6AC-4C3F-AA97-93251A9408D5}" dt="2022-07-29T11:43:31.445" v="2338" actId="478"/>
          <ac:picMkLst>
            <pc:docMk/>
            <pc:sldMk cId="3041064371" sldId="419"/>
            <ac:picMk id="7" creationId="{9F949F6B-9D6C-4E06-8A9C-C358F9766CAE}"/>
          </ac:picMkLst>
        </pc:picChg>
      </pc:sldChg>
      <pc:sldChg chg="addSp delSp add del setBg delDesignElem">
        <pc:chgData name="Ayush Upendranath Bhupal" userId="6b6d5788-80ed-4f51-ac98-0534e81c51ce" providerId="ADAL" clId="{7AD5AD1F-F6AC-4C3F-AA97-93251A9408D5}" dt="2022-07-29T11:43:21.265" v="2335"/>
        <pc:sldMkLst>
          <pc:docMk/>
          <pc:sldMk cId="3159502570" sldId="419"/>
        </pc:sldMkLst>
        <pc:spChg chg="add del">
          <ac:chgData name="Ayush Upendranath Bhupal" userId="6b6d5788-80ed-4f51-ac98-0534e81c51ce" providerId="ADAL" clId="{7AD5AD1F-F6AC-4C3F-AA97-93251A9408D5}" dt="2022-07-29T11:43:21.265" v="2335"/>
          <ac:spMkLst>
            <pc:docMk/>
            <pc:sldMk cId="3159502570" sldId="419"/>
            <ac:spMk id="9" creationId="{6753252F-4873-4F63-801D-CC719279A7D5}"/>
          </ac:spMkLst>
        </pc:spChg>
        <pc:spChg chg="add del">
          <ac:chgData name="Ayush Upendranath Bhupal" userId="6b6d5788-80ed-4f51-ac98-0534e81c51ce" providerId="ADAL" clId="{7AD5AD1F-F6AC-4C3F-AA97-93251A9408D5}" dt="2022-07-29T11:43:21.265" v="2335"/>
          <ac:spMkLst>
            <pc:docMk/>
            <pc:sldMk cId="3159502570" sldId="419"/>
            <ac:spMk id="14" creationId="{047C8CCB-F95D-4249-92DD-651249D3535A}"/>
          </ac:spMkLst>
        </pc:spChg>
      </pc:sldChg>
      <pc:sldChg chg="addSp delSp modSp new mod setBg">
        <pc:chgData name="Ayush Upendranath Bhupal" userId="6b6d5788-80ed-4f51-ac98-0534e81c51ce" providerId="ADAL" clId="{7AD5AD1F-F6AC-4C3F-AA97-93251A9408D5}" dt="2022-08-04T17:05:59.603" v="5567" actId="1076"/>
        <pc:sldMkLst>
          <pc:docMk/>
          <pc:sldMk cId="3401517792" sldId="420"/>
        </pc:sldMkLst>
        <pc:spChg chg="del">
          <ac:chgData name="Ayush Upendranath Bhupal" userId="6b6d5788-80ed-4f51-ac98-0534e81c51ce" providerId="ADAL" clId="{7AD5AD1F-F6AC-4C3F-AA97-93251A9408D5}" dt="2022-07-29T11:46:10.577" v="2367" actId="26606"/>
          <ac:spMkLst>
            <pc:docMk/>
            <pc:sldMk cId="3401517792" sldId="420"/>
            <ac:spMk id="2" creationId="{3610F308-5EA7-4479-BE08-7C4D09AEE74E}"/>
          </ac:spMkLst>
        </pc:spChg>
        <pc:spChg chg="add del mod">
          <ac:chgData name="Ayush Upendranath Bhupal" userId="6b6d5788-80ed-4f51-ac98-0534e81c51ce" providerId="ADAL" clId="{7AD5AD1F-F6AC-4C3F-AA97-93251A9408D5}" dt="2022-08-04T17:05:55.763" v="5566" actId="478"/>
          <ac:spMkLst>
            <pc:docMk/>
            <pc:sldMk cId="3401517792" sldId="420"/>
            <ac:spMk id="3" creationId="{95195723-8680-4ACB-BE4D-C578381810ED}"/>
          </ac:spMkLst>
        </pc:spChg>
        <pc:spChg chg="del">
          <ac:chgData name="Ayush Upendranath Bhupal" userId="6b6d5788-80ed-4f51-ac98-0534e81c51ce" providerId="ADAL" clId="{7AD5AD1F-F6AC-4C3F-AA97-93251A9408D5}" dt="2022-07-29T11:44:30.619" v="2366" actId="931"/>
          <ac:spMkLst>
            <pc:docMk/>
            <pc:sldMk cId="3401517792" sldId="420"/>
            <ac:spMk id="3" creationId="{A1899115-2001-4F80-8912-4291CB2FEA6F}"/>
          </ac:spMkLst>
        </pc:spChg>
        <pc:picChg chg="add del mod">
          <ac:chgData name="Ayush Upendranath Bhupal" userId="6b6d5788-80ed-4f51-ac98-0534e81c51ce" providerId="ADAL" clId="{7AD5AD1F-F6AC-4C3F-AA97-93251A9408D5}" dt="2022-08-04T17:05:40.579" v="5560" actId="478"/>
          <ac:picMkLst>
            <pc:docMk/>
            <pc:sldMk cId="3401517792" sldId="420"/>
            <ac:picMk id="5" creationId="{65AB1686-68A7-490C-B66D-B6BE90A1583F}"/>
          </ac:picMkLst>
        </pc:picChg>
        <pc:picChg chg="add mod">
          <ac:chgData name="Ayush Upendranath Bhupal" userId="6b6d5788-80ed-4f51-ac98-0534e81c51ce" providerId="ADAL" clId="{7AD5AD1F-F6AC-4C3F-AA97-93251A9408D5}" dt="2022-08-04T17:05:59.603" v="5567" actId="1076"/>
          <ac:picMkLst>
            <pc:docMk/>
            <pc:sldMk cId="3401517792" sldId="420"/>
            <ac:picMk id="5122" creationId="{EB22F249-5D9A-4F4C-8F13-45B640D67659}"/>
          </ac:picMkLst>
        </pc:picChg>
      </pc:sldChg>
      <pc:sldChg chg="addSp delSp modSp new mod setBg modClrScheme chgLayout">
        <pc:chgData name="Ayush Upendranath Bhupal" userId="6b6d5788-80ed-4f51-ac98-0534e81c51ce" providerId="ADAL" clId="{7AD5AD1F-F6AC-4C3F-AA97-93251A9408D5}" dt="2022-08-05T10:22:50.554" v="5796" actId="1036"/>
        <pc:sldMkLst>
          <pc:docMk/>
          <pc:sldMk cId="3810536544" sldId="421"/>
        </pc:sldMkLst>
        <pc:spChg chg="del">
          <ac:chgData name="Ayush Upendranath Bhupal" userId="6b6d5788-80ed-4f51-ac98-0534e81c51ce" providerId="ADAL" clId="{7AD5AD1F-F6AC-4C3F-AA97-93251A9408D5}" dt="2022-07-29T11:46:44.355" v="2377" actId="26606"/>
          <ac:spMkLst>
            <pc:docMk/>
            <pc:sldMk cId="3810536544" sldId="421"/>
            <ac:spMk id="2" creationId="{2FCAE420-498E-47C6-AF33-94C310F43715}"/>
          </ac:spMkLst>
        </pc:spChg>
        <pc:spChg chg="add del mod">
          <ac:chgData name="Ayush Upendranath Bhupal" userId="6b6d5788-80ed-4f51-ac98-0534e81c51ce" providerId="ADAL" clId="{7AD5AD1F-F6AC-4C3F-AA97-93251A9408D5}" dt="2022-08-04T17:06:08.845" v="5570" actId="478"/>
          <ac:spMkLst>
            <pc:docMk/>
            <pc:sldMk cId="3810536544" sldId="421"/>
            <ac:spMk id="2" creationId="{58506C94-B48D-4D1F-86C3-03B95747C16C}"/>
          </ac:spMkLst>
        </pc:spChg>
        <pc:spChg chg="del">
          <ac:chgData name="Ayush Upendranath Bhupal" userId="6b6d5788-80ed-4f51-ac98-0534e81c51ce" providerId="ADAL" clId="{7AD5AD1F-F6AC-4C3F-AA97-93251A9408D5}" dt="2022-07-29T11:46:34.293" v="2374" actId="931"/>
          <ac:spMkLst>
            <pc:docMk/>
            <pc:sldMk cId="3810536544" sldId="421"/>
            <ac:spMk id="3" creationId="{8CCBC53B-DB4F-4FFB-B185-821FA5E2C4B9}"/>
          </ac:spMkLst>
        </pc:spChg>
        <pc:spChg chg="add del mod">
          <ac:chgData name="Ayush Upendranath Bhupal" userId="6b6d5788-80ed-4f51-ac98-0534e81c51ce" providerId="ADAL" clId="{7AD5AD1F-F6AC-4C3F-AA97-93251A9408D5}" dt="2022-08-04T16:42:10.716" v="5412" actId="478"/>
          <ac:spMkLst>
            <pc:docMk/>
            <pc:sldMk cId="3810536544" sldId="421"/>
            <ac:spMk id="4" creationId="{E9026698-FC1D-4CB1-8299-8617D39BEB79}"/>
          </ac:spMkLst>
        </pc:spChg>
        <pc:spChg chg="add del mod">
          <ac:chgData name="Ayush Upendranath Bhupal" userId="6b6d5788-80ed-4f51-ac98-0534e81c51ce" providerId="ADAL" clId="{7AD5AD1F-F6AC-4C3F-AA97-93251A9408D5}" dt="2022-08-04T16:42:01.044" v="5409" actId="26606"/>
          <ac:spMkLst>
            <pc:docMk/>
            <pc:sldMk cId="3810536544" sldId="421"/>
            <ac:spMk id="4103" creationId="{46D3F2B3-C96D-D8FF-1684-7FB5D0EEB0AF}"/>
          </ac:spMkLst>
        </pc:spChg>
        <pc:spChg chg="add del mod">
          <ac:chgData name="Ayush Upendranath Bhupal" userId="6b6d5788-80ed-4f51-ac98-0534e81c51ce" providerId="ADAL" clId="{7AD5AD1F-F6AC-4C3F-AA97-93251A9408D5}" dt="2022-08-04T16:42:01.044" v="5409" actId="26606"/>
          <ac:spMkLst>
            <pc:docMk/>
            <pc:sldMk cId="3810536544" sldId="421"/>
            <ac:spMk id="4105" creationId="{EE2FD870-4C09-5858-2DDC-51A839B20BD2}"/>
          </ac:spMkLst>
        </pc:spChg>
        <pc:spChg chg="add del mod">
          <ac:chgData name="Ayush Upendranath Bhupal" userId="6b6d5788-80ed-4f51-ac98-0534e81c51ce" providerId="ADAL" clId="{7AD5AD1F-F6AC-4C3F-AA97-93251A9408D5}" dt="2022-08-04T16:42:01.044" v="5409" actId="26606"/>
          <ac:spMkLst>
            <pc:docMk/>
            <pc:sldMk cId="3810536544" sldId="421"/>
            <ac:spMk id="4107" creationId="{FCCCEAE9-31DB-A967-A667-07F0ADE06323}"/>
          </ac:spMkLst>
        </pc:spChg>
        <pc:picChg chg="add del mod">
          <ac:chgData name="Ayush Upendranath Bhupal" userId="6b6d5788-80ed-4f51-ac98-0534e81c51ce" providerId="ADAL" clId="{7AD5AD1F-F6AC-4C3F-AA97-93251A9408D5}" dt="2022-08-04T16:41:48.671" v="5406" actId="478"/>
          <ac:picMkLst>
            <pc:docMk/>
            <pc:sldMk cId="3810536544" sldId="421"/>
            <ac:picMk id="5" creationId="{1D435527-F83E-4623-99F3-1B06A2CA0523}"/>
          </ac:picMkLst>
        </pc:picChg>
        <pc:picChg chg="add del mod">
          <ac:chgData name="Ayush Upendranath Bhupal" userId="6b6d5788-80ed-4f51-ac98-0534e81c51ce" providerId="ADAL" clId="{7AD5AD1F-F6AC-4C3F-AA97-93251A9408D5}" dt="2022-08-04T17:06:04.120" v="5568" actId="478"/>
          <ac:picMkLst>
            <pc:docMk/>
            <pc:sldMk cId="3810536544" sldId="421"/>
            <ac:picMk id="4098" creationId="{D3F2EBD5-AFD6-4F16-B604-171A17EB6379}"/>
          </ac:picMkLst>
        </pc:picChg>
        <pc:picChg chg="add mod">
          <ac:chgData name="Ayush Upendranath Bhupal" userId="6b6d5788-80ed-4f51-ac98-0534e81c51ce" providerId="ADAL" clId="{7AD5AD1F-F6AC-4C3F-AA97-93251A9408D5}" dt="2022-08-05T10:22:50.554" v="5796" actId="1036"/>
          <ac:picMkLst>
            <pc:docMk/>
            <pc:sldMk cId="3810536544" sldId="421"/>
            <ac:picMk id="4100" creationId="{93DF951A-469D-4DB2-9D09-A298B8E1AF65}"/>
          </ac:picMkLst>
        </pc:picChg>
      </pc:sldChg>
      <pc:sldChg chg="addSp delSp modSp new mod setBg">
        <pc:chgData name="Ayush Upendranath Bhupal" userId="6b6d5788-80ed-4f51-ac98-0534e81c51ce" providerId="ADAL" clId="{7AD5AD1F-F6AC-4C3F-AA97-93251A9408D5}" dt="2022-08-02T11:26:14.516" v="4333" actId="14100"/>
        <pc:sldMkLst>
          <pc:docMk/>
          <pc:sldMk cId="904152832" sldId="422"/>
        </pc:sldMkLst>
        <pc:spChg chg="del">
          <ac:chgData name="Ayush Upendranath Bhupal" userId="6b6d5788-80ed-4f51-ac98-0534e81c51ce" providerId="ADAL" clId="{7AD5AD1F-F6AC-4C3F-AA97-93251A9408D5}" dt="2022-07-29T11:47:23.500" v="2387" actId="26606"/>
          <ac:spMkLst>
            <pc:docMk/>
            <pc:sldMk cId="904152832" sldId="422"/>
            <ac:spMk id="2" creationId="{28A193D0-70FC-4C0E-89CA-231C082013D8}"/>
          </ac:spMkLst>
        </pc:spChg>
        <pc:spChg chg="del">
          <ac:chgData name="Ayush Upendranath Bhupal" userId="6b6d5788-80ed-4f51-ac98-0534e81c51ce" providerId="ADAL" clId="{7AD5AD1F-F6AC-4C3F-AA97-93251A9408D5}" dt="2022-07-29T11:47:09.849" v="2384" actId="931"/>
          <ac:spMkLst>
            <pc:docMk/>
            <pc:sldMk cId="904152832" sldId="422"/>
            <ac:spMk id="3" creationId="{8A0C244E-1D4A-48E9-B9FD-216F63B7F891}"/>
          </ac:spMkLst>
        </pc:spChg>
        <pc:picChg chg="add mod">
          <ac:chgData name="Ayush Upendranath Bhupal" userId="6b6d5788-80ed-4f51-ac98-0534e81c51ce" providerId="ADAL" clId="{7AD5AD1F-F6AC-4C3F-AA97-93251A9408D5}" dt="2022-08-02T11:26:14.516" v="4333" actId="14100"/>
          <ac:picMkLst>
            <pc:docMk/>
            <pc:sldMk cId="904152832" sldId="422"/>
            <ac:picMk id="5" creationId="{43E0D6F8-DB89-4437-9854-D9117B8CF8AE}"/>
          </ac:picMkLst>
        </pc:picChg>
      </pc:sldChg>
      <pc:sldChg chg="delSp modSp new del mod ord">
        <pc:chgData name="Ayush Upendranath Bhupal" userId="6b6d5788-80ed-4f51-ac98-0534e81c51ce" providerId="ADAL" clId="{7AD5AD1F-F6AC-4C3F-AA97-93251A9408D5}" dt="2022-08-02T12:01:21.799" v="4545" actId="47"/>
        <pc:sldMkLst>
          <pc:docMk/>
          <pc:sldMk cId="509805904" sldId="423"/>
        </pc:sldMkLst>
        <pc:spChg chg="mod">
          <ac:chgData name="Ayush Upendranath Bhupal" userId="6b6d5788-80ed-4f51-ac98-0534e81c51ce" providerId="ADAL" clId="{7AD5AD1F-F6AC-4C3F-AA97-93251A9408D5}" dt="2022-08-02T11:36:55.880" v="4466" actId="2711"/>
          <ac:spMkLst>
            <pc:docMk/>
            <pc:sldMk cId="509805904" sldId="423"/>
            <ac:spMk id="2" creationId="{DCCDA87C-EB40-4AE9-AAA1-84FF6705555B}"/>
          </ac:spMkLst>
        </pc:spChg>
        <pc:spChg chg="del">
          <ac:chgData name="Ayush Upendranath Bhupal" userId="6b6d5788-80ed-4f51-ac98-0534e81c51ce" providerId="ADAL" clId="{7AD5AD1F-F6AC-4C3F-AA97-93251A9408D5}" dt="2022-07-29T11:52:03.395" v="2401" actId="478"/>
          <ac:spMkLst>
            <pc:docMk/>
            <pc:sldMk cId="509805904" sldId="423"/>
            <ac:spMk id="3" creationId="{8CCB194E-75A4-4BDA-BA18-996229617675}"/>
          </ac:spMkLst>
        </pc:spChg>
      </pc:sldChg>
      <pc:sldChg chg="addSp delSp modSp new del mod setBg">
        <pc:chgData name="Ayush Upendranath Bhupal" userId="6b6d5788-80ed-4f51-ac98-0534e81c51ce" providerId="ADAL" clId="{7AD5AD1F-F6AC-4C3F-AA97-93251A9408D5}" dt="2022-08-01T10:23:39.622" v="2470" actId="47"/>
        <pc:sldMkLst>
          <pc:docMk/>
          <pc:sldMk cId="1764608304" sldId="424"/>
        </pc:sldMkLst>
        <pc:spChg chg="del">
          <ac:chgData name="Ayush Upendranath Bhupal" userId="6b6d5788-80ed-4f51-ac98-0534e81c51ce" providerId="ADAL" clId="{7AD5AD1F-F6AC-4C3F-AA97-93251A9408D5}" dt="2022-08-01T10:19:44.413" v="2409" actId="26606"/>
          <ac:spMkLst>
            <pc:docMk/>
            <pc:sldMk cId="1764608304" sldId="424"/>
            <ac:spMk id="2" creationId="{36A0938E-06B0-45FF-A064-69B0B75D1137}"/>
          </ac:spMkLst>
        </pc:spChg>
        <pc:spChg chg="del">
          <ac:chgData name="Ayush Upendranath Bhupal" userId="6b6d5788-80ed-4f51-ac98-0534e81c51ce" providerId="ADAL" clId="{7AD5AD1F-F6AC-4C3F-AA97-93251A9408D5}" dt="2022-08-01T10:19:33.106" v="2406" actId="931"/>
          <ac:spMkLst>
            <pc:docMk/>
            <pc:sldMk cId="1764608304" sldId="424"/>
            <ac:spMk id="3" creationId="{79C8F369-B265-43E5-B5CC-DA30E4C4D4E4}"/>
          </ac:spMkLst>
        </pc:spChg>
        <pc:picChg chg="add mod">
          <ac:chgData name="Ayush Upendranath Bhupal" userId="6b6d5788-80ed-4f51-ac98-0534e81c51ce" providerId="ADAL" clId="{7AD5AD1F-F6AC-4C3F-AA97-93251A9408D5}" dt="2022-08-01T10:20:00.441" v="2414" actId="1076"/>
          <ac:picMkLst>
            <pc:docMk/>
            <pc:sldMk cId="1764608304" sldId="424"/>
            <ac:picMk id="5" creationId="{941F3CB3-B85E-4BEA-88C5-9CBA43E54772}"/>
          </ac:picMkLst>
        </pc:picChg>
      </pc:sldChg>
      <pc:sldChg chg="addSp delSp modSp new mod setBg delDesignElem">
        <pc:chgData name="Ayush Upendranath Bhupal" userId="6b6d5788-80ed-4f51-ac98-0534e81c51ce" providerId="ADAL" clId="{7AD5AD1F-F6AC-4C3F-AA97-93251A9408D5}" dt="2022-08-02T11:40:00.333" v="4492" actId="403"/>
        <pc:sldMkLst>
          <pc:docMk/>
          <pc:sldMk cId="4036134258" sldId="425"/>
        </pc:sldMkLst>
        <pc:spChg chg="add del">
          <ac:chgData name="Ayush Upendranath Bhupal" userId="6b6d5788-80ed-4f51-ac98-0534e81c51ce" providerId="ADAL" clId="{7AD5AD1F-F6AC-4C3F-AA97-93251A9408D5}" dt="2022-08-01T10:20:26.829" v="2423" actId="26606"/>
          <ac:spMkLst>
            <pc:docMk/>
            <pc:sldMk cId="4036134258" sldId="425"/>
            <ac:spMk id="2" creationId="{CFD56003-534F-48DC-B250-EF3DAE40CB7D}"/>
          </ac:spMkLst>
        </pc:spChg>
        <pc:spChg chg="del">
          <ac:chgData name="Ayush Upendranath Bhupal" userId="6b6d5788-80ed-4f51-ac98-0534e81c51ce" providerId="ADAL" clId="{7AD5AD1F-F6AC-4C3F-AA97-93251A9408D5}" dt="2022-08-01T10:20:13.738" v="2416" actId="931"/>
          <ac:spMkLst>
            <pc:docMk/>
            <pc:sldMk cId="4036134258" sldId="425"/>
            <ac:spMk id="3" creationId="{494D5B16-5BDD-4BC1-874F-9B9A14C94C26}"/>
          </ac:spMkLst>
        </pc:spChg>
        <pc:spChg chg="add del">
          <ac:chgData name="Ayush Upendranath Bhupal" userId="6b6d5788-80ed-4f51-ac98-0534e81c51ce" providerId="ADAL" clId="{7AD5AD1F-F6AC-4C3F-AA97-93251A9408D5}" dt="2022-08-02T10:48:57.706" v="4049"/>
          <ac:spMkLst>
            <pc:docMk/>
            <pc:sldMk cId="4036134258" sldId="425"/>
            <ac:spMk id="7" creationId="{1A95671B-3CC6-4792-9114-B74FAEA224E6}"/>
          </ac:spMkLst>
        </pc:spChg>
        <pc:spChg chg="add mod">
          <ac:chgData name="Ayush Upendranath Bhupal" userId="6b6d5788-80ed-4f51-ac98-0534e81c51ce" providerId="ADAL" clId="{7AD5AD1F-F6AC-4C3F-AA97-93251A9408D5}" dt="2022-08-02T11:40:00.333" v="4492" actId="403"/>
          <ac:spMkLst>
            <pc:docMk/>
            <pc:sldMk cId="4036134258" sldId="425"/>
            <ac:spMk id="9" creationId="{8332D299-D8F3-675E-6940-12A4EAFE5F73}"/>
          </ac:spMkLst>
        </pc:spChg>
        <pc:spChg chg="add del">
          <ac:chgData name="Ayush Upendranath Bhupal" userId="6b6d5788-80ed-4f51-ac98-0534e81c51ce" providerId="ADAL" clId="{7AD5AD1F-F6AC-4C3F-AA97-93251A9408D5}" dt="2022-08-01T10:20:26.828" v="2422" actId="26606"/>
          <ac:spMkLst>
            <pc:docMk/>
            <pc:sldMk cId="4036134258" sldId="425"/>
            <ac:spMk id="10" creationId="{7C1E5815-D54C-487F-A054-6D4930ADE3DF}"/>
          </ac:spMkLst>
        </pc:spChg>
        <pc:spChg chg="add del">
          <ac:chgData name="Ayush Upendranath Bhupal" userId="6b6d5788-80ed-4f51-ac98-0534e81c51ce" providerId="ADAL" clId="{7AD5AD1F-F6AC-4C3F-AA97-93251A9408D5}" dt="2022-08-01T10:20:26.828" v="2422" actId="26606"/>
          <ac:spMkLst>
            <pc:docMk/>
            <pc:sldMk cId="4036134258" sldId="425"/>
            <ac:spMk id="12" creationId="{736F0DFD-0954-464F-BF12-DD2E6F6E0380}"/>
          </ac:spMkLst>
        </pc:spChg>
        <pc:picChg chg="add mod">
          <ac:chgData name="Ayush Upendranath Bhupal" userId="6b6d5788-80ed-4f51-ac98-0534e81c51ce" providerId="ADAL" clId="{7AD5AD1F-F6AC-4C3F-AA97-93251A9408D5}" dt="2022-08-02T11:27:57.838" v="4352" actId="1076"/>
          <ac:picMkLst>
            <pc:docMk/>
            <pc:sldMk cId="4036134258" sldId="425"/>
            <ac:picMk id="5" creationId="{1F34E32F-4E6D-434D-BE96-C92B5B53A4E4}"/>
          </ac:picMkLst>
        </pc:picChg>
      </pc:sldChg>
      <pc:sldChg chg="addSp delSp modSp add mod setBg delDesignElem">
        <pc:chgData name="Ayush Upendranath Bhupal" userId="6b6d5788-80ed-4f51-ac98-0534e81c51ce" providerId="ADAL" clId="{7AD5AD1F-F6AC-4C3F-AA97-93251A9408D5}" dt="2022-08-02T11:38:38.445" v="4477" actId="1076"/>
        <pc:sldMkLst>
          <pc:docMk/>
          <pc:sldMk cId="1903630465" sldId="426"/>
        </pc:sldMkLst>
        <pc:spChg chg="del">
          <ac:chgData name="Ayush Upendranath Bhupal" userId="6b6d5788-80ed-4f51-ac98-0534e81c51ce" providerId="ADAL" clId="{7AD5AD1F-F6AC-4C3F-AA97-93251A9408D5}" dt="2022-08-01T10:23:35.050" v="2469"/>
          <ac:spMkLst>
            <pc:docMk/>
            <pc:sldMk cId="1903630465" sldId="426"/>
            <ac:spMk id="7" creationId="{1A95671B-3CC6-4792-9114-B74FAEA224E6}"/>
          </ac:spMkLst>
        </pc:spChg>
        <pc:spChg chg="mod">
          <ac:chgData name="Ayush Upendranath Bhupal" userId="6b6d5788-80ed-4f51-ac98-0534e81c51ce" providerId="ADAL" clId="{7AD5AD1F-F6AC-4C3F-AA97-93251A9408D5}" dt="2022-08-02T11:38:27.407" v="4472" actId="1076"/>
          <ac:spMkLst>
            <pc:docMk/>
            <pc:sldMk cId="1903630465" sldId="426"/>
            <ac:spMk id="9" creationId="{8332D299-D8F3-675E-6940-12A4EAFE5F73}"/>
          </ac:spMkLst>
        </pc:spChg>
        <pc:picChg chg="add mod">
          <ac:chgData name="Ayush Upendranath Bhupal" userId="6b6d5788-80ed-4f51-ac98-0534e81c51ce" providerId="ADAL" clId="{7AD5AD1F-F6AC-4C3F-AA97-93251A9408D5}" dt="2022-08-02T11:38:38.445" v="4477" actId="1076"/>
          <ac:picMkLst>
            <pc:docMk/>
            <pc:sldMk cId="1903630465" sldId="426"/>
            <ac:picMk id="3" creationId="{77888B34-F07C-44EE-B154-299ECE1626A3}"/>
          </ac:picMkLst>
        </pc:picChg>
        <pc:picChg chg="del">
          <ac:chgData name="Ayush Upendranath Bhupal" userId="6b6d5788-80ed-4f51-ac98-0534e81c51ce" providerId="ADAL" clId="{7AD5AD1F-F6AC-4C3F-AA97-93251A9408D5}" dt="2022-08-01T10:24:06.159" v="2475" actId="478"/>
          <ac:picMkLst>
            <pc:docMk/>
            <pc:sldMk cId="1903630465" sldId="426"/>
            <ac:picMk id="5" creationId="{1F34E32F-4E6D-434D-BE96-C92B5B53A4E4}"/>
          </ac:picMkLst>
        </pc:picChg>
      </pc:sldChg>
      <pc:sldChg chg="addSp delSp modSp new del">
        <pc:chgData name="Ayush Upendranath Bhupal" userId="6b6d5788-80ed-4f51-ac98-0534e81c51ce" providerId="ADAL" clId="{7AD5AD1F-F6AC-4C3F-AA97-93251A9408D5}" dt="2022-08-01T17:46:44.674" v="2593" actId="47"/>
        <pc:sldMkLst>
          <pc:docMk/>
          <pc:sldMk cId="3932967394" sldId="427"/>
        </pc:sldMkLst>
        <pc:spChg chg="del">
          <ac:chgData name="Ayush Upendranath Bhupal" userId="6b6d5788-80ed-4f51-ac98-0534e81c51ce" providerId="ADAL" clId="{7AD5AD1F-F6AC-4C3F-AA97-93251A9408D5}" dt="2022-08-01T17:43:20.770" v="2574"/>
          <ac:spMkLst>
            <pc:docMk/>
            <pc:sldMk cId="3932967394" sldId="427"/>
            <ac:spMk id="3" creationId="{C3F83D76-ED22-496E-947C-D9E144F5983F}"/>
          </ac:spMkLst>
        </pc:spChg>
        <pc:spChg chg="add mod">
          <ac:chgData name="Ayush Upendranath Bhupal" userId="6b6d5788-80ed-4f51-ac98-0534e81c51ce" providerId="ADAL" clId="{7AD5AD1F-F6AC-4C3F-AA97-93251A9408D5}" dt="2022-08-01T17:45:38.229" v="2582" actId="21"/>
          <ac:spMkLst>
            <pc:docMk/>
            <pc:sldMk cId="3932967394" sldId="427"/>
            <ac:spMk id="4" creationId="{AD83AB44-1DEC-4F89-862A-25D2466F998D}"/>
          </ac:spMkLst>
        </pc:spChg>
        <pc:picChg chg="add del mod">
          <ac:chgData name="Ayush Upendranath Bhupal" userId="6b6d5788-80ed-4f51-ac98-0534e81c51ce" providerId="ADAL" clId="{7AD5AD1F-F6AC-4C3F-AA97-93251A9408D5}" dt="2022-08-01T17:45:38.229" v="2582" actId="21"/>
          <ac:picMkLst>
            <pc:docMk/>
            <pc:sldMk cId="3932967394" sldId="427"/>
            <ac:picMk id="1026" creationId="{CCCAE8C8-4C92-457C-A5F3-C85606F69426}"/>
          </ac:picMkLst>
        </pc:picChg>
      </pc:sldChg>
      <pc:sldChg chg="addSp delSp modSp new mod">
        <pc:chgData name="Ayush Upendranath Bhupal" userId="6b6d5788-80ed-4f51-ac98-0534e81c51ce" providerId="ADAL" clId="{7AD5AD1F-F6AC-4C3F-AA97-93251A9408D5}" dt="2022-08-04T18:04:16.943" v="5652"/>
        <pc:sldMkLst>
          <pc:docMk/>
          <pc:sldMk cId="2221662911" sldId="428"/>
        </pc:sldMkLst>
        <pc:spChg chg="mod">
          <ac:chgData name="Ayush Upendranath Bhupal" userId="6b6d5788-80ed-4f51-ac98-0534e81c51ce" providerId="ADAL" clId="{7AD5AD1F-F6AC-4C3F-AA97-93251A9408D5}" dt="2022-08-02T11:39:09.880" v="4488" actId="403"/>
          <ac:spMkLst>
            <pc:docMk/>
            <pc:sldMk cId="2221662911" sldId="428"/>
            <ac:spMk id="2" creationId="{BA0E81BF-99F6-49FF-ADA8-B3CC4AD2A853}"/>
          </ac:spMkLst>
        </pc:spChg>
        <pc:spChg chg="del">
          <ac:chgData name="Ayush Upendranath Bhupal" userId="6b6d5788-80ed-4f51-ac98-0534e81c51ce" providerId="ADAL" clId="{7AD5AD1F-F6AC-4C3F-AA97-93251A9408D5}" dt="2022-08-01T17:44:57.167" v="2578"/>
          <ac:spMkLst>
            <pc:docMk/>
            <pc:sldMk cId="2221662911" sldId="428"/>
            <ac:spMk id="3" creationId="{CACD6E6F-6640-46DE-8ACE-175EF9821000}"/>
          </ac:spMkLst>
        </pc:spChg>
        <pc:spChg chg="add mod">
          <ac:chgData name="Ayush Upendranath Bhupal" userId="6b6d5788-80ed-4f51-ac98-0534e81c51ce" providerId="ADAL" clId="{7AD5AD1F-F6AC-4C3F-AA97-93251A9408D5}" dt="2022-08-04T18:04:16.943" v="5652"/>
          <ac:spMkLst>
            <pc:docMk/>
            <pc:sldMk cId="2221662911" sldId="428"/>
            <ac:spMk id="4" creationId="{2A603084-3F2B-4F2B-83E3-963FC2F1B926}"/>
          </ac:spMkLst>
        </pc:spChg>
        <pc:picChg chg="add del">
          <ac:chgData name="Ayush Upendranath Bhupal" userId="6b6d5788-80ed-4f51-ac98-0534e81c51ce" providerId="ADAL" clId="{7AD5AD1F-F6AC-4C3F-AA97-93251A9408D5}" dt="2022-08-01T17:44:55.791" v="2577"/>
          <ac:picMkLst>
            <pc:docMk/>
            <pc:sldMk cId="2221662911" sldId="428"/>
            <ac:picMk id="2050" creationId="{4818FE28-5695-4066-A3E3-6BB0F83E3228}"/>
          </ac:picMkLst>
        </pc:picChg>
        <pc:picChg chg="add del mod">
          <ac:chgData name="Ayush Upendranath Bhupal" userId="6b6d5788-80ed-4f51-ac98-0534e81c51ce" providerId="ADAL" clId="{7AD5AD1F-F6AC-4C3F-AA97-93251A9408D5}" dt="2022-08-01T17:46:57.883" v="2595" actId="21"/>
          <ac:picMkLst>
            <pc:docMk/>
            <pc:sldMk cId="2221662911" sldId="428"/>
            <ac:picMk id="2052" creationId="{42785AA8-8682-49C4-B7E8-63998C9606BB}"/>
          </ac:picMkLst>
        </pc:picChg>
      </pc:sldChg>
      <pc:sldChg chg="addSp delSp modSp add mod setBg delDesignElem">
        <pc:chgData name="Ayush Upendranath Bhupal" userId="6b6d5788-80ed-4f51-ac98-0534e81c51ce" providerId="ADAL" clId="{7AD5AD1F-F6AC-4C3F-AA97-93251A9408D5}" dt="2022-08-02T11:39:23.862" v="4490" actId="403"/>
        <pc:sldMkLst>
          <pc:docMk/>
          <pc:sldMk cId="4004193550" sldId="429"/>
        </pc:sldMkLst>
        <pc:spChg chg="del">
          <ac:chgData name="Ayush Upendranath Bhupal" userId="6b6d5788-80ed-4f51-ac98-0534e81c51ce" providerId="ADAL" clId="{7AD5AD1F-F6AC-4C3F-AA97-93251A9408D5}" dt="2022-08-01T17:45:34.560" v="2581"/>
          <ac:spMkLst>
            <pc:docMk/>
            <pc:sldMk cId="4004193550" sldId="429"/>
            <ac:spMk id="7" creationId="{1A95671B-3CC6-4792-9114-B74FAEA224E6}"/>
          </ac:spMkLst>
        </pc:spChg>
        <pc:spChg chg="mod">
          <ac:chgData name="Ayush Upendranath Bhupal" userId="6b6d5788-80ed-4f51-ac98-0534e81c51ce" providerId="ADAL" clId="{7AD5AD1F-F6AC-4C3F-AA97-93251A9408D5}" dt="2022-08-02T11:39:23.862" v="4490" actId="403"/>
          <ac:spMkLst>
            <pc:docMk/>
            <pc:sldMk cId="4004193550" sldId="429"/>
            <ac:spMk id="9" creationId="{8332D299-D8F3-675E-6940-12A4EAFE5F73}"/>
          </ac:spMkLst>
        </pc:spChg>
        <pc:picChg chg="del">
          <ac:chgData name="Ayush Upendranath Bhupal" userId="6b6d5788-80ed-4f51-ac98-0534e81c51ce" providerId="ADAL" clId="{7AD5AD1F-F6AC-4C3F-AA97-93251A9408D5}" dt="2022-08-01T17:45:48.069" v="2584" actId="478"/>
          <ac:picMkLst>
            <pc:docMk/>
            <pc:sldMk cId="4004193550" sldId="429"/>
            <ac:picMk id="5" creationId="{1F34E32F-4E6D-434D-BE96-C92B5B53A4E4}"/>
          </ac:picMkLst>
        </pc:picChg>
        <pc:picChg chg="add mod">
          <ac:chgData name="Ayush Upendranath Bhupal" userId="6b6d5788-80ed-4f51-ac98-0534e81c51ce" providerId="ADAL" clId="{7AD5AD1F-F6AC-4C3F-AA97-93251A9408D5}" dt="2022-08-02T11:28:41.636" v="4360" actId="1076"/>
          <ac:picMkLst>
            <pc:docMk/>
            <pc:sldMk cId="4004193550" sldId="429"/>
            <ac:picMk id="6" creationId="{D4C9B618-69F6-48A4-817C-F664E4B7FA90}"/>
          </ac:picMkLst>
        </pc:picChg>
      </pc:sldChg>
      <pc:sldChg chg="addSp delSp modSp add mod setBg">
        <pc:chgData name="Ayush Upendranath Bhupal" userId="6b6d5788-80ed-4f51-ac98-0534e81c51ce" providerId="ADAL" clId="{7AD5AD1F-F6AC-4C3F-AA97-93251A9408D5}" dt="2022-08-02T11:29:19.691" v="4368" actId="1076"/>
        <pc:sldMkLst>
          <pc:docMk/>
          <pc:sldMk cId="3995322880" sldId="430"/>
        </pc:sldMkLst>
        <pc:spChg chg="mod">
          <ac:chgData name="Ayush Upendranath Bhupal" userId="6b6d5788-80ed-4f51-ac98-0534e81c51ce" providerId="ADAL" clId="{7AD5AD1F-F6AC-4C3F-AA97-93251A9408D5}" dt="2022-08-02T11:29:06.083" v="4364" actId="1076"/>
          <ac:spMkLst>
            <pc:docMk/>
            <pc:sldMk cId="3995322880" sldId="430"/>
            <ac:spMk id="9" creationId="{8332D299-D8F3-675E-6940-12A4EAFE5F73}"/>
          </ac:spMkLst>
        </pc:spChg>
        <pc:picChg chg="add mod">
          <ac:chgData name="Ayush Upendranath Bhupal" userId="6b6d5788-80ed-4f51-ac98-0534e81c51ce" providerId="ADAL" clId="{7AD5AD1F-F6AC-4C3F-AA97-93251A9408D5}" dt="2022-08-02T11:29:19.691" v="4368" actId="1076"/>
          <ac:picMkLst>
            <pc:docMk/>
            <pc:sldMk cId="3995322880" sldId="430"/>
            <ac:picMk id="4" creationId="{36BACAD0-D04A-4E81-8080-080AC5EC75D9}"/>
          </ac:picMkLst>
        </pc:picChg>
        <pc:picChg chg="del">
          <ac:chgData name="Ayush Upendranath Bhupal" userId="6b6d5788-80ed-4f51-ac98-0534e81c51ce" providerId="ADAL" clId="{7AD5AD1F-F6AC-4C3F-AA97-93251A9408D5}" dt="2022-08-01T17:47:03.137" v="2597" actId="478"/>
          <ac:picMkLst>
            <pc:docMk/>
            <pc:sldMk cId="3995322880" sldId="430"/>
            <ac:picMk id="6" creationId="{D4C9B618-69F6-48A4-817C-F664E4B7FA90}"/>
          </ac:picMkLst>
        </pc:picChg>
      </pc:sldChg>
      <pc:sldChg chg="modSp new mod">
        <pc:chgData name="Ayush Upendranath Bhupal" userId="6b6d5788-80ed-4f51-ac98-0534e81c51ce" providerId="ADAL" clId="{7AD5AD1F-F6AC-4C3F-AA97-93251A9408D5}" dt="2022-08-04T09:44:59.329" v="4995" actId="20577"/>
        <pc:sldMkLst>
          <pc:docMk/>
          <pc:sldMk cId="4598520" sldId="431"/>
        </pc:sldMkLst>
        <pc:spChg chg="mod">
          <ac:chgData name="Ayush Upendranath Bhupal" userId="6b6d5788-80ed-4f51-ac98-0534e81c51ce" providerId="ADAL" clId="{7AD5AD1F-F6AC-4C3F-AA97-93251A9408D5}" dt="2022-08-02T11:34:54.800" v="4431" actId="403"/>
          <ac:spMkLst>
            <pc:docMk/>
            <pc:sldMk cId="4598520" sldId="431"/>
            <ac:spMk id="2" creationId="{C6A396A5-981C-4663-A5E9-3530961A9AF9}"/>
          </ac:spMkLst>
        </pc:spChg>
        <pc:spChg chg="mod">
          <ac:chgData name="Ayush Upendranath Bhupal" userId="6b6d5788-80ed-4f51-ac98-0534e81c51ce" providerId="ADAL" clId="{7AD5AD1F-F6AC-4C3F-AA97-93251A9408D5}" dt="2022-08-04T09:44:59.329" v="4995" actId="20577"/>
          <ac:spMkLst>
            <pc:docMk/>
            <pc:sldMk cId="4598520" sldId="431"/>
            <ac:spMk id="3" creationId="{A1BDFEC4-4BE2-438F-B4B4-11AB0BC1CDC0}"/>
          </ac:spMkLst>
        </pc:spChg>
      </pc:sldChg>
      <pc:sldChg chg="addSp delSp modSp add mod setBg">
        <pc:chgData name="Ayush Upendranath Bhupal" userId="6b6d5788-80ed-4f51-ac98-0534e81c51ce" providerId="ADAL" clId="{7AD5AD1F-F6AC-4C3F-AA97-93251A9408D5}" dt="2022-08-02T11:26:52.261" v="4340" actId="1076"/>
        <pc:sldMkLst>
          <pc:docMk/>
          <pc:sldMk cId="1119250904" sldId="432"/>
        </pc:sldMkLst>
        <pc:spChg chg="add del mod">
          <ac:chgData name="Ayush Upendranath Bhupal" userId="6b6d5788-80ed-4f51-ac98-0534e81c51ce" providerId="ADAL" clId="{7AD5AD1F-F6AC-4C3F-AA97-93251A9408D5}" dt="2022-08-02T09:59:42.971" v="3447" actId="478"/>
          <ac:spMkLst>
            <pc:docMk/>
            <pc:sldMk cId="1119250904" sldId="432"/>
            <ac:spMk id="3" creationId="{631EC5F2-0064-42DE-8A37-11B0678B431B}"/>
          </ac:spMkLst>
        </pc:spChg>
        <pc:picChg chg="del mod">
          <ac:chgData name="Ayush Upendranath Bhupal" userId="6b6d5788-80ed-4f51-ac98-0534e81c51ce" providerId="ADAL" clId="{7AD5AD1F-F6AC-4C3F-AA97-93251A9408D5}" dt="2022-08-02T09:59:31.763" v="3446" actId="478"/>
          <ac:picMkLst>
            <pc:docMk/>
            <pc:sldMk cId="1119250904" sldId="432"/>
            <ac:picMk id="5" creationId="{43E0D6F8-DB89-4437-9854-D9117B8CF8AE}"/>
          </ac:picMkLst>
        </pc:picChg>
        <pc:picChg chg="add del mod">
          <ac:chgData name="Ayush Upendranath Bhupal" userId="6b6d5788-80ed-4f51-ac98-0534e81c51ce" providerId="ADAL" clId="{7AD5AD1F-F6AC-4C3F-AA97-93251A9408D5}" dt="2022-08-02T11:26:52.261" v="4340" actId="1076"/>
          <ac:picMkLst>
            <pc:docMk/>
            <pc:sldMk cId="1119250904" sldId="432"/>
            <ac:picMk id="3074" creationId="{EAB1C137-C419-4384-AEB3-029FCFACBA99}"/>
          </ac:picMkLst>
        </pc:picChg>
      </pc:sldChg>
      <pc:sldChg chg="add del setBg">
        <pc:chgData name="Ayush Upendranath Bhupal" userId="6b6d5788-80ed-4f51-ac98-0534e81c51ce" providerId="ADAL" clId="{7AD5AD1F-F6AC-4C3F-AA97-93251A9408D5}" dt="2022-08-02T09:58:51.386" v="3437"/>
        <pc:sldMkLst>
          <pc:docMk/>
          <pc:sldMk cId="2395768391" sldId="433"/>
        </pc:sldMkLst>
      </pc:sldChg>
      <pc:sldChg chg="addSp delSp modSp new mod">
        <pc:chgData name="Ayush Upendranath Bhupal" userId="6b6d5788-80ed-4f51-ac98-0534e81c51ce" providerId="ADAL" clId="{7AD5AD1F-F6AC-4C3F-AA97-93251A9408D5}" dt="2022-08-02T11:30:23.489" v="4384" actId="2711"/>
        <pc:sldMkLst>
          <pc:docMk/>
          <pc:sldMk cId="2533206680" sldId="433"/>
        </pc:sldMkLst>
        <pc:spChg chg="mod">
          <ac:chgData name="Ayush Upendranath Bhupal" userId="6b6d5788-80ed-4f51-ac98-0534e81c51ce" providerId="ADAL" clId="{7AD5AD1F-F6AC-4C3F-AA97-93251A9408D5}" dt="2022-08-02T11:30:23.489" v="4384" actId="2711"/>
          <ac:spMkLst>
            <pc:docMk/>
            <pc:sldMk cId="2533206680" sldId="433"/>
            <ac:spMk id="2" creationId="{5AAA577D-B9C1-49CD-8C22-4A9732C979D0}"/>
          </ac:spMkLst>
        </pc:spChg>
        <pc:spChg chg="del">
          <ac:chgData name="Ayush Upendranath Bhupal" userId="6b6d5788-80ed-4f51-ac98-0534e81c51ce" providerId="ADAL" clId="{7AD5AD1F-F6AC-4C3F-AA97-93251A9408D5}" dt="2022-08-02T10:24:03.301" v="3519"/>
          <ac:spMkLst>
            <pc:docMk/>
            <pc:sldMk cId="2533206680" sldId="433"/>
            <ac:spMk id="3" creationId="{B891F497-6DA1-48AC-A2F2-C3441277651C}"/>
          </ac:spMkLst>
        </pc:spChg>
        <pc:picChg chg="add del">
          <ac:chgData name="Ayush Upendranath Bhupal" userId="6b6d5788-80ed-4f51-ac98-0534e81c51ce" providerId="ADAL" clId="{7AD5AD1F-F6AC-4C3F-AA97-93251A9408D5}" dt="2022-08-02T10:23:54.638" v="3512"/>
          <ac:picMkLst>
            <pc:docMk/>
            <pc:sldMk cId="2533206680" sldId="433"/>
            <ac:picMk id="4" creationId="{C72CB186-399B-4F44-9D01-3CC2E0F35B5F}"/>
          </ac:picMkLst>
        </pc:picChg>
        <pc:picChg chg="add del">
          <ac:chgData name="Ayush Upendranath Bhupal" userId="6b6d5788-80ed-4f51-ac98-0534e81c51ce" providerId="ADAL" clId="{7AD5AD1F-F6AC-4C3F-AA97-93251A9408D5}" dt="2022-08-02T10:23:52.559" v="3510"/>
          <ac:picMkLst>
            <pc:docMk/>
            <pc:sldMk cId="2533206680" sldId="433"/>
            <ac:picMk id="6146" creationId="{544572C5-0680-49E7-85DF-CD40D26A9D8A}"/>
          </ac:picMkLst>
        </pc:picChg>
        <pc:picChg chg="add del mod">
          <ac:chgData name="Ayush Upendranath Bhupal" userId="6b6d5788-80ed-4f51-ac98-0534e81c51ce" providerId="ADAL" clId="{7AD5AD1F-F6AC-4C3F-AA97-93251A9408D5}" dt="2022-08-02T10:24:02.012" v="3518"/>
          <ac:picMkLst>
            <pc:docMk/>
            <pc:sldMk cId="2533206680" sldId="433"/>
            <ac:picMk id="6148" creationId="{BBAD53CC-E97B-4270-AE59-72A56FBEC215}"/>
          </ac:picMkLst>
        </pc:picChg>
        <pc:picChg chg="add mod">
          <ac:chgData name="Ayush Upendranath Bhupal" userId="6b6d5788-80ed-4f51-ac98-0534e81c51ce" providerId="ADAL" clId="{7AD5AD1F-F6AC-4C3F-AA97-93251A9408D5}" dt="2022-08-02T10:24:09.313" v="3520" actId="1076"/>
          <ac:picMkLst>
            <pc:docMk/>
            <pc:sldMk cId="2533206680" sldId="433"/>
            <ac:picMk id="6150" creationId="{8EF93503-46D1-4D9C-884E-F49DC5298ED4}"/>
          </ac:picMkLst>
        </pc:picChg>
        <pc:picChg chg="add mod">
          <ac:chgData name="Ayush Upendranath Bhupal" userId="6b6d5788-80ed-4f51-ac98-0534e81c51ce" providerId="ADAL" clId="{7AD5AD1F-F6AC-4C3F-AA97-93251A9408D5}" dt="2022-08-02T10:25:36.643" v="3527" actId="14100"/>
          <ac:picMkLst>
            <pc:docMk/>
            <pc:sldMk cId="2533206680" sldId="433"/>
            <ac:picMk id="6152" creationId="{D55B319D-1B95-46D7-8251-828DD20F55D8}"/>
          </ac:picMkLst>
        </pc:picChg>
      </pc:sldChg>
      <pc:sldChg chg="modSp add mod">
        <pc:chgData name="Ayush Upendranath Bhupal" userId="6b6d5788-80ed-4f51-ac98-0534e81c51ce" providerId="ADAL" clId="{7AD5AD1F-F6AC-4C3F-AA97-93251A9408D5}" dt="2022-08-02T11:39:00.498" v="4484" actId="113"/>
        <pc:sldMkLst>
          <pc:docMk/>
          <pc:sldMk cId="1132268727" sldId="434"/>
        </pc:sldMkLst>
        <pc:spChg chg="mod">
          <ac:chgData name="Ayush Upendranath Bhupal" userId="6b6d5788-80ed-4f51-ac98-0534e81c51ce" providerId="ADAL" clId="{7AD5AD1F-F6AC-4C3F-AA97-93251A9408D5}" dt="2022-08-02T11:39:00.498" v="4484" actId="113"/>
          <ac:spMkLst>
            <pc:docMk/>
            <pc:sldMk cId="1132268727" sldId="434"/>
            <ac:spMk id="2" creationId="{18FBA963-295E-4DE8-AB74-AB24E0C1AC94}"/>
          </ac:spMkLst>
        </pc:spChg>
      </pc:sldChg>
      <pc:sldChg chg="addSp delSp modSp new mod">
        <pc:chgData name="Ayush Upendranath Bhupal" userId="6b6d5788-80ed-4f51-ac98-0534e81c51ce" providerId="ADAL" clId="{7AD5AD1F-F6AC-4C3F-AA97-93251A9408D5}" dt="2022-08-02T11:31:19.679" v="4397" actId="255"/>
        <pc:sldMkLst>
          <pc:docMk/>
          <pc:sldMk cId="1582404549" sldId="435"/>
        </pc:sldMkLst>
        <pc:spChg chg="mod">
          <ac:chgData name="Ayush Upendranath Bhupal" userId="6b6d5788-80ed-4f51-ac98-0534e81c51ce" providerId="ADAL" clId="{7AD5AD1F-F6AC-4C3F-AA97-93251A9408D5}" dt="2022-08-02T11:31:19.679" v="4397" actId="255"/>
          <ac:spMkLst>
            <pc:docMk/>
            <pc:sldMk cId="1582404549" sldId="435"/>
            <ac:spMk id="2" creationId="{5A5275FD-1029-4F5C-9793-317192967A88}"/>
          </ac:spMkLst>
        </pc:spChg>
        <pc:spChg chg="del">
          <ac:chgData name="Ayush Upendranath Bhupal" userId="6b6d5788-80ed-4f51-ac98-0534e81c51ce" providerId="ADAL" clId="{7AD5AD1F-F6AC-4C3F-AA97-93251A9408D5}" dt="2022-08-02T10:28:00.100" v="3613"/>
          <ac:spMkLst>
            <pc:docMk/>
            <pc:sldMk cId="1582404549" sldId="435"/>
            <ac:spMk id="3" creationId="{1A9D3E63-FD71-4F0E-A389-D0C0E95A2716}"/>
          </ac:spMkLst>
        </pc:spChg>
        <pc:spChg chg="add mod">
          <ac:chgData name="Ayush Upendranath Bhupal" userId="6b6d5788-80ed-4f51-ac98-0534e81c51ce" providerId="ADAL" clId="{7AD5AD1F-F6AC-4C3F-AA97-93251A9408D5}" dt="2022-08-02T10:35:29.534" v="3866" actId="403"/>
          <ac:spMkLst>
            <pc:docMk/>
            <pc:sldMk cId="1582404549" sldId="435"/>
            <ac:spMk id="4" creationId="{FA0F7255-5F31-4456-877E-DE3F89C95D29}"/>
          </ac:spMkLst>
        </pc:spChg>
        <pc:spChg chg="add mod">
          <ac:chgData name="Ayush Upendranath Bhupal" userId="6b6d5788-80ed-4f51-ac98-0534e81c51ce" providerId="ADAL" clId="{7AD5AD1F-F6AC-4C3F-AA97-93251A9408D5}" dt="2022-08-02T11:31:04.883" v="4395"/>
          <ac:spMkLst>
            <pc:docMk/>
            <pc:sldMk cId="1582404549" sldId="435"/>
            <ac:spMk id="5" creationId="{CA999B5B-9E70-4825-804F-2375ECD0FA01}"/>
          </ac:spMkLst>
        </pc:spChg>
        <pc:picChg chg="add mod">
          <ac:chgData name="Ayush Upendranath Bhupal" userId="6b6d5788-80ed-4f51-ac98-0534e81c51ce" providerId="ADAL" clId="{7AD5AD1F-F6AC-4C3F-AA97-93251A9408D5}" dt="2022-08-02T10:28:05.529" v="3614" actId="1076"/>
          <ac:picMkLst>
            <pc:docMk/>
            <pc:sldMk cId="1582404549" sldId="435"/>
            <ac:picMk id="7170" creationId="{658688B6-CB0A-4B5A-A997-6B0268DAD2CE}"/>
          </ac:picMkLst>
        </pc:picChg>
        <pc:picChg chg="add mod">
          <ac:chgData name="Ayush Upendranath Bhupal" userId="6b6d5788-80ed-4f51-ac98-0534e81c51ce" providerId="ADAL" clId="{7AD5AD1F-F6AC-4C3F-AA97-93251A9408D5}" dt="2022-08-02T10:28:45.209" v="3626" actId="14100"/>
          <ac:picMkLst>
            <pc:docMk/>
            <pc:sldMk cId="1582404549" sldId="435"/>
            <ac:picMk id="7172" creationId="{74CE8666-B731-494B-B351-CB072FA65B77}"/>
          </ac:picMkLst>
        </pc:picChg>
      </pc:sldChg>
      <pc:sldChg chg="addSp delSp modSp new mod modClrScheme chgLayout">
        <pc:chgData name="Ayush Upendranath Bhupal" userId="6b6d5788-80ed-4f51-ac98-0534e81c51ce" providerId="ADAL" clId="{7AD5AD1F-F6AC-4C3F-AA97-93251A9408D5}" dt="2022-08-04T16:38:30.049" v="5405" actId="1076"/>
        <pc:sldMkLst>
          <pc:docMk/>
          <pc:sldMk cId="2708901464" sldId="436"/>
        </pc:sldMkLst>
        <pc:spChg chg="mod ord">
          <ac:chgData name="Ayush Upendranath Bhupal" userId="6b6d5788-80ed-4f51-ac98-0534e81c51ce" providerId="ADAL" clId="{7AD5AD1F-F6AC-4C3F-AA97-93251A9408D5}" dt="2022-08-04T16:38:23.842" v="5404" actId="2711"/>
          <ac:spMkLst>
            <pc:docMk/>
            <pc:sldMk cId="2708901464" sldId="436"/>
            <ac:spMk id="2" creationId="{99987661-5195-48EE-88A6-541F50B77D78}"/>
          </ac:spMkLst>
        </pc:spChg>
        <pc:spChg chg="add del mod">
          <ac:chgData name="Ayush Upendranath Bhupal" userId="6b6d5788-80ed-4f51-ac98-0534e81c51ce" providerId="ADAL" clId="{7AD5AD1F-F6AC-4C3F-AA97-93251A9408D5}" dt="2022-08-04T16:36:30.981" v="5382" actId="478"/>
          <ac:spMkLst>
            <pc:docMk/>
            <pc:sldMk cId="2708901464" sldId="436"/>
            <ac:spMk id="3" creationId="{4829B042-E9F5-4EE0-89FC-285EE58FFA52}"/>
          </ac:spMkLst>
        </pc:spChg>
        <pc:spChg chg="del">
          <ac:chgData name="Ayush Upendranath Bhupal" userId="6b6d5788-80ed-4f51-ac98-0534e81c51ce" providerId="ADAL" clId="{7AD5AD1F-F6AC-4C3F-AA97-93251A9408D5}" dt="2022-08-02T10:32:59.707" v="3776"/>
          <ac:spMkLst>
            <pc:docMk/>
            <pc:sldMk cId="2708901464" sldId="436"/>
            <ac:spMk id="3" creationId="{F2567A02-611C-4E44-907E-62E74D07C7A1}"/>
          </ac:spMkLst>
        </pc:spChg>
        <pc:spChg chg="add mod ord">
          <ac:chgData name="Ayush Upendranath Bhupal" userId="6b6d5788-80ed-4f51-ac98-0534e81c51ce" providerId="ADAL" clId="{7AD5AD1F-F6AC-4C3F-AA97-93251A9408D5}" dt="2022-08-04T16:38:30.049" v="5405" actId="1076"/>
          <ac:spMkLst>
            <pc:docMk/>
            <pc:sldMk cId="2708901464" sldId="436"/>
            <ac:spMk id="7" creationId="{44DB28D2-1143-4EB8-9E75-DA36E61B77EF}"/>
          </ac:spMkLst>
        </pc:spChg>
        <pc:spChg chg="add del mod">
          <ac:chgData name="Ayush Upendranath Bhupal" userId="6b6d5788-80ed-4f51-ac98-0534e81c51ce" providerId="ADAL" clId="{7AD5AD1F-F6AC-4C3F-AA97-93251A9408D5}" dt="2022-08-04T16:36:44.325" v="5387" actId="26606"/>
          <ac:spMkLst>
            <pc:docMk/>
            <pc:sldMk cId="2708901464" sldId="436"/>
            <ac:spMk id="3081" creationId="{BC5A7A26-D368-1E17-0887-A47567A7B783}"/>
          </ac:spMkLst>
        </pc:spChg>
        <pc:spChg chg="add del mod">
          <ac:chgData name="Ayush Upendranath Bhupal" userId="6b6d5788-80ed-4f51-ac98-0534e81c51ce" providerId="ADAL" clId="{7AD5AD1F-F6AC-4C3F-AA97-93251A9408D5}" dt="2022-08-04T16:37:51.820" v="5396" actId="478"/>
          <ac:spMkLst>
            <pc:docMk/>
            <pc:sldMk cId="2708901464" sldId="436"/>
            <ac:spMk id="3083" creationId="{1880CE57-04D0-4865-B507-6EAD1B908280}"/>
          </ac:spMkLst>
        </pc:spChg>
        <pc:spChg chg="add del mod">
          <ac:chgData name="Ayush Upendranath Bhupal" userId="6b6d5788-80ed-4f51-ac98-0534e81c51ce" providerId="ADAL" clId="{7AD5AD1F-F6AC-4C3F-AA97-93251A9408D5}" dt="2022-08-04T16:37:53.256" v="5397" actId="478"/>
          <ac:spMkLst>
            <pc:docMk/>
            <pc:sldMk cId="2708901464" sldId="436"/>
            <ac:spMk id="3085" creationId="{2EBAB0E7-122E-DE61-7465-393B42ED03CE}"/>
          </ac:spMkLst>
        </pc:spChg>
        <pc:spChg chg="add del mod">
          <ac:chgData name="Ayush Upendranath Bhupal" userId="6b6d5788-80ed-4f51-ac98-0534e81c51ce" providerId="ADAL" clId="{7AD5AD1F-F6AC-4C3F-AA97-93251A9408D5}" dt="2022-08-04T16:37:50.077" v="5395" actId="478"/>
          <ac:spMkLst>
            <pc:docMk/>
            <pc:sldMk cId="2708901464" sldId="436"/>
            <ac:spMk id="3087" creationId="{C8337339-4F63-0BE6-F048-94B4F95DE01D}"/>
          </ac:spMkLst>
        </pc:spChg>
        <pc:spChg chg="add del">
          <ac:chgData name="Ayush Upendranath Bhupal" userId="6b6d5788-80ed-4f51-ac98-0534e81c51ce" providerId="ADAL" clId="{7AD5AD1F-F6AC-4C3F-AA97-93251A9408D5}" dt="2022-08-04T16:37:27.543" v="5393" actId="478"/>
          <ac:spMkLst>
            <pc:docMk/>
            <pc:sldMk cId="2708901464" sldId="436"/>
            <ac:spMk id="3092" creationId="{7ED6086E-0B6A-F369-114A-AC9A75E01C2B}"/>
          </ac:spMkLst>
        </pc:spChg>
        <pc:picChg chg="add mod">
          <ac:chgData name="Ayush Upendranath Bhupal" userId="6b6d5788-80ed-4f51-ac98-0534e81c51ce" providerId="ADAL" clId="{7AD5AD1F-F6AC-4C3F-AA97-93251A9408D5}" dt="2022-08-04T16:37:11.598" v="5391" actId="1076"/>
          <ac:picMkLst>
            <pc:docMk/>
            <pc:sldMk cId="2708901464" sldId="436"/>
            <ac:picMk id="3074" creationId="{A8B45B1A-8181-4A36-AE7F-BFA0E97CDDF6}"/>
          </ac:picMkLst>
        </pc:picChg>
        <pc:picChg chg="add del mod">
          <ac:chgData name="Ayush Upendranath Bhupal" userId="6b6d5788-80ed-4f51-ac98-0534e81c51ce" providerId="ADAL" clId="{7AD5AD1F-F6AC-4C3F-AA97-93251A9408D5}" dt="2022-08-04T16:37:22.509" v="5392" actId="1076"/>
          <ac:picMkLst>
            <pc:docMk/>
            <pc:sldMk cId="2708901464" sldId="436"/>
            <ac:picMk id="3076" creationId="{88B1943E-657F-4EA5-AC08-9F669CA385B3}"/>
          </ac:picMkLst>
        </pc:picChg>
        <pc:picChg chg="add del mod">
          <ac:chgData name="Ayush Upendranath Bhupal" userId="6b6d5788-80ed-4f51-ac98-0534e81c51ce" providerId="ADAL" clId="{7AD5AD1F-F6AC-4C3F-AA97-93251A9408D5}" dt="2022-08-04T16:36:30.727" v="5381" actId="478"/>
          <ac:picMkLst>
            <pc:docMk/>
            <pc:sldMk cId="2708901464" sldId="436"/>
            <ac:picMk id="8194" creationId="{EF69B2F6-2486-434F-8DAA-4C2845EE2F69}"/>
          </ac:picMkLst>
        </pc:picChg>
        <pc:picChg chg="add del mod">
          <ac:chgData name="Ayush Upendranath Bhupal" userId="6b6d5788-80ed-4f51-ac98-0534e81c51ce" providerId="ADAL" clId="{7AD5AD1F-F6AC-4C3F-AA97-93251A9408D5}" dt="2022-08-04T16:35:41.769" v="5362" actId="478"/>
          <ac:picMkLst>
            <pc:docMk/>
            <pc:sldMk cId="2708901464" sldId="436"/>
            <ac:picMk id="8196" creationId="{9B289616-D279-4E2F-AEF0-244DC533BF79}"/>
          </ac:picMkLst>
        </pc:picChg>
      </pc:sldChg>
      <pc:sldChg chg="modSp add mod">
        <pc:chgData name="Ayush Upendranath Bhupal" userId="6b6d5788-80ed-4f51-ac98-0534e81c51ce" providerId="ADAL" clId="{7AD5AD1F-F6AC-4C3F-AA97-93251A9408D5}" dt="2022-08-02T12:05:40.391" v="4754" actId="2164"/>
        <pc:sldMkLst>
          <pc:docMk/>
          <pc:sldMk cId="1011043711" sldId="1047"/>
        </pc:sldMkLst>
        <pc:graphicFrameChg chg="mod modGraphic">
          <ac:chgData name="Ayush Upendranath Bhupal" userId="6b6d5788-80ed-4f51-ac98-0534e81c51ce" providerId="ADAL" clId="{7AD5AD1F-F6AC-4C3F-AA97-93251A9408D5}" dt="2022-08-02T12:05:40.391" v="4754" actId="2164"/>
          <ac:graphicFrameMkLst>
            <pc:docMk/>
            <pc:sldMk cId="1011043711" sldId="1047"/>
            <ac:graphicFrameMk id="10" creationId="{EC2AF4D8-ACFD-AF45-90E2-B1DFA484F25C}"/>
          </ac:graphicFrameMkLst>
        </pc:graphicFrameChg>
      </pc:sldChg>
      <pc:sldChg chg="modSp add del mod ord">
        <pc:chgData name="Ayush Upendranath Bhupal" userId="6b6d5788-80ed-4f51-ac98-0534e81c51ce" providerId="ADAL" clId="{7AD5AD1F-F6AC-4C3F-AA97-93251A9408D5}" dt="2022-08-02T12:01:02.224" v="4543" actId="20577"/>
        <pc:sldMkLst>
          <pc:docMk/>
          <pc:sldMk cId="1841881804" sldId="1052"/>
        </pc:sldMkLst>
        <pc:spChg chg="mod">
          <ac:chgData name="Ayush Upendranath Bhupal" userId="6b6d5788-80ed-4f51-ac98-0534e81c51ce" providerId="ADAL" clId="{7AD5AD1F-F6AC-4C3F-AA97-93251A9408D5}" dt="2022-08-02T12:01:02.224" v="4543" actId="20577"/>
          <ac:spMkLst>
            <pc:docMk/>
            <pc:sldMk cId="1841881804" sldId="1052"/>
            <ac:spMk id="11" creationId="{CDC2D592-36FC-4940-8477-A748027CCF7A}"/>
          </ac:spMkLst>
        </pc:spChg>
      </pc:sldChg>
      <pc:sldChg chg="add del">
        <pc:chgData name="Ayush Upendranath Bhupal" userId="6b6d5788-80ed-4f51-ac98-0534e81c51ce" providerId="ADAL" clId="{7AD5AD1F-F6AC-4C3F-AA97-93251A9408D5}" dt="2022-08-04T10:09:18.408" v="4998" actId="47"/>
        <pc:sldMkLst>
          <pc:docMk/>
          <pc:sldMk cId="4153531101" sldId="1055"/>
        </pc:sldMkLst>
      </pc:sldChg>
      <pc:sldChg chg="add">
        <pc:chgData name="Ayush Upendranath Bhupal" userId="6b6d5788-80ed-4f51-ac98-0534e81c51ce" providerId="ADAL" clId="{7AD5AD1F-F6AC-4C3F-AA97-93251A9408D5}" dt="2022-08-02T12:01:14.136" v="4544"/>
        <pc:sldMkLst>
          <pc:docMk/>
          <pc:sldMk cId="3883698712" sldId="1056"/>
        </pc:sldMkLst>
      </pc:sldChg>
      <pc:sldChg chg="add">
        <pc:chgData name="Ayush Upendranath Bhupal" userId="6b6d5788-80ed-4f51-ac98-0534e81c51ce" providerId="ADAL" clId="{7AD5AD1F-F6AC-4C3F-AA97-93251A9408D5}" dt="2022-08-04T10:09:14.273" v="4997"/>
        <pc:sldMkLst>
          <pc:docMk/>
          <pc:sldMk cId="4123079266" sldId="1057"/>
        </pc:sldMkLst>
      </pc:sldChg>
      <pc:sldChg chg="modSp new del mod">
        <pc:chgData name="Ayush Upendranath Bhupal" userId="6b6d5788-80ed-4f51-ac98-0534e81c51ce" providerId="ADAL" clId="{7AD5AD1F-F6AC-4C3F-AA97-93251A9408D5}" dt="2022-08-04T13:33:55.487" v="5180" actId="47"/>
        <pc:sldMkLst>
          <pc:docMk/>
          <pc:sldMk cId="2640238046" sldId="1058"/>
        </pc:sldMkLst>
        <pc:spChg chg="mod">
          <ac:chgData name="Ayush Upendranath Bhupal" userId="6b6d5788-80ed-4f51-ac98-0534e81c51ce" providerId="ADAL" clId="{7AD5AD1F-F6AC-4C3F-AA97-93251A9408D5}" dt="2022-08-04T13:33:27.329" v="5179" actId="21"/>
          <ac:spMkLst>
            <pc:docMk/>
            <pc:sldMk cId="2640238046" sldId="1058"/>
            <ac:spMk id="3" creationId="{17BC9467-BB82-4773-8003-53D3BA7D04E3}"/>
          </ac:spMkLst>
        </pc:spChg>
      </pc:sldChg>
      <pc:sldChg chg="add del ord">
        <pc:chgData name="Ayush Upendranath Bhupal" userId="6b6d5788-80ed-4f51-ac98-0534e81c51ce" providerId="ADAL" clId="{7AD5AD1F-F6AC-4C3F-AA97-93251A9408D5}" dt="2022-08-02T10:47:02.124" v="4014" actId="47"/>
        <pc:sldMkLst>
          <pc:docMk/>
          <pc:sldMk cId="159781783" sldId="1061"/>
        </pc:sldMkLst>
      </pc:sldChg>
      <pc:sldChg chg="add del">
        <pc:chgData name="Ayush Upendranath Bhupal" userId="6b6d5788-80ed-4f51-ac98-0534e81c51ce" providerId="ADAL" clId="{7AD5AD1F-F6AC-4C3F-AA97-93251A9408D5}" dt="2022-08-02T11:31:44.305" v="4402" actId="47"/>
        <pc:sldMkLst>
          <pc:docMk/>
          <pc:sldMk cId="874263499" sldId="1062"/>
        </pc:sldMkLst>
      </pc:sldChg>
      <pc:sldChg chg="add del">
        <pc:chgData name="Ayush Upendranath Bhupal" userId="6b6d5788-80ed-4f51-ac98-0534e81c51ce" providerId="ADAL" clId="{7AD5AD1F-F6AC-4C3F-AA97-93251A9408D5}" dt="2022-08-02T11:12:39.818" v="4219"/>
        <pc:sldMkLst>
          <pc:docMk/>
          <pc:sldMk cId="2512213926" sldId="1063"/>
        </pc:sldMkLst>
      </pc:sldChg>
      <pc:sldChg chg="add del">
        <pc:chgData name="Ayush Upendranath Bhupal" userId="6b6d5788-80ed-4f51-ac98-0534e81c51ce" providerId="ADAL" clId="{7AD5AD1F-F6AC-4C3F-AA97-93251A9408D5}" dt="2022-08-02T11:12:44.172" v="4221"/>
        <pc:sldMkLst>
          <pc:docMk/>
          <pc:sldMk cId="3814175602" sldId="1063"/>
        </pc:sldMkLst>
      </pc:sldChg>
      <pc:sldMasterChg chg="delSldLayout">
        <pc:chgData name="Ayush Upendranath Bhupal" userId="6b6d5788-80ed-4f51-ac98-0534e81c51ce" providerId="ADAL" clId="{7AD5AD1F-F6AC-4C3F-AA97-93251A9408D5}" dt="2022-07-29T10:46:24.922" v="1186" actId="47"/>
        <pc:sldMasterMkLst>
          <pc:docMk/>
          <pc:sldMasterMk cId="3346000223" sldId="2147483648"/>
        </pc:sldMasterMkLst>
        <pc:sldLayoutChg chg="del">
          <pc:chgData name="Ayush Upendranath Bhupal" userId="6b6d5788-80ed-4f51-ac98-0534e81c51ce" providerId="ADAL" clId="{7AD5AD1F-F6AC-4C3F-AA97-93251A9408D5}" dt="2022-07-29T10:46:24.922" v="1186" actId="47"/>
          <pc:sldLayoutMkLst>
            <pc:docMk/>
            <pc:sldMasterMk cId="3346000223" sldId="2147483648"/>
            <pc:sldLayoutMk cId="1859229472" sldId="2147483660"/>
          </pc:sldLayoutMkLst>
        </pc:sldLayoutChg>
      </pc:sldMasterChg>
      <pc:sldMasterChg chg="delSldLayout">
        <pc:chgData name="Ayush Upendranath Bhupal" userId="6b6d5788-80ed-4f51-ac98-0534e81c51ce" providerId="ADAL" clId="{7AD5AD1F-F6AC-4C3F-AA97-93251A9408D5}" dt="2022-08-02T11:31:44.305" v="4402" actId="47"/>
        <pc:sldMasterMkLst>
          <pc:docMk/>
          <pc:sldMasterMk cId="865905813" sldId="2147483692"/>
        </pc:sldMasterMkLst>
        <pc:sldLayoutChg chg="del">
          <pc:chgData name="Ayush Upendranath Bhupal" userId="6b6d5788-80ed-4f51-ac98-0534e81c51ce" providerId="ADAL" clId="{7AD5AD1F-F6AC-4C3F-AA97-93251A9408D5}" dt="2022-08-02T11:31:44.305" v="4402" actId="47"/>
          <pc:sldLayoutMkLst>
            <pc:docMk/>
            <pc:sldMasterMk cId="865905813" sldId="2147483692"/>
            <pc:sldLayoutMk cId="3665065499" sldId="2147483724"/>
          </pc:sldLayoutMkLst>
        </pc:sldLayoutChg>
      </pc:sldMasterChg>
      <pc:sldMasterChg chg="addSp">
        <pc:chgData name="Ayush Upendranath Bhupal" userId="6b6d5788-80ed-4f51-ac98-0534e81c51ce" providerId="ADAL" clId="{7AD5AD1F-F6AC-4C3F-AA97-93251A9408D5}" dt="2022-08-02T10:48:27.626" v="4027"/>
        <pc:sldMasterMkLst>
          <pc:docMk/>
          <pc:sldMasterMk cId="2448531325" sldId="2147483726"/>
        </pc:sldMasterMkLst>
        <pc:grpChg chg="add">
          <ac:chgData name="Ayush Upendranath Bhupal" userId="6b6d5788-80ed-4f51-ac98-0534e81c51ce" providerId="ADAL" clId="{7AD5AD1F-F6AC-4C3F-AA97-93251A9408D5}" dt="2022-08-02T10:48:27.626" v="4027"/>
          <ac:grpSpMkLst>
            <pc:docMk/>
            <pc:sldMasterMk cId="2448531325" sldId="2147483726"/>
            <ac:grpSpMk id="7" creationId="{8A6F9DEA-3105-4715-A69F-1294C7CCCCCD}"/>
          </ac:grpSpMkLst>
        </pc:grpChg>
      </pc:sldMasterChg>
      <pc:sldMasterChg chg="addSp">
        <pc:chgData name="Ayush Upendranath Bhupal" userId="6b6d5788-80ed-4f51-ac98-0534e81c51ce" providerId="ADAL" clId="{7AD5AD1F-F6AC-4C3F-AA97-93251A9408D5}" dt="2022-08-02T10:54:52.839" v="4110"/>
        <pc:sldMasterMkLst>
          <pc:docMk/>
          <pc:sldMasterMk cId="4028095114" sldId="2147483726"/>
        </pc:sldMasterMkLst>
        <pc:grpChg chg="add">
          <ac:chgData name="Ayush Upendranath Bhupal" userId="6b6d5788-80ed-4f51-ac98-0534e81c51ce" providerId="ADAL" clId="{7AD5AD1F-F6AC-4C3F-AA97-93251A9408D5}" dt="2022-08-02T10:54:52.839" v="4110"/>
          <ac:grpSpMkLst>
            <pc:docMk/>
            <pc:sldMasterMk cId="4028095114" sldId="2147483726"/>
            <ac:grpSpMk id="11" creationId="{B7C165BC-F41B-4E6E-B89D-908A72CFC5E9}"/>
          </ac:grpSpMkLst>
        </pc:grpChg>
      </pc:sldMasterChg>
      <pc:sldMasterChg chg="addSp">
        <pc:chgData name="Ayush Upendranath Bhupal" userId="6b6d5788-80ed-4f51-ac98-0534e81c51ce" providerId="ADAL" clId="{7AD5AD1F-F6AC-4C3F-AA97-93251A9408D5}" dt="2022-08-02T10:48:32.295" v="4032"/>
        <pc:sldMasterMkLst>
          <pc:docMk/>
          <pc:sldMasterMk cId="1230777695" sldId="2147483738"/>
        </pc:sldMasterMkLst>
        <pc:grpChg chg="add">
          <ac:chgData name="Ayush Upendranath Bhupal" userId="6b6d5788-80ed-4f51-ac98-0534e81c51ce" providerId="ADAL" clId="{7AD5AD1F-F6AC-4C3F-AA97-93251A9408D5}" dt="2022-08-02T10:48:32.295" v="4032"/>
          <ac:grpSpMkLst>
            <pc:docMk/>
            <pc:sldMasterMk cId="1230777695" sldId="2147483738"/>
            <ac:grpSpMk id="7" creationId="{127D7B7D-94BA-43D2-82DD-8B8CF7B55D51}"/>
          </ac:grpSpMkLst>
        </pc:grpChg>
      </pc:sldMasterChg>
      <pc:sldMasterChg chg="addSp">
        <pc:chgData name="Ayush Upendranath Bhupal" userId="6b6d5788-80ed-4f51-ac98-0534e81c51ce" providerId="ADAL" clId="{7AD5AD1F-F6AC-4C3F-AA97-93251A9408D5}" dt="2022-08-02T10:55:20.985" v="4115"/>
        <pc:sldMasterMkLst>
          <pc:docMk/>
          <pc:sldMasterMk cId="2095303673" sldId="2147483738"/>
        </pc:sldMasterMkLst>
        <pc:grpChg chg="add">
          <ac:chgData name="Ayush Upendranath Bhupal" userId="6b6d5788-80ed-4f51-ac98-0534e81c51ce" providerId="ADAL" clId="{7AD5AD1F-F6AC-4C3F-AA97-93251A9408D5}" dt="2022-08-02T10:55:20.985" v="4115"/>
          <ac:grpSpMkLst>
            <pc:docMk/>
            <pc:sldMasterMk cId="2095303673" sldId="2147483738"/>
            <ac:grpSpMk id="7" creationId="{F2DCE81D-68B0-4D81-B9DD-0C13BBCDE00B}"/>
          </ac:grpSpMkLst>
        </pc:grpChg>
      </pc:sldMasterChg>
      <pc:sldMasterChg chg="addSp">
        <pc:chgData name="Ayush Upendranath Bhupal" userId="6b6d5788-80ed-4f51-ac98-0534e81c51ce" providerId="ADAL" clId="{7AD5AD1F-F6AC-4C3F-AA97-93251A9408D5}" dt="2022-08-02T10:48:33.707" v="4033"/>
        <pc:sldMasterMkLst>
          <pc:docMk/>
          <pc:sldMasterMk cId="3391273614" sldId="2147483750"/>
        </pc:sldMasterMkLst>
        <pc:grpChg chg="add">
          <ac:chgData name="Ayush Upendranath Bhupal" userId="6b6d5788-80ed-4f51-ac98-0534e81c51ce" providerId="ADAL" clId="{7AD5AD1F-F6AC-4C3F-AA97-93251A9408D5}" dt="2022-08-02T10:48:33.707" v="4033"/>
          <ac:grpSpMkLst>
            <pc:docMk/>
            <pc:sldMasterMk cId="3391273614" sldId="2147483750"/>
            <ac:grpSpMk id="7" creationId="{BEFB0164-FEEA-4CF9-A7DA-E065F0E5AAB5}"/>
          </ac:grpSpMkLst>
        </pc:grpChg>
      </pc:sldMasterChg>
      <pc:sldMasterChg chg="addSp">
        <pc:chgData name="Ayush Upendranath Bhupal" userId="6b6d5788-80ed-4f51-ac98-0534e81c51ce" providerId="ADAL" clId="{7AD5AD1F-F6AC-4C3F-AA97-93251A9408D5}" dt="2022-08-02T10:48:41.715" v="4034"/>
        <pc:sldMasterMkLst>
          <pc:docMk/>
          <pc:sldMasterMk cId="188473638" sldId="2147483762"/>
        </pc:sldMasterMkLst>
        <pc:grpChg chg="add">
          <ac:chgData name="Ayush Upendranath Bhupal" userId="6b6d5788-80ed-4f51-ac98-0534e81c51ce" providerId="ADAL" clId="{7AD5AD1F-F6AC-4C3F-AA97-93251A9408D5}" dt="2022-08-02T10:48:41.715" v="4034"/>
          <ac:grpSpMkLst>
            <pc:docMk/>
            <pc:sldMasterMk cId="188473638" sldId="2147483762"/>
            <ac:grpSpMk id="7" creationId="{96E6ADB9-DFCC-41C7-8E99-4DE0ACC28980}"/>
          </ac:grpSpMkLst>
        </pc:grpChg>
      </pc:sldMasterChg>
    </pc:docChg>
  </pc:docChgLst>
</pc:chgInfo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https://people.ey.com/personal/ayush_upendranath_bhupal_gds_ey_com/Documents/Desktop/Project/Dupire/Final/Local_vol_temp2.xlsx" TargetMode="Externa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oleObject" Target="https://people.ey.com/personal/ayush_upendranath_bhupal_gds_ey_com/Documents/Desktop/Project/Dupire/Final/Imp_Vol_temp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cap="none" spc="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IN" dirty="0"/>
              <a:t>Local Vol</a:t>
            </a:r>
          </a:p>
        </c:rich>
      </c:tx>
      <c:overlay val="0"/>
      <c:spPr>
        <a:noFill/>
        <a:ln>
          <a:noFill/>
        </a:ln>
        <a:effectLst/>
      </c:spPr>
    </c:title>
    <c:autoTitleDeleted val="0"/>
    <c:view3D>
      <c:rotX val="15"/>
      <c:rotY val="20"/>
      <c:rAngAx val="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/>
      <c:surface3DChart>
        <c:wireframe val="0"/>
        <c:ser>
          <c:idx val="0"/>
          <c:order val="0"/>
          <c:tx>
            <c:strRef>
              <c:f>Sheet1!$A$2</c:f>
              <c:strCache>
                <c:ptCount val="1"/>
                <c:pt idx="0">
                  <c:v>0.019178082</c:v>
                </c:pt>
              </c:strCache>
            </c:strRef>
          </c:tx>
          <c:spPr>
            <a:gradFill rotWithShape="1">
              <a:gsLst>
                <a:gs pos="0">
                  <a:schemeClr val="accent1">
                    <a:tint val="50000"/>
                    <a:satMod val="300000"/>
                  </a:schemeClr>
                </a:gs>
                <a:gs pos="35000">
                  <a:schemeClr val="accent1">
                    <a:tint val="37000"/>
                    <a:satMod val="300000"/>
                  </a:schemeClr>
                </a:gs>
                <a:gs pos="100000">
                  <a:schemeClr val="accent1">
                    <a:tint val="15000"/>
                    <a:satMod val="350000"/>
                  </a:schemeClr>
                </a:gs>
              </a:gsLst>
              <a:lin ang="16200000" scaled="1"/>
            </a:gradFill>
            <a:ln w="9525" cap="flat" cmpd="sng" algn="ctr">
              <a:solidFill>
                <a:schemeClr val="accent1">
                  <a:shade val="95000"/>
                </a:schemeClr>
              </a:solidFill>
              <a:round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  <a:sp3d contourW="9525">
              <a:contourClr>
                <a:schemeClr val="accent1">
                  <a:shade val="95000"/>
                </a:schemeClr>
              </a:contourClr>
            </a:sp3d>
          </c:spPr>
          <c:cat>
            <c:numRef>
              <c:f>Sheet1!$B$1:$BH$1</c:f>
              <c:numCache>
                <c:formatCode>General</c:formatCode>
                <c:ptCount val="59"/>
                <c:pt idx="0">
                  <c:v>40</c:v>
                </c:pt>
                <c:pt idx="1">
                  <c:v>42.5</c:v>
                </c:pt>
                <c:pt idx="2">
                  <c:v>45</c:v>
                </c:pt>
                <c:pt idx="3">
                  <c:v>47.5</c:v>
                </c:pt>
                <c:pt idx="4">
                  <c:v>50</c:v>
                </c:pt>
                <c:pt idx="5">
                  <c:v>52.5</c:v>
                </c:pt>
                <c:pt idx="6">
                  <c:v>55</c:v>
                </c:pt>
                <c:pt idx="7">
                  <c:v>57.5</c:v>
                </c:pt>
                <c:pt idx="8">
                  <c:v>60</c:v>
                </c:pt>
                <c:pt idx="9">
                  <c:v>62.5</c:v>
                </c:pt>
                <c:pt idx="10">
                  <c:v>65</c:v>
                </c:pt>
                <c:pt idx="11">
                  <c:v>67.5</c:v>
                </c:pt>
                <c:pt idx="12">
                  <c:v>70</c:v>
                </c:pt>
                <c:pt idx="13">
                  <c:v>72.5</c:v>
                </c:pt>
                <c:pt idx="14">
                  <c:v>75</c:v>
                </c:pt>
                <c:pt idx="15">
                  <c:v>77.5</c:v>
                </c:pt>
                <c:pt idx="16">
                  <c:v>80</c:v>
                </c:pt>
                <c:pt idx="17">
                  <c:v>82.5</c:v>
                </c:pt>
                <c:pt idx="18">
                  <c:v>85</c:v>
                </c:pt>
                <c:pt idx="19">
                  <c:v>87.5</c:v>
                </c:pt>
                <c:pt idx="20">
                  <c:v>90</c:v>
                </c:pt>
                <c:pt idx="21">
                  <c:v>92.5</c:v>
                </c:pt>
                <c:pt idx="22">
                  <c:v>95</c:v>
                </c:pt>
                <c:pt idx="23">
                  <c:v>97.5</c:v>
                </c:pt>
                <c:pt idx="24">
                  <c:v>100</c:v>
                </c:pt>
                <c:pt idx="25">
                  <c:v>102.5</c:v>
                </c:pt>
                <c:pt idx="26">
                  <c:v>105</c:v>
                </c:pt>
                <c:pt idx="27">
                  <c:v>107.5</c:v>
                </c:pt>
                <c:pt idx="28">
                  <c:v>110</c:v>
                </c:pt>
                <c:pt idx="29">
                  <c:v>112.5</c:v>
                </c:pt>
                <c:pt idx="30">
                  <c:v>115</c:v>
                </c:pt>
                <c:pt idx="31">
                  <c:v>117.5</c:v>
                </c:pt>
                <c:pt idx="32">
                  <c:v>120</c:v>
                </c:pt>
                <c:pt idx="33">
                  <c:v>122.5</c:v>
                </c:pt>
                <c:pt idx="34">
                  <c:v>125</c:v>
                </c:pt>
                <c:pt idx="35">
                  <c:v>127.5</c:v>
                </c:pt>
                <c:pt idx="36">
                  <c:v>130</c:v>
                </c:pt>
                <c:pt idx="37">
                  <c:v>132.5</c:v>
                </c:pt>
                <c:pt idx="38">
                  <c:v>135</c:v>
                </c:pt>
                <c:pt idx="39">
                  <c:v>137.5</c:v>
                </c:pt>
                <c:pt idx="40">
                  <c:v>140</c:v>
                </c:pt>
                <c:pt idx="41">
                  <c:v>142.5</c:v>
                </c:pt>
                <c:pt idx="42">
                  <c:v>145</c:v>
                </c:pt>
                <c:pt idx="43">
                  <c:v>147.5</c:v>
                </c:pt>
                <c:pt idx="44">
                  <c:v>150</c:v>
                </c:pt>
                <c:pt idx="45">
                  <c:v>152.5</c:v>
                </c:pt>
                <c:pt idx="46">
                  <c:v>155</c:v>
                </c:pt>
                <c:pt idx="47">
                  <c:v>157.5</c:v>
                </c:pt>
                <c:pt idx="48">
                  <c:v>160</c:v>
                </c:pt>
                <c:pt idx="49">
                  <c:v>162.5</c:v>
                </c:pt>
                <c:pt idx="50">
                  <c:v>165</c:v>
                </c:pt>
                <c:pt idx="51">
                  <c:v>167.5</c:v>
                </c:pt>
                <c:pt idx="52">
                  <c:v>170</c:v>
                </c:pt>
                <c:pt idx="53">
                  <c:v>172.5</c:v>
                </c:pt>
                <c:pt idx="54">
                  <c:v>175</c:v>
                </c:pt>
                <c:pt idx="55">
                  <c:v>177.5</c:v>
                </c:pt>
                <c:pt idx="56">
                  <c:v>180</c:v>
                </c:pt>
                <c:pt idx="57">
                  <c:v>182.5</c:v>
                </c:pt>
                <c:pt idx="58">
                  <c:v>1000</c:v>
                </c:pt>
              </c:numCache>
            </c:numRef>
          </c:cat>
          <c:val>
            <c:numRef>
              <c:f>Sheet1!$B$2:$BH$2</c:f>
              <c:numCache>
                <c:formatCode>General</c:formatCode>
                <c:ptCount val="59"/>
                <c:pt idx="0">
                  <c:v>1.565901642413889</c:v>
                </c:pt>
                <c:pt idx="1">
                  <c:v>1.5189428383674239</c:v>
                </c:pt>
                <c:pt idx="2">
                  <c:v>1.474704592200337</c:v>
                </c:pt>
                <c:pt idx="3">
                  <c:v>1.433163385137574</c:v>
                </c:pt>
                <c:pt idx="4">
                  <c:v>1.3943800215145561</c:v>
                </c:pt>
                <c:pt idx="5">
                  <c:v>1.353480995830775</c:v>
                </c:pt>
                <c:pt idx="6">
                  <c:v>1.311714257869554</c:v>
                </c:pt>
                <c:pt idx="7">
                  <c:v>1.2747961408063939</c:v>
                </c:pt>
                <c:pt idx="8">
                  <c:v>1.244526457684265</c:v>
                </c:pt>
                <c:pt idx="9">
                  <c:v>1.22088426927382</c:v>
                </c:pt>
                <c:pt idx="10">
                  <c:v>1.2068887043099801</c:v>
                </c:pt>
                <c:pt idx="11">
                  <c:v>1.2086827873155439</c:v>
                </c:pt>
                <c:pt idx="12">
                  <c:v>1.2357120231197141</c:v>
                </c:pt>
                <c:pt idx="13">
                  <c:v>1.206382979499881</c:v>
                </c:pt>
                <c:pt idx="14">
                  <c:v>1.1550804332071269</c:v>
                </c:pt>
                <c:pt idx="15">
                  <c:v>1.1541278193968729</c:v>
                </c:pt>
                <c:pt idx="16">
                  <c:v>1.20603264908139</c:v>
                </c:pt>
                <c:pt idx="17">
                  <c:v>1.0829799251042</c:v>
                </c:pt>
                <c:pt idx="18">
                  <c:v>0.922589794249565</c:v>
                </c:pt>
                <c:pt idx="19">
                  <c:v>0.83640880660826411</c:v>
                </c:pt>
                <c:pt idx="20">
                  <c:v>0.64299602643703957</c:v>
                </c:pt>
                <c:pt idx="21">
                  <c:v>0.45764669632806049</c:v>
                </c:pt>
                <c:pt idx="22">
                  <c:v>0.31007747450362638</c:v>
                </c:pt>
                <c:pt idx="23">
                  <c:v>0.1915986662548354</c:v>
                </c:pt>
                <c:pt idx="24">
                  <c:v>0.1277072578795429</c:v>
                </c:pt>
                <c:pt idx="25">
                  <c:v>0.1249881692341152</c:v>
                </c:pt>
                <c:pt idx="26">
                  <c:v>0.1800273567752933</c:v>
                </c:pt>
                <c:pt idx="27">
                  <c:v>0.27643407202506071</c:v>
                </c:pt>
                <c:pt idx="28">
                  <c:v>0.30416988639604481</c:v>
                </c:pt>
                <c:pt idx="29">
                  <c:v>0.34327438549087652</c:v>
                </c:pt>
                <c:pt idx="30">
                  <c:v>0.35737558238820488</c:v>
                </c:pt>
                <c:pt idx="31">
                  <c:v>0.34898407750458721</c:v>
                </c:pt>
                <c:pt idx="32">
                  <c:v>0.35012401280473271</c:v>
                </c:pt>
                <c:pt idx="33">
                  <c:v>0.35084068384930689</c:v>
                </c:pt>
                <c:pt idx="34">
                  <c:v>0.34885110192248681</c:v>
                </c:pt>
                <c:pt idx="35">
                  <c:v>0.35068516476040301</c:v>
                </c:pt>
                <c:pt idx="36">
                  <c:v>0.35543290827403412</c:v>
                </c:pt>
                <c:pt idx="37">
                  <c:v>0.35973921496895978</c:v>
                </c:pt>
                <c:pt idx="38">
                  <c:v>0.36679333381544382</c:v>
                </c:pt>
                <c:pt idx="39">
                  <c:v>0.37657135879168069</c:v>
                </c:pt>
                <c:pt idx="40">
                  <c:v>0.38599580955902679</c:v>
                </c:pt>
                <c:pt idx="41">
                  <c:v>0.39536695259355931</c:v>
                </c:pt>
                <c:pt idx="42">
                  <c:v>0.40375761544099392</c:v>
                </c:pt>
                <c:pt idx="43">
                  <c:v>0.41108177258778339</c:v>
                </c:pt>
                <c:pt idx="44">
                  <c:v>0.41821510682425078</c:v>
                </c:pt>
                <c:pt idx="45">
                  <c:v>0.42602256161411528</c:v>
                </c:pt>
                <c:pt idx="46">
                  <c:v>0.43170088194034217</c:v>
                </c:pt>
                <c:pt idx="47">
                  <c:v>0.43487571692797061</c:v>
                </c:pt>
                <c:pt idx="48">
                  <c:v>0.43806084601626288</c:v>
                </c:pt>
                <c:pt idx="49">
                  <c:v>0.43970041127974108</c:v>
                </c:pt>
                <c:pt idx="50">
                  <c:v>0.44467421875757002</c:v>
                </c:pt>
                <c:pt idx="51">
                  <c:v>0.45373031996481278</c:v>
                </c:pt>
                <c:pt idx="52">
                  <c:v>0.46257176155831092</c:v>
                </c:pt>
                <c:pt idx="53">
                  <c:v>0.47288599236816659</c:v>
                </c:pt>
                <c:pt idx="54">
                  <c:v>0.47963292882556507</c:v>
                </c:pt>
                <c:pt idx="55">
                  <c:v>0.48171676133128311</c:v>
                </c:pt>
                <c:pt idx="56">
                  <c:v>5.2582382707956413E-2</c:v>
                </c:pt>
                <c:pt idx="57">
                  <c:v>0.23748070823090819</c:v>
                </c:pt>
                <c:pt idx="58">
                  <c:v>0.3836033026435786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BE2-48CC-8485-F6B125FAE53C}"/>
            </c:ext>
          </c:extLst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0.084931507</c:v>
                </c:pt>
              </c:strCache>
            </c:strRef>
          </c:tx>
          <c:spPr>
            <a:gradFill rotWithShape="1">
              <a:gsLst>
                <a:gs pos="0">
                  <a:schemeClr val="accent2">
                    <a:tint val="50000"/>
                    <a:satMod val="300000"/>
                  </a:schemeClr>
                </a:gs>
                <a:gs pos="35000">
                  <a:schemeClr val="accent2">
                    <a:tint val="37000"/>
                    <a:satMod val="300000"/>
                  </a:schemeClr>
                </a:gs>
                <a:gs pos="100000">
                  <a:schemeClr val="accent2">
                    <a:tint val="15000"/>
                    <a:satMod val="350000"/>
                  </a:schemeClr>
                </a:gs>
              </a:gsLst>
              <a:lin ang="16200000" scaled="1"/>
            </a:gradFill>
            <a:ln w="9525" cap="flat" cmpd="sng" algn="ctr">
              <a:solidFill>
                <a:schemeClr val="accent2">
                  <a:shade val="95000"/>
                </a:schemeClr>
              </a:solidFill>
              <a:round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  <a:sp3d contourW="9525">
              <a:contourClr>
                <a:schemeClr val="accent2">
                  <a:shade val="95000"/>
                </a:schemeClr>
              </a:contourClr>
            </a:sp3d>
          </c:spPr>
          <c:cat>
            <c:numRef>
              <c:f>Sheet1!$B$1:$BH$1</c:f>
              <c:numCache>
                <c:formatCode>General</c:formatCode>
                <c:ptCount val="59"/>
                <c:pt idx="0">
                  <c:v>40</c:v>
                </c:pt>
                <c:pt idx="1">
                  <c:v>42.5</c:v>
                </c:pt>
                <c:pt idx="2">
                  <c:v>45</c:v>
                </c:pt>
                <c:pt idx="3">
                  <c:v>47.5</c:v>
                </c:pt>
                <c:pt idx="4">
                  <c:v>50</c:v>
                </c:pt>
                <c:pt idx="5">
                  <c:v>52.5</c:v>
                </c:pt>
                <c:pt idx="6">
                  <c:v>55</c:v>
                </c:pt>
                <c:pt idx="7">
                  <c:v>57.5</c:v>
                </c:pt>
                <c:pt idx="8">
                  <c:v>60</c:v>
                </c:pt>
                <c:pt idx="9">
                  <c:v>62.5</c:v>
                </c:pt>
                <c:pt idx="10">
                  <c:v>65</c:v>
                </c:pt>
                <c:pt idx="11">
                  <c:v>67.5</c:v>
                </c:pt>
                <c:pt idx="12">
                  <c:v>70</c:v>
                </c:pt>
                <c:pt idx="13">
                  <c:v>72.5</c:v>
                </c:pt>
                <c:pt idx="14">
                  <c:v>75</c:v>
                </c:pt>
                <c:pt idx="15">
                  <c:v>77.5</c:v>
                </c:pt>
                <c:pt idx="16">
                  <c:v>80</c:v>
                </c:pt>
                <c:pt idx="17">
                  <c:v>82.5</c:v>
                </c:pt>
                <c:pt idx="18">
                  <c:v>85</c:v>
                </c:pt>
                <c:pt idx="19">
                  <c:v>87.5</c:v>
                </c:pt>
                <c:pt idx="20">
                  <c:v>90</c:v>
                </c:pt>
                <c:pt idx="21">
                  <c:v>92.5</c:v>
                </c:pt>
                <c:pt idx="22">
                  <c:v>95</c:v>
                </c:pt>
                <c:pt idx="23">
                  <c:v>97.5</c:v>
                </c:pt>
                <c:pt idx="24">
                  <c:v>100</c:v>
                </c:pt>
                <c:pt idx="25">
                  <c:v>102.5</c:v>
                </c:pt>
                <c:pt idx="26">
                  <c:v>105</c:v>
                </c:pt>
                <c:pt idx="27">
                  <c:v>107.5</c:v>
                </c:pt>
                <c:pt idx="28">
                  <c:v>110</c:v>
                </c:pt>
                <c:pt idx="29">
                  <c:v>112.5</c:v>
                </c:pt>
                <c:pt idx="30">
                  <c:v>115</c:v>
                </c:pt>
                <c:pt idx="31">
                  <c:v>117.5</c:v>
                </c:pt>
                <c:pt idx="32">
                  <c:v>120</c:v>
                </c:pt>
                <c:pt idx="33">
                  <c:v>122.5</c:v>
                </c:pt>
                <c:pt idx="34">
                  <c:v>125</c:v>
                </c:pt>
                <c:pt idx="35">
                  <c:v>127.5</c:v>
                </c:pt>
                <c:pt idx="36">
                  <c:v>130</c:v>
                </c:pt>
                <c:pt idx="37">
                  <c:v>132.5</c:v>
                </c:pt>
                <c:pt idx="38">
                  <c:v>135</c:v>
                </c:pt>
                <c:pt idx="39">
                  <c:v>137.5</c:v>
                </c:pt>
                <c:pt idx="40">
                  <c:v>140</c:v>
                </c:pt>
                <c:pt idx="41">
                  <c:v>142.5</c:v>
                </c:pt>
                <c:pt idx="42">
                  <c:v>145</c:v>
                </c:pt>
                <c:pt idx="43">
                  <c:v>147.5</c:v>
                </c:pt>
                <c:pt idx="44">
                  <c:v>150</c:v>
                </c:pt>
                <c:pt idx="45">
                  <c:v>152.5</c:v>
                </c:pt>
                <c:pt idx="46">
                  <c:v>155</c:v>
                </c:pt>
                <c:pt idx="47">
                  <c:v>157.5</c:v>
                </c:pt>
                <c:pt idx="48">
                  <c:v>160</c:v>
                </c:pt>
                <c:pt idx="49">
                  <c:v>162.5</c:v>
                </c:pt>
                <c:pt idx="50">
                  <c:v>165</c:v>
                </c:pt>
                <c:pt idx="51">
                  <c:v>167.5</c:v>
                </c:pt>
                <c:pt idx="52">
                  <c:v>170</c:v>
                </c:pt>
                <c:pt idx="53">
                  <c:v>172.5</c:v>
                </c:pt>
                <c:pt idx="54">
                  <c:v>175</c:v>
                </c:pt>
                <c:pt idx="55">
                  <c:v>177.5</c:v>
                </c:pt>
                <c:pt idx="56">
                  <c:v>180</c:v>
                </c:pt>
                <c:pt idx="57">
                  <c:v>182.5</c:v>
                </c:pt>
                <c:pt idx="58">
                  <c:v>1000</c:v>
                </c:pt>
              </c:numCache>
            </c:numRef>
          </c:cat>
          <c:val>
            <c:numRef>
              <c:f>Sheet1!$B$3:$BH$3</c:f>
              <c:numCache>
                <c:formatCode>General</c:formatCode>
                <c:ptCount val="59"/>
                <c:pt idx="0">
                  <c:v>1.334288961550034</c:v>
                </c:pt>
                <c:pt idx="1">
                  <c:v>1.303963657054978</c:v>
                </c:pt>
                <c:pt idx="2">
                  <c:v>1.2782113063669041</c:v>
                </c:pt>
                <c:pt idx="3">
                  <c:v>1.2574625644974611</c:v>
                </c:pt>
                <c:pt idx="4">
                  <c:v>1.242199778377574</c:v>
                </c:pt>
                <c:pt idx="5">
                  <c:v>1.1901183998702221</c:v>
                </c:pt>
                <c:pt idx="6">
                  <c:v>1.1321969517134729</c:v>
                </c:pt>
                <c:pt idx="7">
                  <c:v>1.0914265018023139</c:v>
                </c:pt>
                <c:pt idx="8">
                  <c:v>1.052411201155353</c:v>
                </c:pt>
                <c:pt idx="9">
                  <c:v>1.0116343185216889</c:v>
                </c:pt>
                <c:pt idx="10">
                  <c:v>0.97204108552979251</c:v>
                </c:pt>
                <c:pt idx="11">
                  <c:v>0.93794071664301326</c:v>
                </c:pt>
                <c:pt idx="12">
                  <c:v>0.90993466561819203</c:v>
                </c:pt>
                <c:pt idx="13">
                  <c:v>0.83789940296794729</c:v>
                </c:pt>
                <c:pt idx="14">
                  <c:v>0.76286791792968922</c:v>
                </c:pt>
                <c:pt idx="15">
                  <c:v>0.71368385881960594</c:v>
                </c:pt>
                <c:pt idx="16">
                  <c:v>0.67376262166502143</c:v>
                </c:pt>
                <c:pt idx="17">
                  <c:v>0.5720329891910183</c:v>
                </c:pt>
                <c:pt idx="18">
                  <c:v>0.48212549338624783</c:v>
                </c:pt>
                <c:pt idx="19">
                  <c:v>0.41603362128185079</c:v>
                </c:pt>
                <c:pt idx="20">
                  <c:v>0.3776906750518027</c:v>
                </c:pt>
                <c:pt idx="21">
                  <c:v>0.34712800093923152</c:v>
                </c:pt>
                <c:pt idx="22">
                  <c:v>0.26565885559545099</c:v>
                </c:pt>
                <c:pt idx="23">
                  <c:v>0.19075987679690101</c:v>
                </c:pt>
                <c:pt idx="24">
                  <c:v>0.1431555965678222</c:v>
                </c:pt>
                <c:pt idx="25">
                  <c:v>0.1185881293007324</c:v>
                </c:pt>
                <c:pt idx="26">
                  <c:v>0.13367045191966989</c:v>
                </c:pt>
                <c:pt idx="27">
                  <c:v>0.1878358941295353</c:v>
                </c:pt>
                <c:pt idx="28">
                  <c:v>0.19594798824909171</c:v>
                </c:pt>
                <c:pt idx="29">
                  <c:v>0.2125964369876647</c:v>
                </c:pt>
                <c:pt idx="30">
                  <c:v>0.2323386541820068</c:v>
                </c:pt>
                <c:pt idx="31">
                  <c:v>0.2481937709868246</c:v>
                </c:pt>
                <c:pt idx="32">
                  <c:v>0.26366463048400152</c:v>
                </c:pt>
                <c:pt idx="33">
                  <c:v>0.27748068883403398</c:v>
                </c:pt>
                <c:pt idx="34">
                  <c:v>0.28924519796294362</c:v>
                </c:pt>
                <c:pt idx="35">
                  <c:v>0.30040040535247609</c:v>
                </c:pt>
                <c:pt idx="36">
                  <c:v>0.31100407965167798</c:v>
                </c:pt>
                <c:pt idx="37">
                  <c:v>0.32165421224099028</c:v>
                </c:pt>
                <c:pt idx="38">
                  <c:v>0.33143964139920518</c:v>
                </c:pt>
                <c:pt idx="39">
                  <c:v>0.340145062090905</c:v>
                </c:pt>
                <c:pt idx="40">
                  <c:v>0.34860151140591261</c:v>
                </c:pt>
                <c:pt idx="41">
                  <c:v>0.35673753385552393</c:v>
                </c:pt>
                <c:pt idx="42">
                  <c:v>0.36477423879688659</c:v>
                </c:pt>
                <c:pt idx="43">
                  <c:v>0.37273888821129247</c:v>
                </c:pt>
                <c:pt idx="44">
                  <c:v>0.38043340965922429</c:v>
                </c:pt>
                <c:pt idx="45">
                  <c:v>0.38838522864939401</c:v>
                </c:pt>
                <c:pt idx="46">
                  <c:v>0.3954267359440099</c:v>
                </c:pt>
                <c:pt idx="47">
                  <c:v>0.40127594773843522</c:v>
                </c:pt>
                <c:pt idx="48">
                  <c:v>0.40702130667657932</c:v>
                </c:pt>
                <c:pt idx="49">
                  <c:v>0.41195102979284892</c:v>
                </c:pt>
                <c:pt idx="50">
                  <c:v>0.41767231231040092</c:v>
                </c:pt>
                <c:pt idx="51">
                  <c:v>0.4246226499557198</c:v>
                </c:pt>
                <c:pt idx="52">
                  <c:v>0.43137057900144171</c:v>
                </c:pt>
                <c:pt idx="53">
                  <c:v>0.44053693994637028</c:v>
                </c:pt>
                <c:pt idx="54">
                  <c:v>0.44649444920239739</c:v>
                </c:pt>
                <c:pt idx="55">
                  <c:v>0.44734742151921802</c:v>
                </c:pt>
                <c:pt idx="56">
                  <c:v>3.9775037854083019E-2</c:v>
                </c:pt>
                <c:pt idx="57">
                  <c:v>0.21815930270542791</c:v>
                </c:pt>
                <c:pt idx="58">
                  <c:v>0.3100542645122824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BE2-48CC-8485-F6B125FAE53C}"/>
            </c:ext>
          </c:extLst>
        </c:ser>
        <c:ser>
          <c:idx val="2"/>
          <c:order val="2"/>
          <c:tx>
            <c:strRef>
              <c:f>Sheet1!$A$4</c:f>
              <c:strCache>
                <c:ptCount val="1"/>
                <c:pt idx="0">
                  <c:v>0.161643836</c:v>
                </c:pt>
              </c:strCache>
            </c:strRef>
          </c:tx>
          <c:spPr>
            <a:gradFill rotWithShape="1">
              <a:gsLst>
                <a:gs pos="0">
                  <a:schemeClr val="accent3">
                    <a:tint val="50000"/>
                    <a:satMod val="300000"/>
                  </a:schemeClr>
                </a:gs>
                <a:gs pos="35000">
                  <a:schemeClr val="accent3">
                    <a:tint val="37000"/>
                    <a:satMod val="300000"/>
                  </a:schemeClr>
                </a:gs>
                <a:gs pos="100000">
                  <a:schemeClr val="accent3">
                    <a:tint val="15000"/>
                    <a:satMod val="350000"/>
                  </a:schemeClr>
                </a:gs>
              </a:gsLst>
              <a:lin ang="16200000" scaled="1"/>
            </a:gradFill>
            <a:ln w="9525" cap="flat" cmpd="sng" algn="ctr">
              <a:solidFill>
                <a:schemeClr val="accent3">
                  <a:shade val="95000"/>
                </a:schemeClr>
              </a:solidFill>
              <a:round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  <a:sp3d contourW="9525">
              <a:contourClr>
                <a:schemeClr val="accent3">
                  <a:shade val="95000"/>
                </a:schemeClr>
              </a:contourClr>
            </a:sp3d>
          </c:spPr>
          <c:cat>
            <c:numRef>
              <c:f>Sheet1!$B$1:$BH$1</c:f>
              <c:numCache>
                <c:formatCode>General</c:formatCode>
                <c:ptCount val="59"/>
                <c:pt idx="0">
                  <c:v>40</c:v>
                </c:pt>
                <c:pt idx="1">
                  <c:v>42.5</c:v>
                </c:pt>
                <c:pt idx="2">
                  <c:v>45</c:v>
                </c:pt>
                <c:pt idx="3">
                  <c:v>47.5</c:v>
                </c:pt>
                <c:pt idx="4">
                  <c:v>50</c:v>
                </c:pt>
                <c:pt idx="5">
                  <c:v>52.5</c:v>
                </c:pt>
                <c:pt idx="6">
                  <c:v>55</c:v>
                </c:pt>
                <c:pt idx="7">
                  <c:v>57.5</c:v>
                </c:pt>
                <c:pt idx="8">
                  <c:v>60</c:v>
                </c:pt>
                <c:pt idx="9">
                  <c:v>62.5</c:v>
                </c:pt>
                <c:pt idx="10">
                  <c:v>65</c:v>
                </c:pt>
                <c:pt idx="11">
                  <c:v>67.5</c:v>
                </c:pt>
                <c:pt idx="12">
                  <c:v>70</c:v>
                </c:pt>
                <c:pt idx="13">
                  <c:v>72.5</c:v>
                </c:pt>
                <c:pt idx="14">
                  <c:v>75</c:v>
                </c:pt>
                <c:pt idx="15">
                  <c:v>77.5</c:v>
                </c:pt>
                <c:pt idx="16">
                  <c:v>80</c:v>
                </c:pt>
                <c:pt idx="17">
                  <c:v>82.5</c:v>
                </c:pt>
                <c:pt idx="18">
                  <c:v>85</c:v>
                </c:pt>
                <c:pt idx="19">
                  <c:v>87.5</c:v>
                </c:pt>
                <c:pt idx="20">
                  <c:v>90</c:v>
                </c:pt>
                <c:pt idx="21">
                  <c:v>92.5</c:v>
                </c:pt>
                <c:pt idx="22">
                  <c:v>95</c:v>
                </c:pt>
                <c:pt idx="23">
                  <c:v>97.5</c:v>
                </c:pt>
                <c:pt idx="24">
                  <c:v>100</c:v>
                </c:pt>
                <c:pt idx="25">
                  <c:v>102.5</c:v>
                </c:pt>
                <c:pt idx="26">
                  <c:v>105</c:v>
                </c:pt>
                <c:pt idx="27">
                  <c:v>107.5</c:v>
                </c:pt>
                <c:pt idx="28">
                  <c:v>110</c:v>
                </c:pt>
                <c:pt idx="29">
                  <c:v>112.5</c:v>
                </c:pt>
                <c:pt idx="30">
                  <c:v>115</c:v>
                </c:pt>
                <c:pt idx="31">
                  <c:v>117.5</c:v>
                </c:pt>
                <c:pt idx="32">
                  <c:v>120</c:v>
                </c:pt>
                <c:pt idx="33">
                  <c:v>122.5</c:v>
                </c:pt>
                <c:pt idx="34">
                  <c:v>125</c:v>
                </c:pt>
                <c:pt idx="35">
                  <c:v>127.5</c:v>
                </c:pt>
                <c:pt idx="36">
                  <c:v>130</c:v>
                </c:pt>
                <c:pt idx="37">
                  <c:v>132.5</c:v>
                </c:pt>
                <c:pt idx="38">
                  <c:v>135</c:v>
                </c:pt>
                <c:pt idx="39">
                  <c:v>137.5</c:v>
                </c:pt>
                <c:pt idx="40">
                  <c:v>140</c:v>
                </c:pt>
                <c:pt idx="41">
                  <c:v>142.5</c:v>
                </c:pt>
                <c:pt idx="42">
                  <c:v>145</c:v>
                </c:pt>
                <c:pt idx="43">
                  <c:v>147.5</c:v>
                </c:pt>
                <c:pt idx="44">
                  <c:v>150</c:v>
                </c:pt>
                <c:pt idx="45">
                  <c:v>152.5</c:v>
                </c:pt>
                <c:pt idx="46">
                  <c:v>155</c:v>
                </c:pt>
                <c:pt idx="47">
                  <c:v>157.5</c:v>
                </c:pt>
                <c:pt idx="48">
                  <c:v>160</c:v>
                </c:pt>
                <c:pt idx="49">
                  <c:v>162.5</c:v>
                </c:pt>
                <c:pt idx="50">
                  <c:v>165</c:v>
                </c:pt>
                <c:pt idx="51">
                  <c:v>167.5</c:v>
                </c:pt>
                <c:pt idx="52">
                  <c:v>170</c:v>
                </c:pt>
                <c:pt idx="53">
                  <c:v>172.5</c:v>
                </c:pt>
                <c:pt idx="54">
                  <c:v>175</c:v>
                </c:pt>
                <c:pt idx="55">
                  <c:v>177.5</c:v>
                </c:pt>
                <c:pt idx="56">
                  <c:v>180</c:v>
                </c:pt>
                <c:pt idx="57">
                  <c:v>182.5</c:v>
                </c:pt>
                <c:pt idx="58">
                  <c:v>1000</c:v>
                </c:pt>
              </c:numCache>
            </c:numRef>
          </c:cat>
          <c:val>
            <c:numRef>
              <c:f>Sheet1!$B$4:$BH$4</c:f>
              <c:numCache>
                <c:formatCode>General</c:formatCode>
                <c:ptCount val="59"/>
                <c:pt idx="0">
                  <c:v>1.2613003851222899</c:v>
                </c:pt>
                <c:pt idx="1">
                  <c:v>1.215772215711278</c:v>
                </c:pt>
                <c:pt idx="2">
                  <c:v>1.1747496262018431</c:v>
                </c:pt>
                <c:pt idx="3">
                  <c:v>1.13818053578397</c:v>
                </c:pt>
                <c:pt idx="4">
                  <c:v>1.1060698855113491</c:v>
                </c:pt>
                <c:pt idx="5">
                  <c:v>1.0608021986076901</c:v>
                </c:pt>
                <c:pt idx="6">
                  <c:v>1.017368713493086</c:v>
                </c:pt>
                <c:pt idx="7">
                  <c:v>0.98677689263824919</c:v>
                </c:pt>
                <c:pt idx="8">
                  <c:v>0.96236745420160563</c:v>
                </c:pt>
                <c:pt idx="9">
                  <c:v>0.91083010161720268</c:v>
                </c:pt>
                <c:pt idx="10">
                  <c:v>0.86179383869203618</c:v>
                </c:pt>
                <c:pt idx="11">
                  <c:v>0.83407720462285495</c:v>
                </c:pt>
                <c:pt idx="12">
                  <c:v>0.81308036266594252</c:v>
                </c:pt>
                <c:pt idx="13">
                  <c:v>0.71088155806143716</c:v>
                </c:pt>
                <c:pt idx="14">
                  <c:v>0.62298362690962905</c:v>
                </c:pt>
                <c:pt idx="15">
                  <c:v>0.57062772155672081</c:v>
                </c:pt>
                <c:pt idx="16">
                  <c:v>0.51830515686910228</c:v>
                </c:pt>
                <c:pt idx="17">
                  <c:v>0.48346428544514819</c:v>
                </c:pt>
                <c:pt idx="18">
                  <c:v>0.44970905021929691</c:v>
                </c:pt>
                <c:pt idx="19">
                  <c:v>0.40730010599020072</c:v>
                </c:pt>
                <c:pt idx="20">
                  <c:v>0.3787526866553878</c:v>
                </c:pt>
                <c:pt idx="21">
                  <c:v>0.35083083978542318</c:v>
                </c:pt>
                <c:pt idx="22">
                  <c:v>0.27317813898728283</c:v>
                </c:pt>
                <c:pt idx="23">
                  <c:v>0.2075243254741852</c:v>
                </c:pt>
                <c:pt idx="24">
                  <c:v>0.16359559290379971</c:v>
                </c:pt>
                <c:pt idx="25">
                  <c:v>0.1337633815993447</c:v>
                </c:pt>
                <c:pt idx="26">
                  <c:v>0.13328561689935919</c:v>
                </c:pt>
                <c:pt idx="27">
                  <c:v>0.15702249873675081</c:v>
                </c:pt>
                <c:pt idx="28">
                  <c:v>0.17108223846464379</c:v>
                </c:pt>
                <c:pt idx="29">
                  <c:v>0.2047262022182243</c:v>
                </c:pt>
                <c:pt idx="30">
                  <c:v>0.2359491285792609</c:v>
                </c:pt>
                <c:pt idx="31">
                  <c:v>0.23689860458834569</c:v>
                </c:pt>
                <c:pt idx="32">
                  <c:v>0.2438376765191359</c:v>
                </c:pt>
                <c:pt idx="33">
                  <c:v>0.25540093148471582</c:v>
                </c:pt>
                <c:pt idx="34">
                  <c:v>0.26673796250392717</c:v>
                </c:pt>
                <c:pt idx="35">
                  <c:v>0.27654931126881688</c:v>
                </c:pt>
                <c:pt idx="36">
                  <c:v>0.28610791269704672</c:v>
                </c:pt>
                <c:pt idx="37">
                  <c:v>0.29575507318937649</c:v>
                </c:pt>
                <c:pt idx="38">
                  <c:v>0.30452895613002218</c:v>
                </c:pt>
                <c:pt idx="39">
                  <c:v>0.31224323648993768</c:v>
                </c:pt>
                <c:pt idx="40">
                  <c:v>0.31988877622539252</c:v>
                </c:pt>
                <c:pt idx="41">
                  <c:v>0.32798698161040302</c:v>
                </c:pt>
                <c:pt idx="42">
                  <c:v>0.33547122613683172</c:v>
                </c:pt>
                <c:pt idx="43">
                  <c:v>0.3419339610457609</c:v>
                </c:pt>
                <c:pt idx="44">
                  <c:v>0.34828096955316368</c:v>
                </c:pt>
                <c:pt idx="45">
                  <c:v>0.35412392137636878</c:v>
                </c:pt>
                <c:pt idx="46">
                  <c:v>0.36023793101274432</c:v>
                </c:pt>
                <c:pt idx="47">
                  <c:v>0.36690522223756439</c:v>
                </c:pt>
                <c:pt idx="48">
                  <c:v>0.37346149158213998</c:v>
                </c:pt>
                <c:pt idx="49">
                  <c:v>0.3804788200486674</c:v>
                </c:pt>
                <c:pt idx="50">
                  <c:v>0.3868869951958821</c:v>
                </c:pt>
                <c:pt idx="51">
                  <c:v>0.39220044356957018</c:v>
                </c:pt>
                <c:pt idx="52">
                  <c:v>0.39732475639582371</c:v>
                </c:pt>
                <c:pt idx="53">
                  <c:v>0.40535634444773888</c:v>
                </c:pt>
                <c:pt idx="54">
                  <c:v>0.41061186383435339</c:v>
                </c:pt>
                <c:pt idx="55">
                  <c:v>0.41076920895754859</c:v>
                </c:pt>
                <c:pt idx="56">
                  <c:v>3.0957007735320789E-2</c:v>
                </c:pt>
                <c:pt idx="57">
                  <c:v>0.19782615345816179</c:v>
                </c:pt>
                <c:pt idx="58">
                  <c:v>0.2694169177192585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DBE2-48CC-8485-F6B125FAE53C}"/>
            </c:ext>
          </c:extLst>
        </c:ser>
        <c:ser>
          <c:idx val="3"/>
          <c:order val="3"/>
          <c:tx>
            <c:strRef>
              <c:f>Sheet1!$A$5</c:f>
              <c:strCache>
                <c:ptCount val="1"/>
                <c:pt idx="0">
                  <c:v>0.246575342</c:v>
                </c:pt>
              </c:strCache>
            </c:strRef>
          </c:tx>
          <c:spPr>
            <a:gradFill rotWithShape="1">
              <a:gsLst>
                <a:gs pos="0">
                  <a:schemeClr val="accent4">
                    <a:tint val="50000"/>
                    <a:satMod val="300000"/>
                  </a:schemeClr>
                </a:gs>
                <a:gs pos="35000">
                  <a:schemeClr val="accent4">
                    <a:tint val="37000"/>
                    <a:satMod val="300000"/>
                  </a:schemeClr>
                </a:gs>
                <a:gs pos="100000">
                  <a:schemeClr val="accent4">
                    <a:tint val="15000"/>
                    <a:satMod val="350000"/>
                  </a:schemeClr>
                </a:gs>
              </a:gsLst>
              <a:lin ang="16200000" scaled="1"/>
            </a:gradFill>
            <a:ln w="9525" cap="flat" cmpd="sng" algn="ctr">
              <a:solidFill>
                <a:schemeClr val="accent4">
                  <a:shade val="95000"/>
                </a:schemeClr>
              </a:solidFill>
              <a:round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  <a:sp3d contourW="9525">
              <a:contourClr>
                <a:schemeClr val="accent4">
                  <a:shade val="95000"/>
                </a:schemeClr>
              </a:contourClr>
            </a:sp3d>
          </c:spPr>
          <c:cat>
            <c:numRef>
              <c:f>Sheet1!$B$1:$BH$1</c:f>
              <c:numCache>
                <c:formatCode>General</c:formatCode>
                <c:ptCount val="59"/>
                <c:pt idx="0">
                  <c:v>40</c:v>
                </c:pt>
                <c:pt idx="1">
                  <c:v>42.5</c:v>
                </c:pt>
                <c:pt idx="2">
                  <c:v>45</c:v>
                </c:pt>
                <c:pt idx="3">
                  <c:v>47.5</c:v>
                </c:pt>
                <c:pt idx="4">
                  <c:v>50</c:v>
                </c:pt>
                <c:pt idx="5">
                  <c:v>52.5</c:v>
                </c:pt>
                <c:pt idx="6">
                  <c:v>55</c:v>
                </c:pt>
                <c:pt idx="7">
                  <c:v>57.5</c:v>
                </c:pt>
                <c:pt idx="8">
                  <c:v>60</c:v>
                </c:pt>
                <c:pt idx="9">
                  <c:v>62.5</c:v>
                </c:pt>
                <c:pt idx="10">
                  <c:v>65</c:v>
                </c:pt>
                <c:pt idx="11">
                  <c:v>67.5</c:v>
                </c:pt>
                <c:pt idx="12">
                  <c:v>70</c:v>
                </c:pt>
                <c:pt idx="13">
                  <c:v>72.5</c:v>
                </c:pt>
                <c:pt idx="14">
                  <c:v>75</c:v>
                </c:pt>
                <c:pt idx="15">
                  <c:v>77.5</c:v>
                </c:pt>
                <c:pt idx="16">
                  <c:v>80</c:v>
                </c:pt>
                <c:pt idx="17">
                  <c:v>82.5</c:v>
                </c:pt>
                <c:pt idx="18">
                  <c:v>85</c:v>
                </c:pt>
                <c:pt idx="19">
                  <c:v>87.5</c:v>
                </c:pt>
                <c:pt idx="20">
                  <c:v>90</c:v>
                </c:pt>
                <c:pt idx="21">
                  <c:v>92.5</c:v>
                </c:pt>
                <c:pt idx="22">
                  <c:v>95</c:v>
                </c:pt>
                <c:pt idx="23">
                  <c:v>97.5</c:v>
                </c:pt>
                <c:pt idx="24">
                  <c:v>100</c:v>
                </c:pt>
                <c:pt idx="25">
                  <c:v>102.5</c:v>
                </c:pt>
                <c:pt idx="26">
                  <c:v>105</c:v>
                </c:pt>
                <c:pt idx="27">
                  <c:v>107.5</c:v>
                </c:pt>
                <c:pt idx="28">
                  <c:v>110</c:v>
                </c:pt>
                <c:pt idx="29">
                  <c:v>112.5</c:v>
                </c:pt>
                <c:pt idx="30">
                  <c:v>115</c:v>
                </c:pt>
                <c:pt idx="31">
                  <c:v>117.5</c:v>
                </c:pt>
                <c:pt idx="32">
                  <c:v>120</c:v>
                </c:pt>
                <c:pt idx="33">
                  <c:v>122.5</c:v>
                </c:pt>
                <c:pt idx="34">
                  <c:v>125</c:v>
                </c:pt>
                <c:pt idx="35">
                  <c:v>127.5</c:v>
                </c:pt>
                <c:pt idx="36">
                  <c:v>130</c:v>
                </c:pt>
                <c:pt idx="37">
                  <c:v>132.5</c:v>
                </c:pt>
                <c:pt idx="38">
                  <c:v>135</c:v>
                </c:pt>
                <c:pt idx="39">
                  <c:v>137.5</c:v>
                </c:pt>
                <c:pt idx="40">
                  <c:v>140</c:v>
                </c:pt>
                <c:pt idx="41">
                  <c:v>142.5</c:v>
                </c:pt>
                <c:pt idx="42">
                  <c:v>145</c:v>
                </c:pt>
                <c:pt idx="43">
                  <c:v>147.5</c:v>
                </c:pt>
                <c:pt idx="44">
                  <c:v>150</c:v>
                </c:pt>
                <c:pt idx="45">
                  <c:v>152.5</c:v>
                </c:pt>
                <c:pt idx="46">
                  <c:v>155</c:v>
                </c:pt>
                <c:pt idx="47">
                  <c:v>157.5</c:v>
                </c:pt>
                <c:pt idx="48">
                  <c:v>160</c:v>
                </c:pt>
                <c:pt idx="49">
                  <c:v>162.5</c:v>
                </c:pt>
                <c:pt idx="50">
                  <c:v>165</c:v>
                </c:pt>
                <c:pt idx="51">
                  <c:v>167.5</c:v>
                </c:pt>
                <c:pt idx="52">
                  <c:v>170</c:v>
                </c:pt>
                <c:pt idx="53">
                  <c:v>172.5</c:v>
                </c:pt>
                <c:pt idx="54">
                  <c:v>175</c:v>
                </c:pt>
                <c:pt idx="55">
                  <c:v>177.5</c:v>
                </c:pt>
                <c:pt idx="56">
                  <c:v>180</c:v>
                </c:pt>
                <c:pt idx="57">
                  <c:v>182.5</c:v>
                </c:pt>
                <c:pt idx="58">
                  <c:v>1000</c:v>
                </c:pt>
              </c:numCache>
            </c:numRef>
          </c:cat>
          <c:val>
            <c:numRef>
              <c:f>Sheet1!$B$5:$BH$5</c:f>
              <c:numCache>
                <c:formatCode>General</c:formatCode>
                <c:ptCount val="59"/>
                <c:pt idx="0">
                  <c:v>1.011546446790335</c:v>
                </c:pt>
                <c:pt idx="1">
                  <c:v>0.9807022394008178</c:v>
                </c:pt>
                <c:pt idx="2">
                  <c:v>0.95380743778856381</c:v>
                </c:pt>
                <c:pt idx="3">
                  <c:v>0.93079709642115527</c:v>
                </c:pt>
                <c:pt idx="4">
                  <c:v>0.91153301020373945</c:v>
                </c:pt>
                <c:pt idx="5">
                  <c:v>0.86775133519689274</c:v>
                </c:pt>
                <c:pt idx="6">
                  <c:v>0.82679742343167228</c:v>
                </c:pt>
                <c:pt idx="7">
                  <c:v>0.80159231137673026</c:v>
                </c:pt>
                <c:pt idx="8">
                  <c:v>0.77847011909911346</c:v>
                </c:pt>
                <c:pt idx="9">
                  <c:v>0.72481422296558118</c:v>
                </c:pt>
                <c:pt idx="10">
                  <c:v>0.6745072674189182</c:v>
                </c:pt>
                <c:pt idx="11">
                  <c:v>0.64049552535688681</c:v>
                </c:pt>
                <c:pt idx="12">
                  <c:v>0.6068214802563513</c:v>
                </c:pt>
                <c:pt idx="13">
                  <c:v>0.55978038871339164</c:v>
                </c:pt>
                <c:pt idx="14">
                  <c:v>0.51464187265324179</c:v>
                </c:pt>
                <c:pt idx="15">
                  <c:v>0.47688610874384252</c:v>
                </c:pt>
                <c:pt idx="16">
                  <c:v>0.43976692724011912</c:v>
                </c:pt>
                <c:pt idx="17">
                  <c:v>0.42168684209324092</c:v>
                </c:pt>
                <c:pt idx="18">
                  <c:v>0.40457525900188063</c:v>
                </c:pt>
                <c:pt idx="19">
                  <c:v>0.37623292826426241</c:v>
                </c:pt>
                <c:pt idx="20">
                  <c:v>0.35208996530975017</c:v>
                </c:pt>
                <c:pt idx="21">
                  <c:v>0.32634604700892861</c:v>
                </c:pt>
                <c:pt idx="22">
                  <c:v>0.26323427584217729</c:v>
                </c:pt>
                <c:pt idx="23">
                  <c:v>0.21150712793412821</c:v>
                </c:pt>
                <c:pt idx="24">
                  <c:v>0.17302699124822671</c:v>
                </c:pt>
                <c:pt idx="25">
                  <c:v>0.1446574143487</c:v>
                </c:pt>
                <c:pt idx="26">
                  <c:v>0.14133722172710689</c:v>
                </c:pt>
                <c:pt idx="27">
                  <c:v>0.15045860753270529</c:v>
                </c:pt>
                <c:pt idx="28">
                  <c:v>0.15152803162158171</c:v>
                </c:pt>
                <c:pt idx="29">
                  <c:v>0.1641846482233319</c:v>
                </c:pt>
                <c:pt idx="30">
                  <c:v>0.1816738929875234</c:v>
                </c:pt>
                <c:pt idx="31">
                  <c:v>0.19470961020370731</c:v>
                </c:pt>
                <c:pt idx="32">
                  <c:v>0.2262853642256345</c:v>
                </c:pt>
                <c:pt idx="33">
                  <c:v>0.25450668736157511</c:v>
                </c:pt>
                <c:pt idx="34">
                  <c:v>0.240873928729188</c:v>
                </c:pt>
                <c:pt idx="35">
                  <c:v>0.23806908347996189</c:v>
                </c:pt>
                <c:pt idx="36">
                  <c:v>0.2456220079156522</c:v>
                </c:pt>
                <c:pt idx="37">
                  <c:v>0.25186804997883439</c:v>
                </c:pt>
                <c:pt idx="38">
                  <c:v>0.25801891337088961</c:v>
                </c:pt>
                <c:pt idx="39">
                  <c:v>0.26482543379296419</c:v>
                </c:pt>
                <c:pt idx="40">
                  <c:v>0.27155298893759178</c:v>
                </c:pt>
                <c:pt idx="41">
                  <c:v>0.27910284650555511</c:v>
                </c:pt>
                <c:pt idx="42">
                  <c:v>0.28584100094571763</c:v>
                </c:pt>
                <c:pt idx="43">
                  <c:v>0.29109115017550841</c:v>
                </c:pt>
                <c:pt idx="44">
                  <c:v>0.2963292275743088</c:v>
                </c:pt>
                <c:pt idx="45">
                  <c:v>0.30120456528530137</c:v>
                </c:pt>
                <c:pt idx="46">
                  <c:v>0.30634001790940718</c:v>
                </c:pt>
                <c:pt idx="47">
                  <c:v>0.31193915402338329</c:v>
                </c:pt>
                <c:pt idx="48">
                  <c:v>0.31741508140229652</c:v>
                </c:pt>
                <c:pt idx="49">
                  <c:v>0.32471305380438331</c:v>
                </c:pt>
                <c:pt idx="50">
                  <c:v>0.33051320341187063</c:v>
                </c:pt>
                <c:pt idx="51">
                  <c:v>0.3333619501209712</c:v>
                </c:pt>
                <c:pt idx="52">
                  <c:v>0.33632211027795689</c:v>
                </c:pt>
                <c:pt idx="53">
                  <c:v>0.34202520578753431</c:v>
                </c:pt>
                <c:pt idx="54">
                  <c:v>0.34596177450020121</c:v>
                </c:pt>
                <c:pt idx="55">
                  <c:v>0.34600875077076898</c:v>
                </c:pt>
                <c:pt idx="56">
                  <c:v>2.343531518160832E-2</c:v>
                </c:pt>
                <c:pt idx="57">
                  <c:v>0.16660287571352889</c:v>
                </c:pt>
                <c:pt idx="58">
                  <c:v>0.2151606227820893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DBE2-48CC-8485-F6B125FAE53C}"/>
            </c:ext>
          </c:extLst>
        </c:ser>
        <c:ser>
          <c:idx val="4"/>
          <c:order val="4"/>
          <c:tx>
            <c:strRef>
              <c:f>Sheet1!$A$6</c:f>
              <c:strCache>
                <c:ptCount val="1"/>
                <c:pt idx="0">
                  <c:v>0.495890411</c:v>
                </c:pt>
              </c:strCache>
            </c:strRef>
          </c:tx>
          <c:spPr>
            <a:gradFill rotWithShape="1">
              <a:gsLst>
                <a:gs pos="0">
                  <a:schemeClr val="accent5">
                    <a:tint val="50000"/>
                    <a:satMod val="300000"/>
                  </a:schemeClr>
                </a:gs>
                <a:gs pos="35000">
                  <a:schemeClr val="accent5">
                    <a:tint val="37000"/>
                    <a:satMod val="300000"/>
                  </a:schemeClr>
                </a:gs>
                <a:gs pos="100000">
                  <a:schemeClr val="accent5">
                    <a:tint val="15000"/>
                    <a:satMod val="350000"/>
                  </a:schemeClr>
                </a:gs>
              </a:gsLst>
              <a:lin ang="16200000" scaled="1"/>
            </a:gradFill>
            <a:ln w="9525" cap="flat" cmpd="sng" algn="ctr">
              <a:solidFill>
                <a:schemeClr val="accent5">
                  <a:shade val="95000"/>
                </a:schemeClr>
              </a:solidFill>
              <a:round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  <a:sp3d contourW="9525">
              <a:contourClr>
                <a:schemeClr val="accent5">
                  <a:shade val="95000"/>
                </a:schemeClr>
              </a:contourClr>
            </a:sp3d>
          </c:spPr>
          <c:cat>
            <c:numRef>
              <c:f>Sheet1!$B$1:$BH$1</c:f>
              <c:numCache>
                <c:formatCode>General</c:formatCode>
                <c:ptCount val="59"/>
                <c:pt idx="0">
                  <c:v>40</c:v>
                </c:pt>
                <c:pt idx="1">
                  <c:v>42.5</c:v>
                </c:pt>
                <c:pt idx="2">
                  <c:v>45</c:v>
                </c:pt>
                <c:pt idx="3">
                  <c:v>47.5</c:v>
                </c:pt>
                <c:pt idx="4">
                  <c:v>50</c:v>
                </c:pt>
                <c:pt idx="5">
                  <c:v>52.5</c:v>
                </c:pt>
                <c:pt idx="6">
                  <c:v>55</c:v>
                </c:pt>
                <c:pt idx="7">
                  <c:v>57.5</c:v>
                </c:pt>
                <c:pt idx="8">
                  <c:v>60</c:v>
                </c:pt>
                <c:pt idx="9">
                  <c:v>62.5</c:v>
                </c:pt>
                <c:pt idx="10">
                  <c:v>65</c:v>
                </c:pt>
                <c:pt idx="11">
                  <c:v>67.5</c:v>
                </c:pt>
                <c:pt idx="12">
                  <c:v>70</c:v>
                </c:pt>
                <c:pt idx="13">
                  <c:v>72.5</c:v>
                </c:pt>
                <c:pt idx="14">
                  <c:v>75</c:v>
                </c:pt>
                <c:pt idx="15">
                  <c:v>77.5</c:v>
                </c:pt>
                <c:pt idx="16">
                  <c:v>80</c:v>
                </c:pt>
                <c:pt idx="17">
                  <c:v>82.5</c:v>
                </c:pt>
                <c:pt idx="18">
                  <c:v>85</c:v>
                </c:pt>
                <c:pt idx="19">
                  <c:v>87.5</c:v>
                </c:pt>
                <c:pt idx="20">
                  <c:v>90</c:v>
                </c:pt>
                <c:pt idx="21">
                  <c:v>92.5</c:v>
                </c:pt>
                <c:pt idx="22">
                  <c:v>95</c:v>
                </c:pt>
                <c:pt idx="23">
                  <c:v>97.5</c:v>
                </c:pt>
                <c:pt idx="24">
                  <c:v>100</c:v>
                </c:pt>
                <c:pt idx="25">
                  <c:v>102.5</c:v>
                </c:pt>
                <c:pt idx="26">
                  <c:v>105</c:v>
                </c:pt>
                <c:pt idx="27">
                  <c:v>107.5</c:v>
                </c:pt>
                <c:pt idx="28">
                  <c:v>110</c:v>
                </c:pt>
                <c:pt idx="29">
                  <c:v>112.5</c:v>
                </c:pt>
                <c:pt idx="30">
                  <c:v>115</c:v>
                </c:pt>
                <c:pt idx="31">
                  <c:v>117.5</c:v>
                </c:pt>
                <c:pt idx="32">
                  <c:v>120</c:v>
                </c:pt>
                <c:pt idx="33">
                  <c:v>122.5</c:v>
                </c:pt>
                <c:pt idx="34">
                  <c:v>125</c:v>
                </c:pt>
                <c:pt idx="35">
                  <c:v>127.5</c:v>
                </c:pt>
                <c:pt idx="36">
                  <c:v>130</c:v>
                </c:pt>
                <c:pt idx="37">
                  <c:v>132.5</c:v>
                </c:pt>
                <c:pt idx="38">
                  <c:v>135</c:v>
                </c:pt>
                <c:pt idx="39">
                  <c:v>137.5</c:v>
                </c:pt>
                <c:pt idx="40">
                  <c:v>140</c:v>
                </c:pt>
                <c:pt idx="41">
                  <c:v>142.5</c:v>
                </c:pt>
                <c:pt idx="42">
                  <c:v>145</c:v>
                </c:pt>
                <c:pt idx="43">
                  <c:v>147.5</c:v>
                </c:pt>
                <c:pt idx="44">
                  <c:v>150</c:v>
                </c:pt>
                <c:pt idx="45">
                  <c:v>152.5</c:v>
                </c:pt>
                <c:pt idx="46">
                  <c:v>155</c:v>
                </c:pt>
                <c:pt idx="47">
                  <c:v>157.5</c:v>
                </c:pt>
                <c:pt idx="48">
                  <c:v>160</c:v>
                </c:pt>
                <c:pt idx="49">
                  <c:v>162.5</c:v>
                </c:pt>
                <c:pt idx="50">
                  <c:v>165</c:v>
                </c:pt>
                <c:pt idx="51">
                  <c:v>167.5</c:v>
                </c:pt>
                <c:pt idx="52">
                  <c:v>170</c:v>
                </c:pt>
                <c:pt idx="53">
                  <c:v>172.5</c:v>
                </c:pt>
                <c:pt idx="54">
                  <c:v>175</c:v>
                </c:pt>
                <c:pt idx="55">
                  <c:v>177.5</c:v>
                </c:pt>
                <c:pt idx="56">
                  <c:v>180</c:v>
                </c:pt>
                <c:pt idx="57">
                  <c:v>182.5</c:v>
                </c:pt>
                <c:pt idx="58">
                  <c:v>1000</c:v>
                </c:pt>
              </c:numCache>
            </c:numRef>
          </c:cat>
          <c:val>
            <c:numRef>
              <c:f>Sheet1!$B$6:$BH$6</c:f>
              <c:numCache>
                <c:formatCode>General</c:formatCode>
                <c:ptCount val="59"/>
                <c:pt idx="0">
                  <c:v>0.79555366211706624</c:v>
                </c:pt>
                <c:pt idx="1">
                  <c:v>0.76790994858448114</c:v>
                </c:pt>
                <c:pt idx="2">
                  <c:v>0.74191373691618212</c:v>
                </c:pt>
                <c:pt idx="3">
                  <c:v>0.71739056985175664</c:v>
                </c:pt>
                <c:pt idx="4">
                  <c:v>0.69409712629944376</c:v>
                </c:pt>
                <c:pt idx="5">
                  <c:v>0.65912926522465176</c:v>
                </c:pt>
                <c:pt idx="6">
                  <c:v>0.62652026584352649</c:v>
                </c:pt>
                <c:pt idx="7">
                  <c:v>0.60166025260878242</c:v>
                </c:pt>
                <c:pt idx="8">
                  <c:v>0.57776306085065776</c:v>
                </c:pt>
                <c:pt idx="9">
                  <c:v>0.54807546548622088</c:v>
                </c:pt>
                <c:pt idx="10">
                  <c:v>0.51998484832730907</c:v>
                </c:pt>
                <c:pt idx="11">
                  <c:v>0.49654952458656859</c:v>
                </c:pt>
                <c:pt idx="12">
                  <c:v>0.47405385048350102</c:v>
                </c:pt>
                <c:pt idx="13">
                  <c:v>0.45298681690276549</c:v>
                </c:pt>
                <c:pt idx="14">
                  <c:v>0.43266336347960238</c:v>
                </c:pt>
                <c:pt idx="15">
                  <c:v>0.41163573091961092</c:v>
                </c:pt>
                <c:pt idx="16">
                  <c:v>0.38956653529273649</c:v>
                </c:pt>
                <c:pt idx="17">
                  <c:v>0.38320387604306089</c:v>
                </c:pt>
                <c:pt idx="18">
                  <c:v>0.37532033410233667</c:v>
                </c:pt>
                <c:pt idx="19">
                  <c:v>0.35489394403643981</c:v>
                </c:pt>
                <c:pt idx="20">
                  <c:v>0.32573709861034711</c:v>
                </c:pt>
                <c:pt idx="21">
                  <c:v>0.29674815829526008</c:v>
                </c:pt>
                <c:pt idx="22">
                  <c:v>0.25972639543566828</c:v>
                </c:pt>
                <c:pt idx="23">
                  <c:v>0.2259457741878122</c:v>
                </c:pt>
                <c:pt idx="24">
                  <c:v>0.1887331685917974</c:v>
                </c:pt>
                <c:pt idx="25">
                  <c:v>0.15988019759460001</c:v>
                </c:pt>
                <c:pt idx="26">
                  <c:v>0.14875972122092321</c:v>
                </c:pt>
                <c:pt idx="27">
                  <c:v>0.14093801611707929</c:v>
                </c:pt>
                <c:pt idx="28">
                  <c:v>0.1332556063771605</c:v>
                </c:pt>
                <c:pt idx="29">
                  <c:v>0.13624469002650749</c:v>
                </c:pt>
                <c:pt idx="30">
                  <c:v>0.1435793053208784</c:v>
                </c:pt>
                <c:pt idx="31">
                  <c:v>0.14779235617324249</c:v>
                </c:pt>
                <c:pt idx="32">
                  <c:v>0.15605433168652</c:v>
                </c:pt>
                <c:pt idx="33">
                  <c:v>0.1677493294124304</c:v>
                </c:pt>
                <c:pt idx="34">
                  <c:v>0.19781562374707831</c:v>
                </c:pt>
                <c:pt idx="35">
                  <c:v>0.2314287542996859</c:v>
                </c:pt>
                <c:pt idx="36">
                  <c:v>0.22561943966479139</c:v>
                </c:pt>
                <c:pt idx="37">
                  <c:v>0.21801324758283411</c:v>
                </c:pt>
                <c:pt idx="38">
                  <c:v>0.21682443144650901</c:v>
                </c:pt>
                <c:pt idx="39">
                  <c:v>0.22290985522165721</c:v>
                </c:pt>
                <c:pt idx="40">
                  <c:v>0.2285234973955442</c:v>
                </c:pt>
                <c:pt idx="41">
                  <c:v>0.23391372627340021</c:v>
                </c:pt>
                <c:pt idx="42">
                  <c:v>0.2387230801077688</c:v>
                </c:pt>
                <c:pt idx="43">
                  <c:v>0.24300599300884521</c:v>
                </c:pt>
                <c:pt idx="44">
                  <c:v>0.24730820261756151</c:v>
                </c:pt>
                <c:pt idx="45">
                  <c:v>0.25318435744970802</c:v>
                </c:pt>
                <c:pt idx="46">
                  <c:v>0.25820435244437773</c:v>
                </c:pt>
                <c:pt idx="47">
                  <c:v>0.26101135038980072</c:v>
                </c:pt>
                <c:pt idx="48">
                  <c:v>0.26377925107300038</c:v>
                </c:pt>
                <c:pt idx="49">
                  <c:v>0.26432593418444389</c:v>
                </c:pt>
                <c:pt idx="50">
                  <c:v>0.26607287539894559</c:v>
                </c:pt>
                <c:pt idx="51">
                  <c:v>0.27065551857096892</c:v>
                </c:pt>
                <c:pt idx="52">
                  <c:v>0.27517372392045109</c:v>
                </c:pt>
                <c:pt idx="53">
                  <c:v>0.28740053489557421</c:v>
                </c:pt>
                <c:pt idx="54">
                  <c:v>0.29610432312504231</c:v>
                </c:pt>
                <c:pt idx="55">
                  <c:v>0.29369417374699641</c:v>
                </c:pt>
                <c:pt idx="56">
                  <c:v>1.6872379076873341E-2</c:v>
                </c:pt>
                <c:pt idx="57">
                  <c:v>0.1369638246654917</c:v>
                </c:pt>
                <c:pt idx="58">
                  <c:v>0.138207138734206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DBE2-48CC-8485-F6B125FAE53C}"/>
            </c:ext>
          </c:extLst>
        </c:ser>
        <c:ser>
          <c:idx val="5"/>
          <c:order val="5"/>
          <c:tx>
            <c:strRef>
              <c:f>Sheet1!$A$7</c:f>
              <c:strCache>
                <c:ptCount val="1"/>
                <c:pt idx="0">
                  <c:v>0.747945205</c:v>
                </c:pt>
              </c:strCache>
            </c:strRef>
          </c:tx>
          <c:spPr>
            <a:gradFill rotWithShape="1">
              <a:gsLst>
                <a:gs pos="0">
                  <a:schemeClr val="accent6">
                    <a:tint val="50000"/>
                    <a:satMod val="300000"/>
                  </a:schemeClr>
                </a:gs>
                <a:gs pos="35000">
                  <a:schemeClr val="accent6">
                    <a:tint val="37000"/>
                    <a:satMod val="300000"/>
                  </a:schemeClr>
                </a:gs>
                <a:gs pos="100000">
                  <a:schemeClr val="accent6">
                    <a:tint val="15000"/>
                    <a:satMod val="350000"/>
                  </a:schemeClr>
                </a:gs>
              </a:gsLst>
              <a:lin ang="16200000" scaled="1"/>
            </a:gradFill>
            <a:ln w="9525" cap="flat" cmpd="sng" algn="ctr">
              <a:solidFill>
                <a:schemeClr val="accent6">
                  <a:shade val="95000"/>
                </a:schemeClr>
              </a:solidFill>
              <a:round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  <a:sp3d contourW="9525">
              <a:contourClr>
                <a:schemeClr val="accent6">
                  <a:shade val="95000"/>
                </a:schemeClr>
              </a:contourClr>
            </a:sp3d>
          </c:spPr>
          <c:cat>
            <c:numRef>
              <c:f>Sheet1!$B$1:$BH$1</c:f>
              <c:numCache>
                <c:formatCode>General</c:formatCode>
                <c:ptCount val="59"/>
                <c:pt idx="0">
                  <c:v>40</c:v>
                </c:pt>
                <c:pt idx="1">
                  <c:v>42.5</c:v>
                </c:pt>
                <c:pt idx="2">
                  <c:v>45</c:v>
                </c:pt>
                <c:pt idx="3">
                  <c:v>47.5</c:v>
                </c:pt>
                <c:pt idx="4">
                  <c:v>50</c:v>
                </c:pt>
                <c:pt idx="5">
                  <c:v>52.5</c:v>
                </c:pt>
                <c:pt idx="6">
                  <c:v>55</c:v>
                </c:pt>
                <c:pt idx="7">
                  <c:v>57.5</c:v>
                </c:pt>
                <c:pt idx="8">
                  <c:v>60</c:v>
                </c:pt>
                <c:pt idx="9">
                  <c:v>62.5</c:v>
                </c:pt>
                <c:pt idx="10">
                  <c:v>65</c:v>
                </c:pt>
                <c:pt idx="11">
                  <c:v>67.5</c:v>
                </c:pt>
                <c:pt idx="12">
                  <c:v>70</c:v>
                </c:pt>
                <c:pt idx="13">
                  <c:v>72.5</c:v>
                </c:pt>
                <c:pt idx="14">
                  <c:v>75</c:v>
                </c:pt>
                <c:pt idx="15">
                  <c:v>77.5</c:v>
                </c:pt>
                <c:pt idx="16">
                  <c:v>80</c:v>
                </c:pt>
                <c:pt idx="17">
                  <c:v>82.5</c:v>
                </c:pt>
                <c:pt idx="18">
                  <c:v>85</c:v>
                </c:pt>
                <c:pt idx="19">
                  <c:v>87.5</c:v>
                </c:pt>
                <c:pt idx="20">
                  <c:v>90</c:v>
                </c:pt>
                <c:pt idx="21">
                  <c:v>92.5</c:v>
                </c:pt>
                <c:pt idx="22">
                  <c:v>95</c:v>
                </c:pt>
                <c:pt idx="23">
                  <c:v>97.5</c:v>
                </c:pt>
                <c:pt idx="24">
                  <c:v>100</c:v>
                </c:pt>
                <c:pt idx="25">
                  <c:v>102.5</c:v>
                </c:pt>
                <c:pt idx="26">
                  <c:v>105</c:v>
                </c:pt>
                <c:pt idx="27">
                  <c:v>107.5</c:v>
                </c:pt>
                <c:pt idx="28">
                  <c:v>110</c:v>
                </c:pt>
                <c:pt idx="29">
                  <c:v>112.5</c:v>
                </c:pt>
                <c:pt idx="30">
                  <c:v>115</c:v>
                </c:pt>
                <c:pt idx="31">
                  <c:v>117.5</c:v>
                </c:pt>
                <c:pt idx="32">
                  <c:v>120</c:v>
                </c:pt>
                <c:pt idx="33">
                  <c:v>122.5</c:v>
                </c:pt>
                <c:pt idx="34">
                  <c:v>125</c:v>
                </c:pt>
                <c:pt idx="35">
                  <c:v>127.5</c:v>
                </c:pt>
                <c:pt idx="36">
                  <c:v>130</c:v>
                </c:pt>
                <c:pt idx="37">
                  <c:v>132.5</c:v>
                </c:pt>
                <c:pt idx="38">
                  <c:v>135</c:v>
                </c:pt>
                <c:pt idx="39">
                  <c:v>137.5</c:v>
                </c:pt>
                <c:pt idx="40">
                  <c:v>140</c:v>
                </c:pt>
                <c:pt idx="41">
                  <c:v>142.5</c:v>
                </c:pt>
                <c:pt idx="42">
                  <c:v>145</c:v>
                </c:pt>
                <c:pt idx="43">
                  <c:v>147.5</c:v>
                </c:pt>
                <c:pt idx="44">
                  <c:v>150</c:v>
                </c:pt>
                <c:pt idx="45">
                  <c:v>152.5</c:v>
                </c:pt>
                <c:pt idx="46">
                  <c:v>155</c:v>
                </c:pt>
                <c:pt idx="47">
                  <c:v>157.5</c:v>
                </c:pt>
                <c:pt idx="48">
                  <c:v>160</c:v>
                </c:pt>
                <c:pt idx="49">
                  <c:v>162.5</c:v>
                </c:pt>
                <c:pt idx="50">
                  <c:v>165</c:v>
                </c:pt>
                <c:pt idx="51">
                  <c:v>167.5</c:v>
                </c:pt>
                <c:pt idx="52">
                  <c:v>170</c:v>
                </c:pt>
                <c:pt idx="53">
                  <c:v>172.5</c:v>
                </c:pt>
                <c:pt idx="54">
                  <c:v>175</c:v>
                </c:pt>
                <c:pt idx="55">
                  <c:v>177.5</c:v>
                </c:pt>
                <c:pt idx="56">
                  <c:v>180</c:v>
                </c:pt>
                <c:pt idx="57">
                  <c:v>182.5</c:v>
                </c:pt>
                <c:pt idx="58">
                  <c:v>1000</c:v>
                </c:pt>
              </c:numCache>
            </c:numRef>
          </c:cat>
          <c:val>
            <c:numRef>
              <c:f>Sheet1!$B$7:$BH$7</c:f>
              <c:numCache>
                <c:formatCode>General</c:formatCode>
                <c:ptCount val="59"/>
                <c:pt idx="0">
                  <c:v>0.62192682127095333</c:v>
                </c:pt>
                <c:pt idx="1">
                  <c:v>0.60685675134858319</c:v>
                </c:pt>
                <c:pt idx="2">
                  <c:v>0.5912203842638275</c:v>
                </c:pt>
                <c:pt idx="3">
                  <c:v>0.57510682897398435</c:v>
                </c:pt>
                <c:pt idx="4">
                  <c:v>0.55851055920248482</c:v>
                </c:pt>
                <c:pt idx="5">
                  <c:v>0.53132424849349014</c:v>
                </c:pt>
                <c:pt idx="6">
                  <c:v>0.50542929580917517</c:v>
                </c:pt>
                <c:pt idx="7">
                  <c:v>0.48543712333847372</c:v>
                </c:pt>
                <c:pt idx="8">
                  <c:v>0.46603023392272519</c:v>
                </c:pt>
                <c:pt idx="9">
                  <c:v>0.44171928522676868</c:v>
                </c:pt>
                <c:pt idx="10">
                  <c:v>0.4189310840460107</c:v>
                </c:pt>
                <c:pt idx="11">
                  <c:v>0.3999759403881174</c:v>
                </c:pt>
                <c:pt idx="12">
                  <c:v>0.38167450395677238</c:v>
                </c:pt>
                <c:pt idx="13">
                  <c:v>0.38095021957703568</c:v>
                </c:pt>
                <c:pt idx="14">
                  <c:v>0.38008257966726211</c:v>
                </c:pt>
                <c:pt idx="15">
                  <c:v>0.36704445016121501</c:v>
                </c:pt>
                <c:pt idx="16">
                  <c:v>0.35367473596404148</c:v>
                </c:pt>
                <c:pt idx="17">
                  <c:v>0.33986451514534038</c:v>
                </c:pt>
                <c:pt idx="18">
                  <c:v>0.32561352709954983</c:v>
                </c:pt>
                <c:pt idx="19">
                  <c:v>0.31069529109933802</c:v>
                </c:pt>
                <c:pt idx="20">
                  <c:v>0.2959569969765955</c:v>
                </c:pt>
                <c:pt idx="21">
                  <c:v>0.28013493815538271</c:v>
                </c:pt>
                <c:pt idx="22">
                  <c:v>0.25091148288090309</c:v>
                </c:pt>
                <c:pt idx="23">
                  <c:v>0.22439120496886711</c:v>
                </c:pt>
                <c:pt idx="24">
                  <c:v>0.193339805837215</c:v>
                </c:pt>
                <c:pt idx="25">
                  <c:v>0.16843518760947129</c:v>
                </c:pt>
                <c:pt idx="26">
                  <c:v>0.15297577602125981</c:v>
                </c:pt>
                <c:pt idx="27">
                  <c:v>0.14020300790836049</c:v>
                </c:pt>
                <c:pt idx="28">
                  <c:v>0.13281010805879881</c:v>
                </c:pt>
                <c:pt idx="29">
                  <c:v>0.1359822272899647</c:v>
                </c:pt>
                <c:pt idx="30">
                  <c:v>0.14190080685358189</c:v>
                </c:pt>
                <c:pt idx="31">
                  <c:v>0.1428546684709551</c:v>
                </c:pt>
                <c:pt idx="32">
                  <c:v>0.14916805402477351</c:v>
                </c:pt>
                <c:pt idx="33">
                  <c:v>0.15905092900308301</c:v>
                </c:pt>
                <c:pt idx="34">
                  <c:v>0.17197386277180571</c:v>
                </c:pt>
                <c:pt idx="35">
                  <c:v>0.18569965446715919</c:v>
                </c:pt>
                <c:pt idx="36">
                  <c:v>0.19561651087258811</c:v>
                </c:pt>
                <c:pt idx="37">
                  <c:v>0.22153439025850499</c:v>
                </c:pt>
                <c:pt idx="38">
                  <c:v>0.24662366051552109</c:v>
                </c:pt>
                <c:pt idx="39">
                  <c:v>0.24749726114331269</c:v>
                </c:pt>
                <c:pt idx="40">
                  <c:v>0.24814976740421529</c:v>
                </c:pt>
                <c:pt idx="41">
                  <c:v>0.24453042937160069</c:v>
                </c:pt>
                <c:pt idx="42">
                  <c:v>0.24331932418670171</c:v>
                </c:pt>
                <c:pt idx="43">
                  <c:v>0.2469528604068916</c:v>
                </c:pt>
                <c:pt idx="44">
                  <c:v>0.2498860762380912</c:v>
                </c:pt>
                <c:pt idx="45">
                  <c:v>0.25409203633791683</c:v>
                </c:pt>
                <c:pt idx="46">
                  <c:v>0.25656299471078792</c:v>
                </c:pt>
                <c:pt idx="47">
                  <c:v>0.25599200145986578</c:v>
                </c:pt>
                <c:pt idx="48">
                  <c:v>0.25547994020277542</c:v>
                </c:pt>
                <c:pt idx="49">
                  <c:v>0.25420877440865619</c:v>
                </c:pt>
                <c:pt idx="50">
                  <c:v>0.25344128110995168</c:v>
                </c:pt>
                <c:pt idx="51">
                  <c:v>0.25365039249912452</c:v>
                </c:pt>
                <c:pt idx="52">
                  <c:v>0.2536214035720486</c:v>
                </c:pt>
                <c:pt idx="53">
                  <c:v>0.25881968796813798</c:v>
                </c:pt>
                <c:pt idx="54">
                  <c:v>0.26135862716652353</c:v>
                </c:pt>
                <c:pt idx="55">
                  <c:v>0.25641723007634087</c:v>
                </c:pt>
                <c:pt idx="56">
                  <c:v>1.5957834287583929E-2</c:v>
                </c:pt>
                <c:pt idx="57">
                  <c:v>0.13077551504032589</c:v>
                </c:pt>
                <c:pt idx="58">
                  <c:v>3.1622776601683791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DBE2-48CC-8485-F6B125FAE53C}"/>
            </c:ext>
          </c:extLst>
        </c:ser>
        <c:ser>
          <c:idx val="6"/>
          <c:order val="6"/>
          <c:tx>
            <c:strRef>
              <c:f>Sheet1!$A$8</c:f>
              <c:strCache>
                <c:ptCount val="1"/>
                <c:pt idx="0">
                  <c:v>0.997260274</c:v>
                </c:pt>
              </c:strCache>
            </c:strRef>
          </c:tx>
          <c:spPr>
            <a:gradFill rotWithShape="1">
              <a:gsLst>
                <a:gs pos="0">
                  <a:schemeClr val="accent1">
                    <a:lumMod val="60000"/>
                    <a:tint val="50000"/>
                    <a:satMod val="300000"/>
                  </a:schemeClr>
                </a:gs>
                <a:gs pos="35000">
                  <a:schemeClr val="accent1">
                    <a:lumMod val="60000"/>
                    <a:tint val="37000"/>
                    <a:satMod val="300000"/>
                  </a:schemeClr>
                </a:gs>
                <a:gs pos="100000">
                  <a:schemeClr val="accent1">
                    <a:lumMod val="60000"/>
                    <a:tint val="15000"/>
                    <a:satMod val="350000"/>
                  </a:schemeClr>
                </a:gs>
              </a:gsLst>
              <a:lin ang="16200000" scaled="1"/>
            </a:gradFill>
            <a:ln w="9525" cap="flat" cmpd="sng" algn="ctr">
              <a:solidFill>
                <a:schemeClr val="accent1">
                  <a:lumMod val="60000"/>
                  <a:shade val="95000"/>
                </a:schemeClr>
              </a:solidFill>
              <a:round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  <a:sp3d contourW="9525">
              <a:contourClr>
                <a:schemeClr val="accent1">
                  <a:lumMod val="60000"/>
                  <a:shade val="95000"/>
                </a:schemeClr>
              </a:contourClr>
            </a:sp3d>
          </c:spPr>
          <c:cat>
            <c:numRef>
              <c:f>Sheet1!$B$1:$BH$1</c:f>
              <c:numCache>
                <c:formatCode>General</c:formatCode>
                <c:ptCount val="59"/>
                <c:pt idx="0">
                  <c:v>40</c:v>
                </c:pt>
                <c:pt idx="1">
                  <c:v>42.5</c:v>
                </c:pt>
                <c:pt idx="2">
                  <c:v>45</c:v>
                </c:pt>
                <c:pt idx="3">
                  <c:v>47.5</c:v>
                </c:pt>
                <c:pt idx="4">
                  <c:v>50</c:v>
                </c:pt>
                <c:pt idx="5">
                  <c:v>52.5</c:v>
                </c:pt>
                <c:pt idx="6">
                  <c:v>55</c:v>
                </c:pt>
                <c:pt idx="7">
                  <c:v>57.5</c:v>
                </c:pt>
                <c:pt idx="8">
                  <c:v>60</c:v>
                </c:pt>
                <c:pt idx="9">
                  <c:v>62.5</c:v>
                </c:pt>
                <c:pt idx="10">
                  <c:v>65</c:v>
                </c:pt>
                <c:pt idx="11">
                  <c:v>67.5</c:v>
                </c:pt>
                <c:pt idx="12">
                  <c:v>70</c:v>
                </c:pt>
                <c:pt idx="13">
                  <c:v>72.5</c:v>
                </c:pt>
                <c:pt idx="14">
                  <c:v>75</c:v>
                </c:pt>
                <c:pt idx="15">
                  <c:v>77.5</c:v>
                </c:pt>
                <c:pt idx="16">
                  <c:v>80</c:v>
                </c:pt>
                <c:pt idx="17">
                  <c:v>82.5</c:v>
                </c:pt>
                <c:pt idx="18">
                  <c:v>85</c:v>
                </c:pt>
                <c:pt idx="19">
                  <c:v>87.5</c:v>
                </c:pt>
                <c:pt idx="20">
                  <c:v>90</c:v>
                </c:pt>
                <c:pt idx="21">
                  <c:v>92.5</c:v>
                </c:pt>
                <c:pt idx="22">
                  <c:v>95</c:v>
                </c:pt>
                <c:pt idx="23">
                  <c:v>97.5</c:v>
                </c:pt>
                <c:pt idx="24">
                  <c:v>100</c:v>
                </c:pt>
                <c:pt idx="25">
                  <c:v>102.5</c:v>
                </c:pt>
                <c:pt idx="26">
                  <c:v>105</c:v>
                </c:pt>
                <c:pt idx="27">
                  <c:v>107.5</c:v>
                </c:pt>
                <c:pt idx="28">
                  <c:v>110</c:v>
                </c:pt>
                <c:pt idx="29">
                  <c:v>112.5</c:v>
                </c:pt>
                <c:pt idx="30">
                  <c:v>115</c:v>
                </c:pt>
                <c:pt idx="31">
                  <c:v>117.5</c:v>
                </c:pt>
                <c:pt idx="32">
                  <c:v>120</c:v>
                </c:pt>
                <c:pt idx="33">
                  <c:v>122.5</c:v>
                </c:pt>
                <c:pt idx="34">
                  <c:v>125</c:v>
                </c:pt>
                <c:pt idx="35">
                  <c:v>127.5</c:v>
                </c:pt>
                <c:pt idx="36">
                  <c:v>130</c:v>
                </c:pt>
                <c:pt idx="37">
                  <c:v>132.5</c:v>
                </c:pt>
                <c:pt idx="38">
                  <c:v>135</c:v>
                </c:pt>
                <c:pt idx="39">
                  <c:v>137.5</c:v>
                </c:pt>
                <c:pt idx="40">
                  <c:v>140</c:v>
                </c:pt>
                <c:pt idx="41">
                  <c:v>142.5</c:v>
                </c:pt>
                <c:pt idx="42">
                  <c:v>145</c:v>
                </c:pt>
                <c:pt idx="43">
                  <c:v>147.5</c:v>
                </c:pt>
                <c:pt idx="44">
                  <c:v>150</c:v>
                </c:pt>
                <c:pt idx="45">
                  <c:v>152.5</c:v>
                </c:pt>
                <c:pt idx="46">
                  <c:v>155</c:v>
                </c:pt>
                <c:pt idx="47">
                  <c:v>157.5</c:v>
                </c:pt>
                <c:pt idx="48">
                  <c:v>160</c:v>
                </c:pt>
                <c:pt idx="49">
                  <c:v>162.5</c:v>
                </c:pt>
                <c:pt idx="50">
                  <c:v>165</c:v>
                </c:pt>
                <c:pt idx="51">
                  <c:v>167.5</c:v>
                </c:pt>
                <c:pt idx="52">
                  <c:v>170</c:v>
                </c:pt>
                <c:pt idx="53">
                  <c:v>172.5</c:v>
                </c:pt>
                <c:pt idx="54">
                  <c:v>175</c:v>
                </c:pt>
                <c:pt idx="55">
                  <c:v>177.5</c:v>
                </c:pt>
                <c:pt idx="56">
                  <c:v>180</c:v>
                </c:pt>
                <c:pt idx="57">
                  <c:v>182.5</c:v>
                </c:pt>
                <c:pt idx="58">
                  <c:v>1000</c:v>
                </c:pt>
              </c:numCache>
            </c:numRef>
          </c:cat>
          <c:val>
            <c:numRef>
              <c:f>Sheet1!$B$8:$BH$8</c:f>
              <c:numCache>
                <c:formatCode>General</c:formatCode>
                <c:ptCount val="59"/>
                <c:pt idx="0">
                  <c:v>0.53402142967715338</c:v>
                </c:pt>
                <c:pt idx="1">
                  <c:v>0.52162045820918834</c:v>
                </c:pt>
                <c:pt idx="2">
                  <c:v>0.50927127343354539</c:v>
                </c:pt>
                <c:pt idx="3">
                  <c:v>0.49696703748682308</c:v>
                </c:pt>
                <c:pt idx="4">
                  <c:v>0.48459574360302471</c:v>
                </c:pt>
                <c:pt idx="5">
                  <c:v>0.45841345819590817</c:v>
                </c:pt>
                <c:pt idx="6">
                  <c:v>0.43480528654408068</c:v>
                </c:pt>
                <c:pt idx="7">
                  <c:v>0.4197363362435389</c:v>
                </c:pt>
                <c:pt idx="8">
                  <c:v>0.40602263087697249</c:v>
                </c:pt>
                <c:pt idx="9">
                  <c:v>0.39022028702666239</c:v>
                </c:pt>
                <c:pt idx="10">
                  <c:v>0.37602850482494632</c:v>
                </c:pt>
                <c:pt idx="11">
                  <c:v>0.36371321393450712</c:v>
                </c:pt>
                <c:pt idx="12">
                  <c:v>0.3506420196928654</c:v>
                </c:pt>
                <c:pt idx="13">
                  <c:v>0.35230796240106987</c:v>
                </c:pt>
                <c:pt idx="14">
                  <c:v>0.35251165321427658</c:v>
                </c:pt>
                <c:pt idx="15">
                  <c:v>0.34085007451286709</c:v>
                </c:pt>
                <c:pt idx="16">
                  <c:v>0.32893272683805541</c:v>
                </c:pt>
                <c:pt idx="17">
                  <c:v>0.31925860708994419</c:v>
                </c:pt>
                <c:pt idx="18">
                  <c:v>0.30887115474196702</c:v>
                </c:pt>
                <c:pt idx="19">
                  <c:v>0.2963369282370622</c:v>
                </c:pt>
                <c:pt idx="20">
                  <c:v>0.28187159940582801</c:v>
                </c:pt>
                <c:pt idx="21">
                  <c:v>0.26717373998224592</c:v>
                </c:pt>
                <c:pt idx="22">
                  <c:v>0.24531172717700739</c:v>
                </c:pt>
                <c:pt idx="23">
                  <c:v>0.22507212612100161</c:v>
                </c:pt>
                <c:pt idx="24">
                  <c:v>0.20042196619506361</c:v>
                </c:pt>
                <c:pt idx="25">
                  <c:v>0.18028324088038761</c:v>
                </c:pt>
                <c:pt idx="26">
                  <c:v>0.16206304371605271</c:v>
                </c:pt>
                <c:pt idx="27">
                  <c:v>0.14718262750826969</c:v>
                </c:pt>
                <c:pt idx="28">
                  <c:v>0.14056621688975449</c:v>
                </c:pt>
                <c:pt idx="29">
                  <c:v>0.14124027893536881</c:v>
                </c:pt>
                <c:pt idx="30">
                  <c:v>0.14300127605307969</c:v>
                </c:pt>
                <c:pt idx="31">
                  <c:v>0.14132724653026199</c:v>
                </c:pt>
                <c:pt idx="32">
                  <c:v>0.14999017330092451</c:v>
                </c:pt>
                <c:pt idx="33">
                  <c:v>0.16109597052801189</c:v>
                </c:pt>
                <c:pt idx="34">
                  <c:v>0.15827787456534431</c:v>
                </c:pt>
                <c:pt idx="35">
                  <c:v>0.15814717207533391</c:v>
                </c:pt>
                <c:pt idx="36">
                  <c:v>0.16380158856836169</c:v>
                </c:pt>
                <c:pt idx="37">
                  <c:v>0.18346707153383329</c:v>
                </c:pt>
                <c:pt idx="38">
                  <c:v>0.20274366066657759</c:v>
                </c:pt>
                <c:pt idx="39">
                  <c:v>0.20120089075665951</c:v>
                </c:pt>
                <c:pt idx="40">
                  <c:v>0.2003965412837829</c:v>
                </c:pt>
                <c:pt idx="41">
                  <c:v>0.2027385178131263</c:v>
                </c:pt>
                <c:pt idx="42">
                  <c:v>0.2045350006657847</c:v>
                </c:pt>
                <c:pt idx="43">
                  <c:v>0.2033884017854658</c:v>
                </c:pt>
                <c:pt idx="44">
                  <c:v>0.20217632760850199</c:v>
                </c:pt>
                <c:pt idx="45">
                  <c:v>0.19560977517354969</c:v>
                </c:pt>
                <c:pt idx="46">
                  <c:v>0.1922607998997736</c:v>
                </c:pt>
                <c:pt idx="47">
                  <c:v>0.1950865480568085</c:v>
                </c:pt>
                <c:pt idx="48">
                  <c:v>0.19757076182826891</c:v>
                </c:pt>
                <c:pt idx="49">
                  <c:v>0.20210653568787559</c:v>
                </c:pt>
                <c:pt idx="50">
                  <c:v>0.20519515960560791</c:v>
                </c:pt>
                <c:pt idx="51">
                  <c:v>0.2049339691125088</c:v>
                </c:pt>
                <c:pt idx="52">
                  <c:v>0.204800158419807</c:v>
                </c:pt>
                <c:pt idx="53">
                  <c:v>0.20574864725964051</c:v>
                </c:pt>
                <c:pt idx="54">
                  <c:v>0.2063518811247049</c:v>
                </c:pt>
                <c:pt idx="55">
                  <c:v>0.20575321741316049</c:v>
                </c:pt>
                <c:pt idx="56">
                  <c:v>1.898068858065842E-2</c:v>
                </c:pt>
                <c:pt idx="57">
                  <c:v>0.1394027711256505</c:v>
                </c:pt>
                <c:pt idx="58">
                  <c:v>0.11813905532827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DBE2-48CC-8485-F6B125FAE53C}"/>
            </c:ext>
          </c:extLst>
        </c:ser>
        <c:ser>
          <c:idx val="7"/>
          <c:order val="7"/>
          <c:tx>
            <c:strRef>
              <c:f>Sheet1!$A$9</c:f>
              <c:strCache>
                <c:ptCount val="1"/>
                <c:pt idx="0">
                  <c:v>1.25</c:v>
                </c:pt>
              </c:strCache>
            </c:strRef>
          </c:tx>
          <c:spPr>
            <a:gradFill rotWithShape="1">
              <a:gsLst>
                <a:gs pos="0">
                  <a:schemeClr val="accent2">
                    <a:lumMod val="60000"/>
                    <a:tint val="50000"/>
                    <a:satMod val="300000"/>
                  </a:schemeClr>
                </a:gs>
                <a:gs pos="35000">
                  <a:schemeClr val="accent2">
                    <a:lumMod val="60000"/>
                    <a:tint val="37000"/>
                    <a:satMod val="300000"/>
                  </a:schemeClr>
                </a:gs>
                <a:gs pos="100000">
                  <a:schemeClr val="accent2">
                    <a:lumMod val="60000"/>
                    <a:tint val="15000"/>
                    <a:satMod val="350000"/>
                  </a:schemeClr>
                </a:gs>
              </a:gsLst>
              <a:lin ang="16200000" scaled="1"/>
            </a:gradFill>
            <a:ln w="9525" cap="flat" cmpd="sng" algn="ctr">
              <a:solidFill>
                <a:schemeClr val="accent2">
                  <a:lumMod val="60000"/>
                  <a:shade val="95000"/>
                </a:schemeClr>
              </a:solidFill>
              <a:round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  <a:sp3d contourW="9525">
              <a:contourClr>
                <a:schemeClr val="accent2">
                  <a:lumMod val="60000"/>
                  <a:shade val="95000"/>
                </a:schemeClr>
              </a:contourClr>
            </a:sp3d>
          </c:spPr>
          <c:cat>
            <c:numRef>
              <c:f>Sheet1!$B$1:$BH$1</c:f>
              <c:numCache>
                <c:formatCode>General</c:formatCode>
                <c:ptCount val="59"/>
                <c:pt idx="0">
                  <c:v>40</c:v>
                </c:pt>
                <c:pt idx="1">
                  <c:v>42.5</c:v>
                </c:pt>
                <c:pt idx="2">
                  <c:v>45</c:v>
                </c:pt>
                <c:pt idx="3">
                  <c:v>47.5</c:v>
                </c:pt>
                <c:pt idx="4">
                  <c:v>50</c:v>
                </c:pt>
                <c:pt idx="5">
                  <c:v>52.5</c:v>
                </c:pt>
                <c:pt idx="6">
                  <c:v>55</c:v>
                </c:pt>
                <c:pt idx="7">
                  <c:v>57.5</c:v>
                </c:pt>
                <c:pt idx="8">
                  <c:v>60</c:v>
                </c:pt>
                <c:pt idx="9">
                  <c:v>62.5</c:v>
                </c:pt>
                <c:pt idx="10">
                  <c:v>65</c:v>
                </c:pt>
                <c:pt idx="11">
                  <c:v>67.5</c:v>
                </c:pt>
                <c:pt idx="12">
                  <c:v>70</c:v>
                </c:pt>
                <c:pt idx="13">
                  <c:v>72.5</c:v>
                </c:pt>
                <c:pt idx="14">
                  <c:v>75</c:v>
                </c:pt>
                <c:pt idx="15">
                  <c:v>77.5</c:v>
                </c:pt>
                <c:pt idx="16">
                  <c:v>80</c:v>
                </c:pt>
                <c:pt idx="17">
                  <c:v>82.5</c:v>
                </c:pt>
                <c:pt idx="18">
                  <c:v>85</c:v>
                </c:pt>
                <c:pt idx="19">
                  <c:v>87.5</c:v>
                </c:pt>
                <c:pt idx="20">
                  <c:v>90</c:v>
                </c:pt>
                <c:pt idx="21">
                  <c:v>92.5</c:v>
                </c:pt>
                <c:pt idx="22">
                  <c:v>95</c:v>
                </c:pt>
                <c:pt idx="23">
                  <c:v>97.5</c:v>
                </c:pt>
                <c:pt idx="24">
                  <c:v>100</c:v>
                </c:pt>
                <c:pt idx="25">
                  <c:v>102.5</c:v>
                </c:pt>
                <c:pt idx="26">
                  <c:v>105</c:v>
                </c:pt>
                <c:pt idx="27">
                  <c:v>107.5</c:v>
                </c:pt>
                <c:pt idx="28">
                  <c:v>110</c:v>
                </c:pt>
                <c:pt idx="29">
                  <c:v>112.5</c:v>
                </c:pt>
                <c:pt idx="30">
                  <c:v>115</c:v>
                </c:pt>
                <c:pt idx="31">
                  <c:v>117.5</c:v>
                </c:pt>
                <c:pt idx="32">
                  <c:v>120</c:v>
                </c:pt>
                <c:pt idx="33">
                  <c:v>122.5</c:v>
                </c:pt>
                <c:pt idx="34">
                  <c:v>125</c:v>
                </c:pt>
                <c:pt idx="35">
                  <c:v>127.5</c:v>
                </c:pt>
                <c:pt idx="36">
                  <c:v>130</c:v>
                </c:pt>
                <c:pt idx="37">
                  <c:v>132.5</c:v>
                </c:pt>
                <c:pt idx="38">
                  <c:v>135</c:v>
                </c:pt>
                <c:pt idx="39">
                  <c:v>137.5</c:v>
                </c:pt>
                <c:pt idx="40">
                  <c:v>140</c:v>
                </c:pt>
                <c:pt idx="41">
                  <c:v>142.5</c:v>
                </c:pt>
                <c:pt idx="42">
                  <c:v>145</c:v>
                </c:pt>
                <c:pt idx="43">
                  <c:v>147.5</c:v>
                </c:pt>
                <c:pt idx="44">
                  <c:v>150</c:v>
                </c:pt>
                <c:pt idx="45">
                  <c:v>152.5</c:v>
                </c:pt>
                <c:pt idx="46">
                  <c:v>155</c:v>
                </c:pt>
                <c:pt idx="47">
                  <c:v>157.5</c:v>
                </c:pt>
                <c:pt idx="48">
                  <c:v>160</c:v>
                </c:pt>
                <c:pt idx="49">
                  <c:v>162.5</c:v>
                </c:pt>
                <c:pt idx="50">
                  <c:v>165</c:v>
                </c:pt>
                <c:pt idx="51">
                  <c:v>167.5</c:v>
                </c:pt>
                <c:pt idx="52">
                  <c:v>170</c:v>
                </c:pt>
                <c:pt idx="53">
                  <c:v>172.5</c:v>
                </c:pt>
                <c:pt idx="54">
                  <c:v>175</c:v>
                </c:pt>
                <c:pt idx="55">
                  <c:v>177.5</c:v>
                </c:pt>
                <c:pt idx="56">
                  <c:v>180</c:v>
                </c:pt>
                <c:pt idx="57">
                  <c:v>182.5</c:v>
                </c:pt>
                <c:pt idx="58">
                  <c:v>1000</c:v>
                </c:pt>
              </c:numCache>
            </c:numRef>
          </c:cat>
          <c:val>
            <c:numRef>
              <c:f>Sheet1!$B$9:$BH$9</c:f>
              <c:numCache>
                <c:formatCode>General</c:formatCode>
                <c:ptCount val="59"/>
                <c:pt idx="0">
                  <c:v>0.51147971710171358</c:v>
                </c:pt>
                <c:pt idx="1">
                  <c:v>0.49943628390744849</c:v>
                </c:pt>
                <c:pt idx="2">
                  <c:v>0.48746431506454091</c:v>
                </c:pt>
                <c:pt idx="3">
                  <c:v>0.47555409904302348</c:v>
                </c:pt>
                <c:pt idx="4">
                  <c:v>0.46351518470645492</c:v>
                </c:pt>
                <c:pt idx="5">
                  <c:v>0.43085917466038443</c:v>
                </c:pt>
                <c:pt idx="6">
                  <c:v>0.4034385736410992</c:v>
                </c:pt>
                <c:pt idx="7">
                  <c:v>0.38796546296758522</c:v>
                </c:pt>
                <c:pt idx="8">
                  <c:v>0.37404270320910421</c:v>
                </c:pt>
                <c:pt idx="9">
                  <c:v>0.37082200550186228</c:v>
                </c:pt>
                <c:pt idx="10">
                  <c:v>0.36740406194366448</c:v>
                </c:pt>
                <c:pt idx="11">
                  <c:v>0.35768901594704727</c:v>
                </c:pt>
                <c:pt idx="12">
                  <c:v>0.34706763045244232</c:v>
                </c:pt>
                <c:pt idx="13">
                  <c:v>0.34527679725033972</c:v>
                </c:pt>
                <c:pt idx="14">
                  <c:v>0.34172725331313802</c:v>
                </c:pt>
                <c:pt idx="15">
                  <c:v>0.33071994745744138</c:v>
                </c:pt>
                <c:pt idx="16">
                  <c:v>0.31948759059723891</c:v>
                </c:pt>
                <c:pt idx="17">
                  <c:v>0.30846738870224721</c:v>
                </c:pt>
                <c:pt idx="18">
                  <c:v>0.29711917874525229</c:v>
                </c:pt>
                <c:pt idx="19">
                  <c:v>0.28524113851564081</c:v>
                </c:pt>
                <c:pt idx="20">
                  <c:v>0.27157412371704409</c:v>
                </c:pt>
                <c:pt idx="21">
                  <c:v>0.25798097943069692</c:v>
                </c:pt>
                <c:pt idx="22">
                  <c:v>0.23689547414347459</c:v>
                </c:pt>
                <c:pt idx="23">
                  <c:v>0.2181246962218075</c:v>
                </c:pt>
                <c:pt idx="24">
                  <c:v>0.20307619367553659</c:v>
                </c:pt>
                <c:pt idx="25">
                  <c:v>0.18940908485724939</c:v>
                </c:pt>
                <c:pt idx="26">
                  <c:v>0.1683529793282087</c:v>
                </c:pt>
                <c:pt idx="27">
                  <c:v>0.1514721670966224</c:v>
                </c:pt>
                <c:pt idx="28">
                  <c:v>0.14392032990671641</c:v>
                </c:pt>
                <c:pt idx="29">
                  <c:v>0.1391900711108052</c:v>
                </c:pt>
                <c:pt idx="30">
                  <c:v>0.13539538481228081</c:v>
                </c:pt>
                <c:pt idx="31">
                  <c:v>0.131977997474609</c:v>
                </c:pt>
                <c:pt idx="32">
                  <c:v>0.13721236515112639</c:v>
                </c:pt>
                <c:pt idx="33">
                  <c:v>0.14427576202659451</c:v>
                </c:pt>
                <c:pt idx="34">
                  <c:v>0.14383532813378869</c:v>
                </c:pt>
                <c:pt idx="35">
                  <c:v>0.14501332792563379</c:v>
                </c:pt>
                <c:pt idx="36">
                  <c:v>0.14802897646145319</c:v>
                </c:pt>
                <c:pt idx="37">
                  <c:v>0.1587974701795693</c:v>
                </c:pt>
                <c:pt idx="38">
                  <c:v>0.16900084744251301</c:v>
                </c:pt>
                <c:pt idx="39">
                  <c:v>0.17061081572926839</c:v>
                </c:pt>
                <c:pt idx="40">
                  <c:v>0.17313166418627471</c:v>
                </c:pt>
                <c:pt idx="41">
                  <c:v>0.18362533447488241</c:v>
                </c:pt>
                <c:pt idx="42">
                  <c:v>0.19217934916323259</c:v>
                </c:pt>
                <c:pt idx="43">
                  <c:v>0.19170157692997039</c:v>
                </c:pt>
                <c:pt idx="44">
                  <c:v>0.19114618857012211</c:v>
                </c:pt>
                <c:pt idx="45">
                  <c:v>0.18926799269722019</c:v>
                </c:pt>
                <c:pt idx="46">
                  <c:v>0.18791409545612819</c:v>
                </c:pt>
                <c:pt idx="47">
                  <c:v>0.18795721336433779</c:v>
                </c:pt>
                <c:pt idx="48">
                  <c:v>0.187589302066442</c:v>
                </c:pt>
                <c:pt idx="49">
                  <c:v>0.18401787445148779</c:v>
                </c:pt>
                <c:pt idx="50">
                  <c:v>0.18187451860307999</c:v>
                </c:pt>
                <c:pt idx="51">
                  <c:v>0.18265610917579239</c:v>
                </c:pt>
                <c:pt idx="52">
                  <c:v>0.1835876038007993</c:v>
                </c:pt>
                <c:pt idx="53">
                  <c:v>0.18691626208810061</c:v>
                </c:pt>
                <c:pt idx="54">
                  <c:v>0.18925085019514079</c:v>
                </c:pt>
                <c:pt idx="55">
                  <c:v>0.1889181382065668</c:v>
                </c:pt>
                <c:pt idx="56">
                  <c:v>1.9134828571448881E-2</c:v>
                </c:pt>
                <c:pt idx="57">
                  <c:v>0.1381963161985193</c:v>
                </c:pt>
                <c:pt idx="58">
                  <c:v>0.122168950902793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DBE2-48CC-8485-F6B125FAE53C}"/>
            </c:ext>
          </c:extLst>
        </c:ser>
        <c:ser>
          <c:idx val="8"/>
          <c:order val="8"/>
          <c:tx>
            <c:strRef>
              <c:f>Sheet1!$A$10</c:f>
              <c:strCache>
                <c:ptCount val="1"/>
                <c:pt idx="0">
                  <c:v>1.495890411</c:v>
                </c:pt>
              </c:strCache>
            </c:strRef>
          </c:tx>
          <c:spPr>
            <a:gradFill rotWithShape="1">
              <a:gsLst>
                <a:gs pos="0">
                  <a:schemeClr val="accent3">
                    <a:lumMod val="60000"/>
                    <a:tint val="50000"/>
                    <a:satMod val="300000"/>
                  </a:schemeClr>
                </a:gs>
                <a:gs pos="35000">
                  <a:schemeClr val="accent3">
                    <a:lumMod val="60000"/>
                    <a:tint val="37000"/>
                    <a:satMod val="300000"/>
                  </a:schemeClr>
                </a:gs>
                <a:gs pos="100000">
                  <a:schemeClr val="accent3">
                    <a:lumMod val="60000"/>
                    <a:tint val="15000"/>
                    <a:satMod val="350000"/>
                  </a:schemeClr>
                </a:gs>
              </a:gsLst>
              <a:lin ang="16200000" scaled="1"/>
            </a:gradFill>
            <a:ln w="9525" cap="flat" cmpd="sng" algn="ctr">
              <a:solidFill>
                <a:schemeClr val="accent3">
                  <a:lumMod val="60000"/>
                  <a:shade val="95000"/>
                </a:schemeClr>
              </a:solidFill>
              <a:round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  <a:sp3d contourW="9525">
              <a:contourClr>
                <a:schemeClr val="accent3">
                  <a:lumMod val="60000"/>
                  <a:shade val="95000"/>
                </a:schemeClr>
              </a:contourClr>
            </a:sp3d>
          </c:spPr>
          <c:cat>
            <c:numRef>
              <c:f>Sheet1!$B$1:$BH$1</c:f>
              <c:numCache>
                <c:formatCode>General</c:formatCode>
                <c:ptCount val="59"/>
                <c:pt idx="0">
                  <c:v>40</c:v>
                </c:pt>
                <c:pt idx="1">
                  <c:v>42.5</c:v>
                </c:pt>
                <c:pt idx="2">
                  <c:v>45</c:v>
                </c:pt>
                <c:pt idx="3">
                  <c:v>47.5</c:v>
                </c:pt>
                <c:pt idx="4">
                  <c:v>50</c:v>
                </c:pt>
                <c:pt idx="5">
                  <c:v>52.5</c:v>
                </c:pt>
                <c:pt idx="6">
                  <c:v>55</c:v>
                </c:pt>
                <c:pt idx="7">
                  <c:v>57.5</c:v>
                </c:pt>
                <c:pt idx="8">
                  <c:v>60</c:v>
                </c:pt>
                <c:pt idx="9">
                  <c:v>62.5</c:v>
                </c:pt>
                <c:pt idx="10">
                  <c:v>65</c:v>
                </c:pt>
                <c:pt idx="11">
                  <c:v>67.5</c:v>
                </c:pt>
                <c:pt idx="12">
                  <c:v>70</c:v>
                </c:pt>
                <c:pt idx="13">
                  <c:v>72.5</c:v>
                </c:pt>
                <c:pt idx="14">
                  <c:v>75</c:v>
                </c:pt>
                <c:pt idx="15">
                  <c:v>77.5</c:v>
                </c:pt>
                <c:pt idx="16">
                  <c:v>80</c:v>
                </c:pt>
                <c:pt idx="17">
                  <c:v>82.5</c:v>
                </c:pt>
                <c:pt idx="18">
                  <c:v>85</c:v>
                </c:pt>
                <c:pt idx="19">
                  <c:v>87.5</c:v>
                </c:pt>
                <c:pt idx="20">
                  <c:v>90</c:v>
                </c:pt>
                <c:pt idx="21">
                  <c:v>92.5</c:v>
                </c:pt>
                <c:pt idx="22">
                  <c:v>95</c:v>
                </c:pt>
                <c:pt idx="23">
                  <c:v>97.5</c:v>
                </c:pt>
                <c:pt idx="24">
                  <c:v>100</c:v>
                </c:pt>
                <c:pt idx="25">
                  <c:v>102.5</c:v>
                </c:pt>
                <c:pt idx="26">
                  <c:v>105</c:v>
                </c:pt>
                <c:pt idx="27">
                  <c:v>107.5</c:v>
                </c:pt>
                <c:pt idx="28">
                  <c:v>110</c:v>
                </c:pt>
                <c:pt idx="29">
                  <c:v>112.5</c:v>
                </c:pt>
                <c:pt idx="30">
                  <c:v>115</c:v>
                </c:pt>
                <c:pt idx="31">
                  <c:v>117.5</c:v>
                </c:pt>
                <c:pt idx="32">
                  <c:v>120</c:v>
                </c:pt>
                <c:pt idx="33">
                  <c:v>122.5</c:v>
                </c:pt>
                <c:pt idx="34">
                  <c:v>125</c:v>
                </c:pt>
                <c:pt idx="35">
                  <c:v>127.5</c:v>
                </c:pt>
                <c:pt idx="36">
                  <c:v>130</c:v>
                </c:pt>
                <c:pt idx="37">
                  <c:v>132.5</c:v>
                </c:pt>
                <c:pt idx="38">
                  <c:v>135</c:v>
                </c:pt>
                <c:pt idx="39">
                  <c:v>137.5</c:v>
                </c:pt>
                <c:pt idx="40">
                  <c:v>140</c:v>
                </c:pt>
                <c:pt idx="41">
                  <c:v>142.5</c:v>
                </c:pt>
                <c:pt idx="42">
                  <c:v>145</c:v>
                </c:pt>
                <c:pt idx="43">
                  <c:v>147.5</c:v>
                </c:pt>
                <c:pt idx="44">
                  <c:v>150</c:v>
                </c:pt>
                <c:pt idx="45">
                  <c:v>152.5</c:v>
                </c:pt>
                <c:pt idx="46">
                  <c:v>155</c:v>
                </c:pt>
                <c:pt idx="47">
                  <c:v>157.5</c:v>
                </c:pt>
                <c:pt idx="48">
                  <c:v>160</c:v>
                </c:pt>
                <c:pt idx="49">
                  <c:v>162.5</c:v>
                </c:pt>
                <c:pt idx="50">
                  <c:v>165</c:v>
                </c:pt>
                <c:pt idx="51">
                  <c:v>167.5</c:v>
                </c:pt>
                <c:pt idx="52">
                  <c:v>170</c:v>
                </c:pt>
                <c:pt idx="53">
                  <c:v>172.5</c:v>
                </c:pt>
                <c:pt idx="54">
                  <c:v>175</c:v>
                </c:pt>
                <c:pt idx="55">
                  <c:v>177.5</c:v>
                </c:pt>
                <c:pt idx="56">
                  <c:v>180</c:v>
                </c:pt>
                <c:pt idx="57">
                  <c:v>182.5</c:v>
                </c:pt>
                <c:pt idx="58">
                  <c:v>1000</c:v>
                </c:pt>
              </c:numCache>
            </c:numRef>
          </c:cat>
          <c:val>
            <c:numRef>
              <c:f>Sheet1!$B$10:$BH$10</c:f>
              <c:numCache>
                <c:formatCode>General</c:formatCode>
                <c:ptCount val="59"/>
                <c:pt idx="0">
                  <c:v>0.46772271612358057</c:v>
                </c:pt>
                <c:pt idx="1">
                  <c:v>0.45761102730559489</c:v>
                </c:pt>
                <c:pt idx="2">
                  <c:v>0.44818043416322523</c:v>
                </c:pt>
                <c:pt idx="3">
                  <c:v>0.43932459260697387</c:v>
                </c:pt>
                <c:pt idx="4">
                  <c:v>0.43072049159926878</c:v>
                </c:pt>
                <c:pt idx="5">
                  <c:v>0.39745874692901961</c:v>
                </c:pt>
                <c:pt idx="6">
                  <c:v>0.37161317181435582</c:v>
                </c:pt>
                <c:pt idx="7">
                  <c:v>0.35850438822526748</c:v>
                </c:pt>
                <c:pt idx="8">
                  <c:v>0.34505675719397949</c:v>
                </c:pt>
                <c:pt idx="9">
                  <c:v>0.34909365044149732</c:v>
                </c:pt>
                <c:pt idx="10">
                  <c:v>0.35094071656411341</c:v>
                </c:pt>
                <c:pt idx="11">
                  <c:v>0.34014480340072789</c:v>
                </c:pt>
                <c:pt idx="12">
                  <c:v>0.32978964564859659</c:v>
                </c:pt>
                <c:pt idx="13">
                  <c:v>0.3241176992127901</c:v>
                </c:pt>
                <c:pt idx="14">
                  <c:v>0.31804533153373837</c:v>
                </c:pt>
                <c:pt idx="15">
                  <c:v>0.30914835553282632</c:v>
                </c:pt>
                <c:pt idx="16">
                  <c:v>0.30030179319193212</c:v>
                </c:pt>
                <c:pt idx="17">
                  <c:v>0.29024814391419479</c:v>
                </c:pt>
                <c:pt idx="18">
                  <c:v>0.28043309735659971</c:v>
                </c:pt>
                <c:pt idx="19">
                  <c:v>0.27105677051615229</c:v>
                </c:pt>
                <c:pt idx="20">
                  <c:v>0.25933658186216868</c:v>
                </c:pt>
                <c:pt idx="21">
                  <c:v>0.24730217550020969</c:v>
                </c:pt>
                <c:pt idx="22">
                  <c:v>0.22710729208420799</c:v>
                </c:pt>
                <c:pt idx="23">
                  <c:v>0.20956178775312501</c:v>
                </c:pt>
                <c:pt idx="24">
                  <c:v>0.20347604490530299</c:v>
                </c:pt>
                <c:pt idx="25">
                  <c:v>0.1976983913007421</c:v>
                </c:pt>
                <c:pt idx="26">
                  <c:v>0.17423178955473981</c:v>
                </c:pt>
                <c:pt idx="27">
                  <c:v>0.15702259653530279</c:v>
                </c:pt>
                <c:pt idx="28">
                  <c:v>0.15088943053038581</c:v>
                </c:pt>
                <c:pt idx="29">
                  <c:v>0.1432747187723514</c:v>
                </c:pt>
                <c:pt idx="30">
                  <c:v>0.13704425855809729</c:v>
                </c:pt>
                <c:pt idx="31">
                  <c:v>0.13389411022588449</c:v>
                </c:pt>
                <c:pt idx="32">
                  <c:v>0.1385874867147322</c:v>
                </c:pt>
                <c:pt idx="33">
                  <c:v>0.14435329479688139</c:v>
                </c:pt>
                <c:pt idx="34">
                  <c:v>0.14521173751070529</c:v>
                </c:pt>
                <c:pt idx="35">
                  <c:v>0.14733769798537619</c:v>
                </c:pt>
                <c:pt idx="36">
                  <c:v>0.14901442300871701</c:v>
                </c:pt>
                <c:pt idx="37">
                  <c:v>0.15587641856351769</c:v>
                </c:pt>
                <c:pt idx="38">
                  <c:v>0.1625214447453974</c:v>
                </c:pt>
                <c:pt idx="39">
                  <c:v>0.16483704113052011</c:v>
                </c:pt>
                <c:pt idx="40">
                  <c:v>0.16761241023985721</c:v>
                </c:pt>
                <c:pt idx="41">
                  <c:v>0.18109846671828439</c:v>
                </c:pt>
                <c:pt idx="42">
                  <c:v>0.1919104782187829</c:v>
                </c:pt>
                <c:pt idx="43">
                  <c:v>0.1891748587837179</c:v>
                </c:pt>
                <c:pt idx="44">
                  <c:v>0.18698490762347991</c:v>
                </c:pt>
                <c:pt idx="45">
                  <c:v>0.18724577588335811</c:v>
                </c:pt>
                <c:pt idx="46">
                  <c:v>0.18697096390404419</c:v>
                </c:pt>
                <c:pt idx="47">
                  <c:v>0.18492704626950249</c:v>
                </c:pt>
                <c:pt idx="48">
                  <c:v>0.18320538302758771</c:v>
                </c:pt>
                <c:pt idx="49">
                  <c:v>0.175353396558175</c:v>
                </c:pt>
                <c:pt idx="50">
                  <c:v>0.17182062460070449</c:v>
                </c:pt>
                <c:pt idx="51">
                  <c:v>0.17493908246794709</c:v>
                </c:pt>
                <c:pt idx="52">
                  <c:v>0.17809408233026669</c:v>
                </c:pt>
                <c:pt idx="53">
                  <c:v>0.1845060922753253</c:v>
                </c:pt>
                <c:pt idx="54">
                  <c:v>0.18947704392836839</c:v>
                </c:pt>
                <c:pt idx="55">
                  <c:v>0.19058136765486239</c:v>
                </c:pt>
                <c:pt idx="56">
                  <c:v>2.0771840808094959E-2</c:v>
                </c:pt>
                <c:pt idx="57">
                  <c:v>0.14856555538394459</c:v>
                </c:pt>
                <c:pt idx="58">
                  <c:v>0.16406825431246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DBE2-48CC-8485-F6B125FAE53C}"/>
            </c:ext>
          </c:extLst>
        </c:ser>
        <c:ser>
          <c:idx val="9"/>
          <c:order val="9"/>
          <c:tx>
            <c:strRef>
              <c:f>Sheet1!$A$11</c:f>
              <c:strCache>
                <c:ptCount val="1"/>
                <c:pt idx="0">
                  <c:v>1.75</c:v>
                </c:pt>
              </c:strCache>
            </c:strRef>
          </c:tx>
          <c:spPr>
            <a:gradFill rotWithShape="1">
              <a:gsLst>
                <a:gs pos="0">
                  <a:schemeClr val="accent4">
                    <a:lumMod val="60000"/>
                    <a:tint val="50000"/>
                    <a:satMod val="300000"/>
                  </a:schemeClr>
                </a:gs>
                <a:gs pos="35000">
                  <a:schemeClr val="accent4">
                    <a:lumMod val="60000"/>
                    <a:tint val="37000"/>
                    <a:satMod val="300000"/>
                  </a:schemeClr>
                </a:gs>
                <a:gs pos="100000">
                  <a:schemeClr val="accent4">
                    <a:lumMod val="60000"/>
                    <a:tint val="15000"/>
                    <a:satMod val="350000"/>
                  </a:schemeClr>
                </a:gs>
              </a:gsLst>
              <a:lin ang="16200000" scaled="1"/>
            </a:gradFill>
            <a:ln w="9525" cap="flat" cmpd="sng" algn="ctr">
              <a:solidFill>
                <a:schemeClr val="accent4">
                  <a:lumMod val="60000"/>
                  <a:shade val="95000"/>
                </a:schemeClr>
              </a:solidFill>
              <a:round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  <a:sp3d contourW="9525">
              <a:contourClr>
                <a:schemeClr val="accent4">
                  <a:lumMod val="60000"/>
                  <a:shade val="95000"/>
                </a:schemeClr>
              </a:contourClr>
            </a:sp3d>
          </c:spPr>
          <c:cat>
            <c:numRef>
              <c:f>Sheet1!$B$1:$BH$1</c:f>
              <c:numCache>
                <c:formatCode>General</c:formatCode>
                <c:ptCount val="59"/>
                <c:pt idx="0">
                  <c:v>40</c:v>
                </c:pt>
                <c:pt idx="1">
                  <c:v>42.5</c:v>
                </c:pt>
                <c:pt idx="2">
                  <c:v>45</c:v>
                </c:pt>
                <c:pt idx="3">
                  <c:v>47.5</c:v>
                </c:pt>
                <c:pt idx="4">
                  <c:v>50</c:v>
                </c:pt>
                <c:pt idx="5">
                  <c:v>52.5</c:v>
                </c:pt>
                <c:pt idx="6">
                  <c:v>55</c:v>
                </c:pt>
                <c:pt idx="7">
                  <c:v>57.5</c:v>
                </c:pt>
                <c:pt idx="8">
                  <c:v>60</c:v>
                </c:pt>
                <c:pt idx="9">
                  <c:v>62.5</c:v>
                </c:pt>
                <c:pt idx="10">
                  <c:v>65</c:v>
                </c:pt>
                <c:pt idx="11">
                  <c:v>67.5</c:v>
                </c:pt>
                <c:pt idx="12">
                  <c:v>70</c:v>
                </c:pt>
                <c:pt idx="13">
                  <c:v>72.5</c:v>
                </c:pt>
                <c:pt idx="14">
                  <c:v>75</c:v>
                </c:pt>
                <c:pt idx="15">
                  <c:v>77.5</c:v>
                </c:pt>
                <c:pt idx="16">
                  <c:v>80</c:v>
                </c:pt>
                <c:pt idx="17">
                  <c:v>82.5</c:v>
                </c:pt>
                <c:pt idx="18">
                  <c:v>85</c:v>
                </c:pt>
                <c:pt idx="19">
                  <c:v>87.5</c:v>
                </c:pt>
                <c:pt idx="20">
                  <c:v>90</c:v>
                </c:pt>
                <c:pt idx="21">
                  <c:v>92.5</c:v>
                </c:pt>
                <c:pt idx="22">
                  <c:v>95</c:v>
                </c:pt>
                <c:pt idx="23">
                  <c:v>97.5</c:v>
                </c:pt>
                <c:pt idx="24">
                  <c:v>100</c:v>
                </c:pt>
                <c:pt idx="25">
                  <c:v>102.5</c:v>
                </c:pt>
                <c:pt idx="26">
                  <c:v>105</c:v>
                </c:pt>
                <c:pt idx="27">
                  <c:v>107.5</c:v>
                </c:pt>
                <c:pt idx="28">
                  <c:v>110</c:v>
                </c:pt>
                <c:pt idx="29">
                  <c:v>112.5</c:v>
                </c:pt>
                <c:pt idx="30">
                  <c:v>115</c:v>
                </c:pt>
                <c:pt idx="31">
                  <c:v>117.5</c:v>
                </c:pt>
                <c:pt idx="32">
                  <c:v>120</c:v>
                </c:pt>
                <c:pt idx="33">
                  <c:v>122.5</c:v>
                </c:pt>
                <c:pt idx="34">
                  <c:v>125</c:v>
                </c:pt>
                <c:pt idx="35">
                  <c:v>127.5</c:v>
                </c:pt>
                <c:pt idx="36">
                  <c:v>130</c:v>
                </c:pt>
                <c:pt idx="37">
                  <c:v>132.5</c:v>
                </c:pt>
                <c:pt idx="38">
                  <c:v>135</c:v>
                </c:pt>
                <c:pt idx="39">
                  <c:v>137.5</c:v>
                </c:pt>
                <c:pt idx="40">
                  <c:v>140</c:v>
                </c:pt>
                <c:pt idx="41">
                  <c:v>142.5</c:v>
                </c:pt>
                <c:pt idx="42">
                  <c:v>145</c:v>
                </c:pt>
                <c:pt idx="43">
                  <c:v>147.5</c:v>
                </c:pt>
                <c:pt idx="44">
                  <c:v>150</c:v>
                </c:pt>
                <c:pt idx="45">
                  <c:v>152.5</c:v>
                </c:pt>
                <c:pt idx="46">
                  <c:v>155</c:v>
                </c:pt>
                <c:pt idx="47">
                  <c:v>157.5</c:v>
                </c:pt>
                <c:pt idx="48">
                  <c:v>160</c:v>
                </c:pt>
                <c:pt idx="49">
                  <c:v>162.5</c:v>
                </c:pt>
                <c:pt idx="50">
                  <c:v>165</c:v>
                </c:pt>
                <c:pt idx="51">
                  <c:v>167.5</c:v>
                </c:pt>
                <c:pt idx="52">
                  <c:v>170</c:v>
                </c:pt>
                <c:pt idx="53">
                  <c:v>172.5</c:v>
                </c:pt>
                <c:pt idx="54">
                  <c:v>175</c:v>
                </c:pt>
                <c:pt idx="55">
                  <c:v>177.5</c:v>
                </c:pt>
                <c:pt idx="56">
                  <c:v>180</c:v>
                </c:pt>
                <c:pt idx="57">
                  <c:v>182.5</c:v>
                </c:pt>
                <c:pt idx="58">
                  <c:v>1000</c:v>
                </c:pt>
              </c:numCache>
            </c:numRef>
          </c:cat>
          <c:val>
            <c:numRef>
              <c:f>Sheet1!$B$11:$BH$11</c:f>
              <c:numCache>
                <c:formatCode>General</c:formatCode>
                <c:ptCount val="59"/>
                <c:pt idx="0">
                  <c:v>0.4500316191935379</c:v>
                </c:pt>
                <c:pt idx="1">
                  <c:v>0.43940529830810598</c:v>
                </c:pt>
                <c:pt idx="2">
                  <c:v>0.42946811538539609</c:v>
                </c:pt>
                <c:pt idx="3">
                  <c:v>0.4201171729846806</c:v>
                </c:pt>
                <c:pt idx="4">
                  <c:v>0.4111099907444945</c:v>
                </c:pt>
                <c:pt idx="5">
                  <c:v>0.38699030347049762</c:v>
                </c:pt>
                <c:pt idx="6">
                  <c:v>0.36742792936442148</c:v>
                </c:pt>
                <c:pt idx="7">
                  <c:v>0.3560107230889154</c:v>
                </c:pt>
                <c:pt idx="8">
                  <c:v>0.34413218674107182</c:v>
                </c:pt>
                <c:pt idx="9">
                  <c:v>0.34388649277481542</c:v>
                </c:pt>
                <c:pt idx="10">
                  <c:v>0.34130260235751808</c:v>
                </c:pt>
                <c:pt idx="11">
                  <c:v>0.33058763658481471</c:v>
                </c:pt>
                <c:pt idx="12">
                  <c:v>0.32036314612179362</c:v>
                </c:pt>
                <c:pt idx="13">
                  <c:v>0.31485060316253211</c:v>
                </c:pt>
                <c:pt idx="14">
                  <c:v>0.30876703291001861</c:v>
                </c:pt>
                <c:pt idx="15">
                  <c:v>0.30001918895373381</c:v>
                </c:pt>
                <c:pt idx="16">
                  <c:v>0.2914236686815474</c:v>
                </c:pt>
                <c:pt idx="17">
                  <c:v>0.28569102444643629</c:v>
                </c:pt>
                <c:pt idx="18">
                  <c:v>0.27917105256843261</c:v>
                </c:pt>
                <c:pt idx="19">
                  <c:v>0.270453011563351</c:v>
                </c:pt>
                <c:pt idx="20">
                  <c:v>0.25698999878203099</c:v>
                </c:pt>
                <c:pt idx="21">
                  <c:v>0.24393886007397481</c:v>
                </c:pt>
                <c:pt idx="22">
                  <c:v>0.21979482185686769</c:v>
                </c:pt>
                <c:pt idx="23">
                  <c:v>0.2010052924077261</c:v>
                </c:pt>
                <c:pt idx="24">
                  <c:v>0.20172346325837109</c:v>
                </c:pt>
                <c:pt idx="25">
                  <c:v>0.20167298108431339</c:v>
                </c:pt>
                <c:pt idx="26">
                  <c:v>0.18000067558544799</c:v>
                </c:pt>
                <c:pt idx="27">
                  <c:v>0.1639515629372858</c:v>
                </c:pt>
                <c:pt idx="28">
                  <c:v>0.15739087022794079</c:v>
                </c:pt>
                <c:pt idx="29">
                  <c:v>0.14497544269956861</c:v>
                </c:pt>
                <c:pt idx="30">
                  <c:v>0.1358055991134195</c:v>
                </c:pt>
                <c:pt idx="31">
                  <c:v>0.1318498335440077</c:v>
                </c:pt>
                <c:pt idx="32">
                  <c:v>0.13390471333561099</c:v>
                </c:pt>
                <c:pt idx="33">
                  <c:v>0.13653498385755611</c:v>
                </c:pt>
                <c:pt idx="34">
                  <c:v>0.1381799153262997</c:v>
                </c:pt>
                <c:pt idx="35">
                  <c:v>0.14055439793437821</c:v>
                </c:pt>
                <c:pt idx="36">
                  <c:v>0.14131641769606459</c:v>
                </c:pt>
                <c:pt idx="37">
                  <c:v>0.1477681360221948</c:v>
                </c:pt>
                <c:pt idx="38">
                  <c:v>0.153382894832679</c:v>
                </c:pt>
                <c:pt idx="39">
                  <c:v>0.15452192305247861</c:v>
                </c:pt>
                <c:pt idx="40">
                  <c:v>0.15605344988556749</c:v>
                </c:pt>
                <c:pt idx="41">
                  <c:v>0.16328452636491139</c:v>
                </c:pt>
                <c:pt idx="42">
                  <c:v>0.16878596410411331</c:v>
                </c:pt>
                <c:pt idx="43">
                  <c:v>0.1684998242631312</c:v>
                </c:pt>
                <c:pt idx="44">
                  <c:v>0.16878338285117719</c:v>
                </c:pt>
                <c:pt idx="45">
                  <c:v>0.1724457261735389</c:v>
                </c:pt>
                <c:pt idx="46">
                  <c:v>0.1750835790322311</c:v>
                </c:pt>
                <c:pt idx="47">
                  <c:v>0.17528060639328449</c:v>
                </c:pt>
                <c:pt idx="48">
                  <c:v>0.1757798339846256</c:v>
                </c:pt>
                <c:pt idx="49">
                  <c:v>0.1736221690553926</c:v>
                </c:pt>
                <c:pt idx="50">
                  <c:v>0.17326153953243029</c:v>
                </c:pt>
                <c:pt idx="51">
                  <c:v>0.17610680309994931</c:v>
                </c:pt>
                <c:pt idx="52">
                  <c:v>0.1789776333761316</c:v>
                </c:pt>
                <c:pt idx="53">
                  <c:v>0.1850400663909719</c:v>
                </c:pt>
                <c:pt idx="54">
                  <c:v>0.18949074565457341</c:v>
                </c:pt>
                <c:pt idx="55">
                  <c:v>0.19058360227517901</c:v>
                </c:pt>
                <c:pt idx="56">
                  <c:v>1.9850680448235659E-2</c:v>
                </c:pt>
                <c:pt idx="57">
                  <c:v>0.1488014274392048</c:v>
                </c:pt>
                <c:pt idx="58">
                  <c:v>0.1621684217087558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DBE2-48CC-8485-F6B125FAE53C}"/>
            </c:ext>
          </c:extLst>
        </c:ser>
        <c:ser>
          <c:idx val="10"/>
          <c:order val="10"/>
          <c:tx>
            <c:strRef>
              <c:f>Sheet1!$A$12</c:f>
              <c:strCache>
                <c:ptCount val="1"/>
                <c:pt idx="0">
                  <c:v>1.994520548</c:v>
                </c:pt>
              </c:strCache>
            </c:strRef>
          </c:tx>
          <c:spPr>
            <a:gradFill rotWithShape="1">
              <a:gsLst>
                <a:gs pos="0">
                  <a:schemeClr val="accent5">
                    <a:lumMod val="60000"/>
                    <a:tint val="50000"/>
                    <a:satMod val="300000"/>
                  </a:schemeClr>
                </a:gs>
                <a:gs pos="35000">
                  <a:schemeClr val="accent5">
                    <a:lumMod val="60000"/>
                    <a:tint val="37000"/>
                    <a:satMod val="300000"/>
                  </a:schemeClr>
                </a:gs>
                <a:gs pos="100000">
                  <a:schemeClr val="accent5">
                    <a:lumMod val="60000"/>
                    <a:tint val="15000"/>
                    <a:satMod val="350000"/>
                  </a:schemeClr>
                </a:gs>
              </a:gsLst>
              <a:lin ang="16200000" scaled="1"/>
            </a:gradFill>
            <a:ln w="9525" cap="flat" cmpd="sng" algn="ctr">
              <a:solidFill>
                <a:schemeClr val="accent5">
                  <a:lumMod val="60000"/>
                  <a:shade val="95000"/>
                </a:schemeClr>
              </a:solidFill>
              <a:round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  <a:sp3d contourW="9525">
              <a:contourClr>
                <a:schemeClr val="accent5">
                  <a:lumMod val="60000"/>
                  <a:shade val="95000"/>
                </a:schemeClr>
              </a:contourClr>
            </a:sp3d>
          </c:spPr>
          <c:cat>
            <c:numRef>
              <c:f>Sheet1!$B$1:$BH$1</c:f>
              <c:numCache>
                <c:formatCode>General</c:formatCode>
                <c:ptCount val="59"/>
                <c:pt idx="0">
                  <c:v>40</c:v>
                </c:pt>
                <c:pt idx="1">
                  <c:v>42.5</c:v>
                </c:pt>
                <c:pt idx="2">
                  <c:v>45</c:v>
                </c:pt>
                <c:pt idx="3">
                  <c:v>47.5</c:v>
                </c:pt>
                <c:pt idx="4">
                  <c:v>50</c:v>
                </c:pt>
                <c:pt idx="5">
                  <c:v>52.5</c:v>
                </c:pt>
                <c:pt idx="6">
                  <c:v>55</c:v>
                </c:pt>
                <c:pt idx="7">
                  <c:v>57.5</c:v>
                </c:pt>
                <c:pt idx="8">
                  <c:v>60</c:v>
                </c:pt>
                <c:pt idx="9">
                  <c:v>62.5</c:v>
                </c:pt>
                <c:pt idx="10">
                  <c:v>65</c:v>
                </c:pt>
                <c:pt idx="11">
                  <c:v>67.5</c:v>
                </c:pt>
                <c:pt idx="12">
                  <c:v>70</c:v>
                </c:pt>
                <c:pt idx="13">
                  <c:v>72.5</c:v>
                </c:pt>
                <c:pt idx="14">
                  <c:v>75</c:v>
                </c:pt>
                <c:pt idx="15">
                  <c:v>77.5</c:v>
                </c:pt>
                <c:pt idx="16">
                  <c:v>80</c:v>
                </c:pt>
                <c:pt idx="17">
                  <c:v>82.5</c:v>
                </c:pt>
                <c:pt idx="18">
                  <c:v>85</c:v>
                </c:pt>
                <c:pt idx="19">
                  <c:v>87.5</c:v>
                </c:pt>
                <c:pt idx="20">
                  <c:v>90</c:v>
                </c:pt>
                <c:pt idx="21">
                  <c:v>92.5</c:v>
                </c:pt>
                <c:pt idx="22">
                  <c:v>95</c:v>
                </c:pt>
                <c:pt idx="23">
                  <c:v>97.5</c:v>
                </c:pt>
                <c:pt idx="24">
                  <c:v>100</c:v>
                </c:pt>
                <c:pt idx="25">
                  <c:v>102.5</c:v>
                </c:pt>
                <c:pt idx="26">
                  <c:v>105</c:v>
                </c:pt>
                <c:pt idx="27">
                  <c:v>107.5</c:v>
                </c:pt>
                <c:pt idx="28">
                  <c:v>110</c:v>
                </c:pt>
                <c:pt idx="29">
                  <c:v>112.5</c:v>
                </c:pt>
                <c:pt idx="30">
                  <c:v>115</c:v>
                </c:pt>
                <c:pt idx="31">
                  <c:v>117.5</c:v>
                </c:pt>
                <c:pt idx="32">
                  <c:v>120</c:v>
                </c:pt>
                <c:pt idx="33">
                  <c:v>122.5</c:v>
                </c:pt>
                <c:pt idx="34">
                  <c:v>125</c:v>
                </c:pt>
                <c:pt idx="35">
                  <c:v>127.5</c:v>
                </c:pt>
                <c:pt idx="36">
                  <c:v>130</c:v>
                </c:pt>
                <c:pt idx="37">
                  <c:v>132.5</c:v>
                </c:pt>
                <c:pt idx="38">
                  <c:v>135</c:v>
                </c:pt>
                <c:pt idx="39">
                  <c:v>137.5</c:v>
                </c:pt>
                <c:pt idx="40">
                  <c:v>140</c:v>
                </c:pt>
                <c:pt idx="41">
                  <c:v>142.5</c:v>
                </c:pt>
                <c:pt idx="42">
                  <c:v>145</c:v>
                </c:pt>
                <c:pt idx="43">
                  <c:v>147.5</c:v>
                </c:pt>
                <c:pt idx="44">
                  <c:v>150</c:v>
                </c:pt>
                <c:pt idx="45">
                  <c:v>152.5</c:v>
                </c:pt>
                <c:pt idx="46">
                  <c:v>155</c:v>
                </c:pt>
                <c:pt idx="47">
                  <c:v>157.5</c:v>
                </c:pt>
                <c:pt idx="48">
                  <c:v>160</c:v>
                </c:pt>
                <c:pt idx="49">
                  <c:v>162.5</c:v>
                </c:pt>
                <c:pt idx="50">
                  <c:v>165</c:v>
                </c:pt>
                <c:pt idx="51">
                  <c:v>167.5</c:v>
                </c:pt>
                <c:pt idx="52">
                  <c:v>170</c:v>
                </c:pt>
                <c:pt idx="53">
                  <c:v>172.5</c:v>
                </c:pt>
                <c:pt idx="54">
                  <c:v>175</c:v>
                </c:pt>
                <c:pt idx="55">
                  <c:v>177.5</c:v>
                </c:pt>
                <c:pt idx="56">
                  <c:v>180</c:v>
                </c:pt>
                <c:pt idx="57">
                  <c:v>182.5</c:v>
                </c:pt>
                <c:pt idx="58">
                  <c:v>1000</c:v>
                </c:pt>
              </c:numCache>
            </c:numRef>
          </c:cat>
          <c:val>
            <c:numRef>
              <c:f>Sheet1!$B$12:$BH$12</c:f>
              <c:numCache>
                <c:formatCode>General</c:formatCode>
                <c:ptCount val="59"/>
                <c:pt idx="0">
                  <c:v>0.37654265953494909</c:v>
                </c:pt>
                <c:pt idx="1">
                  <c:v>0.36914565466942367</c:v>
                </c:pt>
                <c:pt idx="2">
                  <c:v>0.36188110883355512</c:v>
                </c:pt>
                <c:pt idx="3">
                  <c:v>0.35473222095774559</c:v>
                </c:pt>
                <c:pt idx="4">
                  <c:v>0.34759790761262072</c:v>
                </c:pt>
                <c:pt idx="5">
                  <c:v>0.33335516655669017</c:v>
                </c:pt>
                <c:pt idx="6">
                  <c:v>0.32117969668170238</c:v>
                </c:pt>
                <c:pt idx="7">
                  <c:v>0.3129440406050949</c:v>
                </c:pt>
                <c:pt idx="8">
                  <c:v>0.30473494919645272</c:v>
                </c:pt>
                <c:pt idx="9">
                  <c:v>0.30257523015372911</c:v>
                </c:pt>
                <c:pt idx="10">
                  <c:v>0.2990540827483491</c:v>
                </c:pt>
                <c:pt idx="11">
                  <c:v>0.29182468711866583</c:v>
                </c:pt>
                <c:pt idx="12">
                  <c:v>0.28481826387830272</c:v>
                </c:pt>
                <c:pt idx="13">
                  <c:v>0.28193520680101453</c:v>
                </c:pt>
                <c:pt idx="14">
                  <c:v>0.27820248492288291</c:v>
                </c:pt>
                <c:pt idx="15">
                  <c:v>0.27180224611854448</c:v>
                </c:pt>
                <c:pt idx="16">
                  <c:v>0.26531010881767031</c:v>
                </c:pt>
                <c:pt idx="17">
                  <c:v>0.26448871620073561</c:v>
                </c:pt>
                <c:pt idx="18">
                  <c:v>0.26198938852798542</c:v>
                </c:pt>
                <c:pt idx="19">
                  <c:v>0.25534271697352562</c:v>
                </c:pt>
                <c:pt idx="20">
                  <c:v>0.2425295621655712</c:v>
                </c:pt>
                <c:pt idx="21">
                  <c:v>0.2312068010742192</c:v>
                </c:pt>
                <c:pt idx="22">
                  <c:v>0.20680441641874739</c:v>
                </c:pt>
                <c:pt idx="23">
                  <c:v>0.18957322031536661</c:v>
                </c:pt>
                <c:pt idx="24">
                  <c:v>0.19704047595215979</c:v>
                </c:pt>
                <c:pt idx="25">
                  <c:v>0.20221297550359621</c:v>
                </c:pt>
                <c:pt idx="26">
                  <c:v>0.18228006226255711</c:v>
                </c:pt>
                <c:pt idx="27">
                  <c:v>0.16805770305373349</c:v>
                </c:pt>
                <c:pt idx="28">
                  <c:v>0.16200450934073171</c:v>
                </c:pt>
                <c:pt idx="29">
                  <c:v>0.14615795049905739</c:v>
                </c:pt>
                <c:pt idx="30">
                  <c:v>0.13650051406735181</c:v>
                </c:pt>
                <c:pt idx="31">
                  <c:v>0.13400520744989411</c:v>
                </c:pt>
                <c:pt idx="32">
                  <c:v>0.13552751112708339</c:v>
                </c:pt>
                <c:pt idx="33">
                  <c:v>0.13669103090161189</c:v>
                </c:pt>
                <c:pt idx="34">
                  <c:v>0.1394413869760249</c:v>
                </c:pt>
                <c:pt idx="35">
                  <c:v>0.14229319612422839</c:v>
                </c:pt>
                <c:pt idx="36">
                  <c:v>0.14199518821516929</c:v>
                </c:pt>
                <c:pt idx="37">
                  <c:v>0.14764166724882991</c:v>
                </c:pt>
                <c:pt idx="38">
                  <c:v>0.1514352392753161</c:v>
                </c:pt>
                <c:pt idx="39">
                  <c:v>0.1505373774948725</c:v>
                </c:pt>
                <c:pt idx="40">
                  <c:v>0.15046597577090229</c:v>
                </c:pt>
                <c:pt idx="41">
                  <c:v>0.1536847045121035</c:v>
                </c:pt>
                <c:pt idx="42">
                  <c:v>0.15643197630917219</c:v>
                </c:pt>
                <c:pt idx="43">
                  <c:v>0.15732525475108569</c:v>
                </c:pt>
                <c:pt idx="44">
                  <c:v>0.15868324313139179</c:v>
                </c:pt>
                <c:pt idx="45">
                  <c:v>0.16392219743759751</c:v>
                </c:pt>
                <c:pt idx="46">
                  <c:v>0.16776535482344859</c:v>
                </c:pt>
                <c:pt idx="47">
                  <c:v>0.1685952378297905</c:v>
                </c:pt>
                <c:pt idx="48">
                  <c:v>0.16967496163123089</c:v>
                </c:pt>
                <c:pt idx="49">
                  <c:v>0.17105504049515349</c:v>
                </c:pt>
                <c:pt idx="50">
                  <c:v>0.1726148543827013</c:v>
                </c:pt>
                <c:pt idx="51">
                  <c:v>0.17416165288057661</c:v>
                </c:pt>
                <c:pt idx="52">
                  <c:v>0.1757458114855828</c:v>
                </c:pt>
                <c:pt idx="53">
                  <c:v>0.18039391447334699</c:v>
                </c:pt>
                <c:pt idx="54">
                  <c:v>0.18327677635064321</c:v>
                </c:pt>
                <c:pt idx="55">
                  <c:v>0.1833475283707425</c:v>
                </c:pt>
                <c:pt idx="56">
                  <c:v>1.8241763152864219E-2</c:v>
                </c:pt>
                <c:pt idx="57">
                  <c:v>0.14183520555885701</c:v>
                </c:pt>
                <c:pt idx="58">
                  <c:v>0.104696840758942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DBE2-48CC-8485-F6B125FAE53C}"/>
            </c:ext>
          </c:extLst>
        </c:ser>
        <c:ser>
          <c:idx val="11"/>
          <c:order val="11"/>
          <c:tx>
            <c:strRef>
              <c:f>Sheet1!$A$13</c:f>
              <c:strCache>
                <c:ptCount val="1"/>
                <c:pt idx="0">
                  <c:v>2.25</c:v>
                </c:pt>
              </c:strCache>
            </c:strRef>
          </c:tx>
          <c:spPr>
            <a:gradFill rotWithShape="1">
              <a:gsLst>
                <a:gs pos="0">
                  <a:schemeClr val="accent6">
                    <a:lumMod val="60000"/>
                    <a:tint val="50000"/>
                    <a:satMod val="300000"/>
                  </a:schemeClr>
                </a:gs>
                <a:gs pos="35000">
                  <a:schemeClr val="accent6">
                    <a:lumMod val="60000"/>
                    <a:tint val="37000"/>
                    <a:satMod val="300000"/>
                  </a:schemeClr>
                </a:gs>
                <a:gs pos="100000">
                  <a:schemeClr val="accent6">
                    <a:lumMod val="60000"/>
                    <a:tint val="15000"/>
                    <a:satMod val="350000"/>
                  </a:schemeClr>
                </a:gs>
              </a:gsLst>
              <a:lin ang="16200000" scaled="1"/>
            </a:gradFill>
            <a:ln w="9525" cap="flat" cmpd="sng" algn="ctr">
              <a:solidFill>
                <a:schemeClr val="accent6">
                  <a:lumMod val="60000"/>
                  <a:shade val="95000"/>
                </a:schemeClr>
              </a:solidFill>
              <a:round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  <a:sp3d contourW="9525">
              <a:contourClr>
                <a:schemeClr val="accent6">
                  <a:lumMod val="60000"/>
                  <a:shade val="95000"/>
                </a:schemeClr>
              </a:contourClr>
            </a:sp3d>
          </c:spPr>
          <c:cat>
            <c:numRef>
              <c:f>Sheet1!$B$1:$BH$1</c:f>
              <c:numCache>
                <c:formatCode>General</c:formatCode>
                <c:ptCount val="59"/>
                <c:pt idx="0">
                  <c:v>40</c:v>
                </c:pt>
                <c:pt idx="1">
                  <c:v>42.5</c:v>
                </c:pt>
                <c:pt idx="2">
                  <c:v>45</c:v>
                </c:pt>
                <c:pt idx="3">
                  <c:v>47.5</c:v>
                </c:pt>
                <c:pt idx="4">
                  <c:v>50</c:v>
                </c:pt>
                <c:pt idx="5">
                  <c:v>52.5</c:v>
                </c:pt>
                <c:pt idx="6">
                  <c:v>55</c:v>
                </c:pt>
                <c:pt idx="7">
                  <c:v>57.5</c:v>
                </c:pt>
                <c:pt idx="8">
                  <c:v>60</c:v>
                </c:pt>
                <c:pt idx="9">
                  <c:v>62.5</c:v>
                </c:pt>
                <c:pt idx="10">
                  <c:v>65</c:v>
                </c:pt>
                <c:pt idx="11">
                  <c:v>67.5</c:v>
                </c:pt>
                <c:pt idx="12">
                  <c:v>70</c:v>
                </c:pt>
                <c:pt idx="13">
                  <c:v>72.5</c:v>
                </c:pt>
                <c:pt idx="14">
                  <c:v>75</c:v>
                </c:pt>
                <c:pt idx="15">
                  <c:v>77.5</c:v>
                </c:pt>
                <c:pt idx="16">
                  <c:v>80</c:v>
                </c:pt>
                <c:pt idx="17">
                  <c:v>82.5</c:v>
                </c:pt>
                <c:pt idx="18">
                  <c:v>85</c:v>
                </c:pt>
                <c:pt idx="19">
                  <c:v>87.5</c:v>
                </c:pt>
                <c:pt idx="20">
                  <c:v>90</c:v>
                </c:pt>
                <c:pt idx="21">
                  <c:v>92.5</c:v>
                </c:pt>
                <c:pt idx="22">
                  <c:v>95</c:v>
                </c:pt>
                <c:pt idx="23">
                  <c:v>97.5</c:v>
                </c:pt>
                <c:pt idx="24">
                  <c:v>100</c:v>
                </c:pt>
                <c:pt idx="25">
                  <c:v>102.5</c:v>
                </c:pt>
                <c:pt idx="26">
                  <c:v>105</c:v>
                </c:pt>
                <c:pt idx="27">
                  <c:v>107.5</c:v>
                </c:pt>
                <c:pt idx="28">
                  <c:v>110</c:v>
                </c:pt>
                <c:pt idx="29">
                  <c:v>112.5</c:v>
                </c:pt>
                <c:pt idx="30">
                  <c:v>115</c:v>
                </c:pt>
                <c:pt idx="31">
                  <c:v>117.5</c:v>
                </c:pt>
                <c:pt idx="32">
                  <c:v>120</c:v>
                </c:pt>
                <c:pt idx="33">
                  <c:v>122.5</c:v>
                </c:pt>
                <c:pt idx="34">
                  <c:v>125</c:v>
                </c:pt>
                <c:pt idx="35">
                  <c:v>127.5</c:v>
                </c:pt>
                <c:pt idx="36">
                  <c:v>130</c:v>
                </c:pt>
                <c:pt idx="37">
                  <c:v>132.5</c:v>
                </c:pt>
                <c:pt idx="38">
                  <c:v>135</c:v>
                </c:pt>
                <c:pt idx="39">
                  <c:v>137.5</c:v>
                </c:pt>
                <c:pt idx="40">
                  <c:v>140</c:v>
                </c:pt>
                <c:pt idx="41">
                  <c:v>142.5</c:v>
                </c:pt>
                <c:pt idx="42">
                  <c:v>145</c:v>
                </c:pt>
                <c:pt idx="43">
                  <c:v>147.5</c:v>
                </c:pt>
                <c:pt idx="44">
                  <c:v>150</c:v>
                </c:pt>
                <c:pt idx="45">
                  <c:v>152.5</c:v>
                </c:pt>
                <c:pt idx="46">
                  <c:v>155</c:v>
                </c:pt>
                <c:pt idx="47">
                  <c:v>157.5</c:v>
                </c:pt>
                <c:pt idx="48">
                  <c:v>160</c:v>
                </c:pt>
                <c:pt idx="49">
                  <c:v>162.5</c:v>
                </c:pt>
                <c:pt idx="50">
                  <c:v>165</c:v>
                </c:pt>
                <c:pt idx="51">
                  <c:v>167.5</c:v>
                </c:pt>
                <c:pt idx="52">
                  <c:v>170</c:v>
                </c:pt>
                <c:pt idx="53">
                  <c:v>172.5</c:v>
                </c:pt>
                <c:pt idx="54">
                  <c:v>175</c:v>
                </c:pt>
                <c:pt idx="55">
                  <c:v>177.5</c:v>
                </c:pt>
                <c:pt idx="56">
                  <c:v>180</c:v>
                </c:pt>
                <c:pt idx="57">
                  <c:v>182.5</c:v>
                </c:pt>
                <c:pt idx="58">
                  <c:v>1000</c:v>
                </c:pt>
              </c:numCache>
            </c:numRef>
          </c:cat>
          <c:val>
            <c:numRef>
              <c:f>Sheet1!$B$13:$BH$13</c:f>
              <c:numCache>
                <c:formatCode>General</c:formatCode>
                <c:ptCount val="59"/>
                <c:pt idx="0">
                  <c:v>0.36840380634412162</c:v>
                </c:pt>
                <c:pt idx="1">
                  <c:v>0.36106266264359888</c:v>
                </c:pt>
                <c:pt idx="2">
                  <c:v>0.35387033792493933</c:v>
                </c:pt>
                <c:pt idx="3">
                  <c:v>0.34680995465850789</c:v>
                </c:pt>
                <c:pt idx="4">
                  <c:v>0.33976808166188083</c:v>
                </c:pt>
                <c:pt idx="5">
                  <c:v>0.32698002461708842</c:v>
                </c:pt>
                <c:pt idx="6">
                  <c:v>0.31609665176083879</c:v>
                </c:pt>
                <c:pt idx="7">
                  <c:v>0.30832890996175882</c:v>
                </c:pt>
                <c:pt idx="8">
                  <c:v>0.30058159686392572</c:v>
                </c:pt>
                <c:pt idx="9">
                  <c:v>0.29742725174000417</c:v>
                </c:pt>
                <c:pt idx="10">
                  <c:v>0.29308851805460301</c:v>
                </c:pt>
                <c:pt idx="11">
                  <c:v>0.28604301282206779</c:v>
                </c:pt>
                <c:pt idx="12">
                  <c:v>0.27934513264196509</c:v>
                </c:pt>
                <c:pt idx="13">
                  <c:v>0.27761714805570747</c:v>
                </c:pt>
                <c:pt idx="14">
                  <c:v>0.27416393789885218</c:v>
                </c:pt>
                <c:pt idx="15">
                  <c:v>0.26803682139423052</c:v>
                </c:pt>
                <c:pt idx="16">
                  <c:v>0.26181748099004432</c:v>
                </c:pt>
                <c:pt idx="17">
                  <c:v>0.25957405981925319</c:v>
                </c:pt>
                <c:pt idx="18">
                  <c:v>0.25607130267258599</c:v>
                </c:pt>
                <c:pt idx="19">
                  <c:v>0.2496387815518494</c:v>
                </c:pt>
                <c:pt idx="20">
                  <c:v>0.23829105502197631</c:v>
                </c:pt>
                <c:pt idx="21">
                  <c:v>0.22833828139943299</c:v>
                </c:pt>
                <c:pt idx="22">
                  <c:v>0.20741117019892599</c:v>
                </c:pt>
                <c:pt idx="23">
                  <c:v>0.19266515908994991</c:v>
                </c:pt>
                <c:pt idx="24">
                  <c:v>0.19798409170249551</c:v>
                </c:pt>
                <c:pt idx="25">
                  <c:v>0.20055823406976539</c:v>
                </c:pt>
                <c:pt idx="26">
                  <c:v>0.18319125194631211</c:v>
                </c:pt>
                <c:pt idx="27">
                  <c:v>0.17078619042676821</c:v>
                </c:pt>
                <c:pt idx="28">
                  <c:v>0.16480057645112919</c:v>
                </c:pt>
                <c:pt idx="29">
                  <c:v>0.14961817326194621</c:v>
                </c:pt>
                <c:pt idx="30">
                  <c:v>0.14050494067949479</c:v>
                </c:pt>
                <c:pt idx="31">
                  <c:v>0.13714177635213079</c:v>
                </c:pt>
                <c:pt idx="32">
                  <c:v>0.13427752541630519</c:v>
                </c:pt>
                <c:pt idx="33">
                  <c:v>0.1334746800131949</c:v>
                </c:pt>
                <c:pt idx="34">
                  <c:v>0.1379060051283193</c:v>
                </c:pt>
                <c:pt idx="35">
                  <c:v>0.1398874650779274</c:v>
                </c:pt>
                <c:pt idx="36">
                  <c:v>0.13835864558909561</c:v>
                </c:pt>
                <c:pt idx="37">
                  <c:v>0.13946966365383651</c:v>
                </c:pt>
                <c:pt idx="38">
                  <c:v>0.1407774805088593</c:v>
                </c:pt>
                <c:pt idx="39">
                  <c:v>0.1400256609198304</c:v>
                </c:pt>
                <c:pt idx="40">
                  <c:v>0.14043666249981351</c:v>
                </c:pt>
                <c:pt idx="41">
                  <c:v>0.14532924213174819</c:v>
                </c:pt>
                <c:pt idx="42">
                  <c:v>0.14793462622644879</c:v>
                </c:pt>
                <c:pt idx="43">
                  <c:v>0.14892629825781201</c:v>
                </c:pt>
                <c:pt idx="44">
                  <c:v>0.15060910496872451</c:v>
                </c:pt>
                <c:pt idx="45">
                  <c:v>0.1562336750489958</c:v>
                </c:pt>
                <c:pt idx="46">
                  <c:v>0.1596688826848581</c:v>
                </c:pt>
                <c:pt idx="47">
                  <c:v>0.16094785170808951</c:v>
                </c:pt>
                <c:pt idx="48">
                  <c:v>0.16289609019907519</c:v>
                </c:pt>
                <c:pt idx="49">
                  <c:v>0.16715978761074571</c:v>
                </c:pt>
                <c:pt idx="50">
                  <c:v>0.16900961171162551</c:v>
                </c:pt>
                <c:pt idx="51">
                  <c:v>0.17031534497926629</c:v>
                </c:pt>
                <c:pt idx="52">
                  <c:v>0.17178329378144211</c:v>
                </c:pt>
                <c:pt idx="53">
                  <c:v>0.17599372502872021</c:v>
                </c:pt>
                <c:pt idx="54">
                  <c:v>0.1781351453907199</c:v>
                </c:pt>
                <c:pt idx="55">
                  <c:v>0.1782002614023073</c:v>
                </c:pt>
                <c:pt idx="56">
                  <c:v>1.9046013221638989E-2</c:v>
                </c:pt>
                <c:pt idx="57">
                  <c:v>0.14193545914198</c:v>
                </c:pt>
                <c:pt idx="58">
                  <c:v>0.102723487428664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DBE2-48CC-8485-F6B125FAE53C}"/>
            </c:ext>
          </c:extLst>
        </c:ser>
        <c:ser>
          <c:idx val="12"/>
          <c:order val="12"/>
          <c:tx>
            <c:strRef>
              <c:f>Sheet1!$A$14</c:f>
              <c:strCache>
                <c:ptCount val="1"/>
                <c:pt idx="0">
                  <c:v>2.5</c:v>
                </c:pt>
              </c:strCache>
            </c:strRef>
          </c:tx>
          <c:spPr>
            <a:gradFill rotWithShape="1">
              <a:gsLst>
                <a:gs pos="0">
                  <a:schemeClr val="accent1">
                    <a:lumMod val="80000"/>
                    <a:lumOff val="20000"/>
                    <a:tint val="50000"/>
                    <a:satMod val="300000"/>
                  </a:schemeClr>
                </a:gs>
                <a:gs pos="35000">
                  <a:schemeClr val="accent1">
                    <a:lumMod val="80000"/>
                    <a:lumOff val="20000"/>
                    <a:tint val="37000"/>
                    <a:satMod val="300000"/>
                  </a:schemeClr>
                </a:gs>
                <a:gs pos="100000">
                  <a:schemeClr val="accent1">
                    <a:lumMod val="80000"/>
                    <a:lumOff val="20000"/>
                    <a:tint val="15000"/>
                    <a:satMod val="350000"/>
                  </a:schemeClr>
                </a:gs>
              </a:gsLst>
              <a:lin ang="16200000" scaled="1"/>
            </a:gradFill>
            <a:ln w="9525" cap="flat" cmpd="sng" algn="ctr">
              <a:solidFill>
                <a:schemeClr val="accent1">
                  <a:lumMod val="80000"/>
                  <a:lumOff val="20000"/>
                  <a:shade val="95000"/>
                </a:schemeClr>
              </a:solidFill>
              <a:round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  <a:sp3d contourW="9525">
              <a:contourClr>
                <a:schemeClr val="accent1">
                  <a:lumMod val="80000"/>
                  <a:lumOff val="20000"/>
                  <a:shade val="95000"/>
                </a:schemeClr>
              </a:contourClr>
            </a:sp3d>
          </c:spPr>
          <c:cat>
            <c:numRef>
              <c:f>Sheet1!$B$1:$BH$1</c:f>
              <c:numCache>
                <c:formatCode>General</c:formatCode>
                <c:ptCount val="59"/>
                <c:pt idx="0">
                  <c:v>40</c:v>
                </c:pt>
                <c:pt idx="1">
                  <c:v>42.5</c:v>
                </c:pt>
                <c:pt idx="2">
                  <c:v>45</c:v>
                </c:pt>
                <c:pt idx="3">
                  <c:v>47.5</c:v>
                </c:pt>
                <c:pt idx="4">
                  <c:v>50</c:v>
                </c:pt>
                <c:pt idx="5">
                  <c:v>52.5</c:v>
                </c:pt>
                <c:pt idx="6">
                  <c:v>55</c:v>
                </c:pt>
                <c:pt idx="7">
                  <c:v>57.5</c:v>
                </c:pt>
                <c:pt idx="8">
                  <c:v>60</c:v>
                </c:pt>
                <c:pt idx="9">
                  <c:v>62.5</c:v>
                </c:pt>
                <c:pt idx="10">
                  <c:v>65</c:v>
                </c:pt>
                <c:pt idx="11">
                  <c:v>67.5</c:v>
                </c:pt>
                <c:pt idx="12">
                  <c:v>70</c:v>
                </c:pt>
                <c:pt idx="13">
                  <c:v>72.5</c:v>
                </c:pt>
                <c:pt idx="14">
                  <c:v>75</c:v>
                </c:pt>
                <c:pt idx="15">
                  <c:v>77.5</c:v>
                </c:pt>
                <c:pt idx="16">
                  <c:v>80</c:v>
                </c:pt>
                <c:pt idx="17">
                  <c:v>82.5</c:v>
                </c:pt>
                <c:pt idx="18">
                  <c:v>85</c:v>
                </c:pt>
                <c:pt idx="19">
                  <c:v>87.5</c:v>
                </c:pt>
                <c:pt idx="20">
                  <c:v>90</c:v>
                </c:pt>
                <c:pt idx="21">
                  <c:v>92.5</c:v>
                </c:pt>
                <c:pt idx="22">
                  <c:v>95</c:v>
                </c:pt>
                <c:pt idx="23">
                  <c:v>97.5</c:v>
                </c:pt>
                <c:pt idx="24">
                  <c:v>100</c:v>
                </c:pt>
                <c:pt idx="25">
                  <c:v>102.5</c:v>
                </c:pt>
                <c:pt idx="26">
                  <c:v>105</c:v>
                </c:pt>
                <c:pt idx="27">
                  <c:v>107.5</c:v>
                </c:pt>
                <c:pt idx="28">
                  <c:v>110</c:v>
                </c:pt>
                <c:pt idx="29">
                  <c:v>112.5</c:v>
                </c:pt>
                <c:pt idx="30">
                  <c:v>115</c:v>
                </c:pt>
                <c:pt idx="31">
                  <c:v>117.5</c:v>
                </c:pt>
                <c:pt idx="32">
                  <c:v>120</c:v>
                </c:pt>
                <c:pt idx="33">
                  <c:v>122.5</c:v>
                </c:pt>
                <c:pt idx="34">
                  <c:v>125</c:v>
                </c:pt>
                <c:pt idx="35">
                  <c:v>127.5</c:v>
                </c:pt>
                <c:pt idx="36">
                  <c:v>130</c:v>
                </c:pt>
                <c:pt idx="37">
                  <c:v>132.5</c:v>
                </c:pt>
                <c:pt idx="38">
                  <c:v>135</c:v>
                </c:pt>
                <c:pt idx="39">
                  <c:v>137.5</c:v>
                </c:pt>
                <c:pt idx="40">
                  <c:v>140</c:v>
                </c:pt>
                <c:pt idx="41">
                  <c:v>142.5</c:v>
                </c:pt>
                <c:pt idx="42">
                  <c:v>145</c:v>
                </c:pt>
                <c:pt idx="43">
                  <c:v>147.5</c:v>
                </c:pt>
                <c:pt idx="44">
                  <c:v>150</c:v>
                </c:pt>
                <c:pt idx="45">
                  <c:v>152.5</c:v>
                </c:pt>
                <c:pt idx="46">
                  <c:v>155</c:v>
                </c:pt>
                <c:pt idx="47">
                  <c:v>157.5</c:v>
                </c:pt>
                <c:pt idx="48">
                  <c:v>160</c:v>
                </c:pt>
                <c:pt idx="49">
                  <c:v>162.5</c:v>
                </c:pt>
                <c:pt idx="50">
                  <c:v>165</c:v>
                </c:pt>
                <c:pt idx="51">
                  <c:v>167.5</c:v>
                </c:pt>
                <c:pt idx="52">
                  <c:v>170</c:v>
                </c:pt>
                <c:pt idx="53">
                  <c:v>172.5</c:v>
                </c:pt>
                <c:pt idx="54">
                  <c:v>175</c:v>
                </c:pt>
                <c:pt idx="55">
                  <c:v>177.5</c:v>
                </c:pt>
                <c:pt idx="56">
                  <c:v>180</c:v>
                </c:pt>
                <c:pt idx="57">
                  <c:v>182.5</c:v>
                </c:pt>
                <c:pt idx="58">
                  <c:v>1000</c:v>
                </c:pt>
              </c:numCache>
            </c:numRef>
          </c:cat>
          <c:val>
            <c:numRef>
              <c:f>Sheet1!$B$14:$BH$14</c:f>
              <c:numCache>
                <c:formatCode>General</c:formatCode>
                <c:ptCount val="59"/>
                <c:pt idx="0">
                  <c:v>0.36141166712416872</c:v>
                </c:pt>
                <c:pt idx="1">
                  <c:v>0.35415264551285902</c:v>
                </c:pt>
                <c:pt idx="2">
                  <c:v>0.34705571790086331</c:v>
                </c:pt>
                <c:pt idx="3">
                  <c:v>0.34010381094705661</c:v>
                </c:pt>
                <c:pt idx="4">
                  <c:v>0.33317233220109238</c:v>
                </c:pt>
                <c:pt idx="5">
                  <c:v>0.32165385235522759</c:v>
                </c:pt>
                <c:pt idx="6">
                  <c:v>0.31190704662503438</c:v>
                </c:pt>
                <c:pt idx="7">
                  <c:v>0.30454578071283978</c:v>
                </c:pt>
                <c:pt idx="8">
                  <c:v>0.29719643031089071</c:v>
                </c:pt>
                <c:pt idx="9">
                  <c:v>0.29314539906378673</c:v>
                </c:pt>
                <c:pt idx="10">
                  <c:v>0.28809636414524359</c:v>
                </c:pt>
                <c:pt idx="11">
                  <c:v>0.28122506782746209</c:v>
                </c:pt>
                <c:pt idx="12">
                  <c:v>0.27480915319996269</c:v>
                </c:pt>
                <c:pt idx="13">
                  <c:v>0.27413888894958721</c:v>
                </c:pt>
                <c:pt idx="14">
                  <c:v>0.2709433126351411</c:v>
                </c:pt>
                <c:pt idx="15">
                  <c:v>0.26505152637954588</c:v>
                </c:pt>
                <c:pt idx="16">
                  <c:v>0.25906390547035102</c:v>
                </c:pt>
                <c:pt idx="17">
                  <c:v>0.25554801924705423</c:v>
                </c:pt>
                <c:pt idx="18">
                  <c:v>0.2511880661340864</c:v>
                </c:pt>
                <c:pt idx="19">
                  <c:v>0.24495430988656949</c:v>
                </c:pt>
                <c:pt idx="20">
                  <c:v>0.23486415705605451</c:v>
                </c:pt>
                <c:pt idx="21">
                  <c:v>0.22609391222765041</c:v>
                </c:pt>
                <c:pt idx="22">
                  <c:v>0.20834751944860519</c:v>
                </c:pt>
                <c:pt idx="23">
                  <c:v>0.19604223362442169</c:v>
                </c:pt>
                <c:pt idx="24">
                  <c:v>0.19899891213691931</c:v>
                </c:pt>
                <c:pt idx="25">
                  <c:v>0.19894862008462391</c:v>
                </c:pt>
                <c:pt idx="26">
                  <c:v>0.18396690921682149</c:v>
                </c:pt>
                <c:pt idx="27">
                  <c:v>0.17335283341672561</c:v>
                </c:pt>
                <c:pt idx="28">
                  <c:v>0.16734790959318371</c:v>
                </c:pt>
                <c:pt idx="29">
                  <c:v>0.15290850274833759</c:v>
                </c:pt>
                <c:pt idx="30">
                  <c:v>0.1444987999095885</c:v>
                </c:pt>
                <c:pt idx="31">
                  <c:v>0.14033494178864839</c:v>
                </c:pt>
                <c:pt idx="32">
                  <c:v>0.13325312915786039</c:v>
                </c:pt>
                <c:pt idx="33">
                  <c:v>0.13084458497646551</c:v>
                </c:pt>
                <c:pt idx="34">
                  <c:v>0.13691059440643399</c:v>
                </c:pt>
                <c:pt idx="35">
                  <c:v>0.1383373929386808</c:v>
                </c:pt>
                <c:pt idx="36">
                  <c:v>0.13591272133946589</c:v>
                </c:pt>
                <c:pt idx="37">
                  <c:v>0.13364536152885381</c:v>
                </c:pt>
                <c:pt idx="38">
                  <c:v>0.13325117068236281</c:v>
                </c:pt>
                <c:pt idx="39">
                  <c:v>0.13250883701551389</c:v>
                </c:pt>
                <c:pt idx="40">
                  <c:v>0.13314952379181849</c:v>
                </c:pt>
                <c:pt idx="41">
                  <c:v>0.1391541707388162</c:v>
                </c:pt>
                <c:pt idx="42">
                  <c:v>0.14162408680304331</c:v>
                </c:pt>
                <c:pt idx="43">
                  <c:v>0.1426295147464933</c:v>
                </c:pt>
                <c:pt idx="44">
                  <c:v>0.1444908432231565</c:v>
                </c:pt>
                <c:pt idx="45">
                  <c:v>0.15037462123758871</c:v>
                </c:pt>
                <c:pt idx="46">
                  <c:v>0.1534636234823149</c:v>
                </c:pt>
                <c:pt idx="47">
                  <c:v>0.15500318830058499</c:v>
                </c:pt>
                <c:pt idx="48">
                  <c:v>0.15754254784777569</c:v>
                </c:pt>
                <c:pt idx="49">
                  <c:v>0.16412521631640539</c:v>
                </c:pt>
                <c:pt idx="50">
                  <c:v>0.16624128606212499</c:v>
                </c:pt>
                <c:pt idx="51">
                  <c:v>0.16736117998160119</c:v>
                </c:pt>
                <c:pt idx="52">
                  <c:v>0.1687531915807288</c:v>
                </c:pt>
                <c:pt idx="53">
                  <c:v>0.17264173584790429</c:v>
                </c:pt>
                <c:pt idx="54">
                  <c:v>0.17418419177610789</c:v>
                </c:pt>
                <c:pt idx="55">
                  <c:v>0.17423751856575401</c:v>
                </c:pt>
                <c:pt idx="56">
                  <c:v>1.9946804741814119E-2</c:v>
                </c:pt>
                <c:pt idx="57">
                  <c:v>0.14203376859717601</c:v>
                </c:pt>
                <c:pt idx="58">
                  <c:v>0.101011976302675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DBE2-48CC-8485-F6B125FAE53C}"/>
            </c:ext>
          </c:extLst>
        </c:ser>
        <c:ser>
          <c:idx val="13"/>
          <c:order val="13"/>
          <c:tx>
            <c:strRef>
              <c:f>Sheet1!$A$15</c:f>
              <c:strCache>
                <c:ptCount val="1"/>
                <c:pt idx="0">
                  <c:v>2.75</c:v>
                </c:pt>
              </c:strCache>
            </c:strRef>
          </c:tx>
          <c:spPr>
            <a:gradFill rotWithShape="1">
              <a:gsLst>
                <a:gs pos="0">
                  <a:schemeClr val="accent2">
                    <a:lumMod val="80000"/>
                    <a:lumOff val="20000"/>
                    <a:tint val="50000"/>
                    <a:satMod val="300000"/>
                  </a:schemeClr>
                </a:gs>
                <a:gs pos="35000">
                  <a:schemeClr val="accent2">
                    <a:lumMod val="80000"/>
                    <a:lumOff val="20000"/>
                    <a:tint val="37000"/>
                    <a:satMod val="300000"/>
                  </a:schemeClr>
                </a:gs>
                <a:gs pos="100000">
                  <a:schemeClr val="accent2">
                    <a:lumMod val="80000"/>
                    <a:lumOff val="20000"/>
                    <a:tint val="15000"/>
                    <a:satMod val="350000"/>
                  </a:schemeClr>
                </a:gs>
              </a:gsLst>
              <a:lin ang="16200000" scaled="1"/>
            </a:gradFill>
            <a:ln w="9525" cap="flat" cmpd="sng" algn="ctr">
              <a:solidFill>
                <a:schemeClr val="accent2">
                  <a:lumMod val="80000"/>
                  <a:lumOff val="20000"/>
                  <a:shade val="95000"/>
                </a:schemeClr>
              </a:solidFill>
              <a:round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  <a:sp3d contourW="9525">
              <a:contourClr>
                <a:schemeClr val="accent2">
                  <a:lumMod val="80000"/>
                  <a:lumOff val="20000"/>
                  <a:shade val="95000"/>
                </a:schemeClr>
              </a:contourClr>
            </a:sp3d>
          </c:spPr>
          <c:cat>
            <c:numRef>
              <c:f>Sheet1!$B$1:$BH$1</c:f>
              <c:numCache>
                <c:formatCode>General</c:formatCode>
                <c:ptCount val="59"/>
                <c:pt idx="0">
                  <c:v>40</c:v>
                </c:pt>
                <c:pt idx="1">
                  <c:v>42.5</c:v>
                </c:pt>
                <c:pt idx="2">
                  <c:v>45</c:v>
                </c:pt>
                <c:pt idx="3">
                  <c:v>47.5</c:v>
                </c:pt>
                <c:pt idx="4">
                  <c:v>50</c:v>
                </c:pt>
                <c:pt idx="5">
                  <c:v>52.5</c:v>
                </c:pt>
                <c:pt idx="6">
                  <c:v>55</c:v>
                </c:pt>
                <c:pt idx="7">
                  <c:v>57.5</c:v>
                </c:pt>
                <c:pt idx="8">
                  <c:v>60</c:v>
                </c:pt>
                <c:pt idx="9">
                  <c:v>62.5</c:v>
                </c:pt>
                <c:pt idx="10">
                  <c:v>65</c:v>
                </c:pt>
                <c:pt idx="11">
                  <c:v>67.5</c:v>
                </c:pt>
                <c:pt idx="12">
                  <c:v>70</c:v>
                </c:pt>
                <c:pt idx="13">
                  <c:v>72.5</c:v>
                </c:pt>
                <c:pt idx="14">
                  <c:v>75</c:v>
                </c:pt>
                <c:pt idx="15">
                  <c:v>77.5</c:v>
                </c:pt>
                <c:pt idx="16">
                  <c:v>80</c:v>
                </c:pt>
                <c:pt idx="17">
                  <c:v>82.5</c:v>
                </c:pt>
                <c:pt idx="18">
                  <c:v>85</c:v>
                </c:pt>
                <c:pt idx="19">
                  <c:v>87.5</c:v>
                </c:pt>
                <c:pt idx="20">
                  <c:v>90</c:v>
                </c:pt>
                <c:pt idx="21">
                  <c:v>92.5</c:v>
                </c:pt>
                <c:pt idx="22">
                  <c:v>95</c:v>
                </c:pt>
                <c:pt idx="23">
                  <c:v>97.5</c:v>
                </c:pt>
                <c:pt idx="24">
                  <c:v>100</c:v>
                </c:pt>
                <c:pt idx="25">
                  <c:v>102.5</c:v>
                </c:pt>
                <c:pt idx="26">
                  <c:v>105</c:v>
                </c:pt>
                <c:pt idx="27">
                  <c:v>107.5</c:v>
                </c:pt>
                <c:pt idx="28">
                  <c:v>110</c:v>
                </c:pt>
                <c:pt idx="29">
                  <c:v>112.5</c:v>
                </c:pt>
                <c:pt idx="30">
                  <c:v>115</c:v>
                </c:pt>
                <c:pt idx="31">
                  <c:v>117.5</c:v>
                </c:pt>
                <c:pt idx="32">
                  <c:v>120</c:v>
                </c:pt>
                <c:pt idx="33">
                  <c:v>122.5</c:v>
                </c:pt>
                <c:pt idx="34">
                  <c:v>125</c:v>
                </c:pt>
                <c:pt idx="35">
                  <c:v>127.5</c:v>
                </c:pt>
                <c:pt idx="36">
                  <c:v>130</c:v>
                </c:pt>
                <c:pt idx="37">
                  <c:v>132.5</c:v>
                </c:pt>
                <c:pt idx="38">
                  <c:v>135</c:v>
                </c:pt>
                <c:pt idx="39">
                  <c:v>137.5</c:v>
                </c:pt>
                <c:pt idx="40">
                  <c:v>140</c:v>
                </c:pt>
                <c:pt idx="41">
                  <c:v>142.5</c:v>
                </c:pt>
                <c:pt idx="42">
                  <c:v>145</c:v>
                </c:pt>
                <c:pt idx="43">
                  <c:v>147.5</c:v>
                </c:pt>
                <c:pt idx="44">
                  <c:v>150</c:v>
                </c:pt>
                <c:pt idx="45">
                  <c:v>152.5</c:v>
                </c:pt>
                <c:pt idx="46">
                  <c:v>155</c:v>
                </c:pt>
                <c:pt idx="47">
                  <c:v>157.5</c:v>
                </c:pt>
                <c:pt idx="48">
                  <c:v>160</c:v>
                </c:pt>
                <c:pt idx="49">
                  <c:v>162.5</c:v>
                </c:pt>
                <c:pt idx="50">
                  <c:v>165</c:v>
                </c:pt>
                <c:pt idx="51">
                  <c:v>167.5</c:v>
                </c:pt>
                <c:pt idx="52">
                  <c:v>170</c:v>
                </c:pt>
                <c:pt idx="53">
                  <c:v>172.5</c:v>
                </c:pt>
                <c:pt idx="54">
                  <c:v>175</c:v>
                </c:pt>
                <c:pt idx="55">
                  <c:v>177.5</c:v>
                </c:pt>
                <c:pt idx="56">
                  <c:v>180</c:v>
                </c:pt>
                <c:pt idx="57">
                  <c:v>182.5</c:v>
                </c:pt>
                <c:pt idx="58">
                  <c:v>1000</c:v>
                </c:pt>
              </c:numCache>
            </c:numRef>
          </c:cat>
          <c:val>
            <c:numRef>
              <c:f>Sheet1!$B$15:$BH$15</c:f>
              <c:numCache>
                <c:formatCode>General</c:formatCode>
                <c:ptCount val="59"/>
                <c:pt idx="0">
                  <c:v>0.35521516157529109</c:v>
                </c:pt>
                <c:pt idx="1">
                  <c:v>0.34805484042737739</c:v>
                </c:pt>
                <c:pt idx="2">
                  <c:v>0.34106743238625242</c:v>
                </c:pt>
                <c:pt idx="3">
                  <c:v>0.33423560938621732</c:v>
                </c:pt>
                <c:pt idx="4">
                  <c:v>0.32742433561081608</c:v>
                </c:pt>
                <c:pt idx="5">
                  <c:v>0.31705454311539932</c:v>
                </c:pt>
                <c:pt idx="6">
                  <c:v>0.30834350439732261</c:v>
                </c:pt>
                <c:pt idx="7">
                  <c:v>0.30134521745202281</c:v>
                </c:pt>
                <c:pt idx="8">
                  <c:v>0.29434891857375872</c:v>
                </c:pt>
                <c:pt idx="9">
                  <c:v>0.28945392355270883</c:v>
                </c:pt>
                <c:pt idx="10">
                  <c:v>0.28375803037507707</c:v>
                </c:pt>
                <c:pt idx="11">
                  <c:v>0.27705240836513928</c:v>
                </c:pt>
                <c:pt idx="12">
                  <c:v>0.27089927243276618</c:v>
                </c:pt>
                <c:pt idx="13">
                  <c:v>0.27122921893073249</c:v>
                </c:pt>
                <c:pt idx="14">
                  <c:v>0.26827570967704739</c:v>
                </c:pt>
                <c:pt idx="15">
                  <c:v>0.26259191831279521</c:v>
                </c:pt>
                <c:pt idx="16">
                  <c:v>0.2568064344058516</c:v>
                </c:pt>
                <c:pt idx="17">
                  <c:v>0.25209979134762261</c:v>
                </c:pt>
                <c:pt idx="18">
                  <c:v>0.24696864960023551</c:v>
                </c:pt>
                <c:pt idx="19">
                  <c:v>0.24091946671332179</c:v>
                </c:pt>
                <c:pt idx="20">
                  <c:v>0.23195449642546831</c:v>
                </c:pt>
                <c:pt idx="21">
                  <c:v>0.2242502486365609</c:v>
                </c:pt>
                <c:pt idx="22">
                  <c:v>0.20954847285964359</c:v>
                </c:pt>
                <c:pt idx="23">
                  <c:v>0.19975613884487289</c:v>
                </c:pt>
                <c:pt idx="24">
                  <c:v>0.20008621381851549</c:v>
                </c:pt>
                <c:pt idx="25">
                  <c:v>0.19735793662766299</c:v>
                </c:pt>
                <c:pt idx="26">
                  <c:v>0.18466355083608971</c:v>
                </c:pt>
                <c:pt idx="27">
                  <c:v>0.17587346982411539</c:v>
                </c:pt>
                <c:pt idx="28">
                  <c:v>0.16978693988571569</c:v>
                </c:pt>
                <c:pt idx="29">
                  <c:v>0.15618639729859521</c:v>
                </c:pt>
                <c:pt idx="30">
                  <c:v>0.1486523836398749</c:v>
                </c:pt>
                <c:pt idx="31">
                  <c:v>0.14369330136491049</c:v>
                </c:pt>
                <c:pt idx="32">
                  <c:v>0.13235845837364871</c:v>
                </c:pt>
                <c:pt idx="33">
                  <c:v>0.12855702344275521</c:v>
                </c:pt>
                <c:pt idx="34">
                  <c:v>0.13623943225152221</c:v>
                </c:pt>
                <c:pt idx="35">
                  <c:v>0.13729793606667531</c:v>
                </c:pt>
                <c:pt idx="36">
                  <c:v>0.13416607888133611</c:v>
                </c:pt>
                <c:pt idx="37">
                  <c:v>0.12913255422015971</c:v>
                </c:pt>
                <c:pt idx="38">
                  <c:v>0.12744709605200799</c:v>
                </c:pt>
                <c:pt idx="39">
                  <c:v>0.1266627989632847</c:v>
                </c:pt>
                <c:pt idx="40">
                  <c:v>0.12741972437782451</c:v>
                </c:pt>
                <c:pt idx="41">
                  <c:v>0.13425012547496229</c:v>
                </c:pt>
                <c:pt idx="42">
                  <c:v>0.13659632466453611</c:v>
                </c:pt>
                <c:pt idx="43">
                  <c:v>0.13757714508590541</c:v>
                </c:pt>
                <c:pt idx="44">
                  <c:v>0.13954298884481189</c:v>
                </c:pt>
                <c:pt idx="45">
                  <c:v>0.14562048608867131</c:v>
                </c:pt>
                <c:pt idx="46">
                  <c:v>0.14840357383614861</c:v>
                </c:pt>
                <c:pt idx="47">
                  <c:v>0.15010084926152259</c:v>
                </c:pt>
                <c:pt idx="48">
                  <c:v>0.1530726548181803</c:v>
                </c:pt>
                <c:pt idx="49">
                  <c:v>0.16163942262062669</c:v>
                </c:pt>
                <c:pt idx="50">
                  <c:v>0.16401149522315031</c:v>
                </c:pt>
                <c:pt idx="51">
                  <c:v>0.16498077426323779</c:v>
                </c:pt>
                <c:pt idx="52">
                  <c:v>0.16632402622279849</c:v>
                </c:pt>
                <c:pt idx="53">
                  <c:v>0.16996374888952709</c:v>
                </c:pt>
                <c:pt idx="54">
                  <c:v>0.17099236091034711</c:v>
                </c:pt>
                <c:pt idx="55">
                  <c:v>0.17103140074418799</c:v>
                </c:pt>
                <c:pt idx="56">
                  <c:v>2.0989750361298389E-2</c:v>
                </c:pt>
                <c:pt idx="57">
                  <c:v>0.14213228261342009</c:v>
                </c:pt>
                <c:pt idx="58">
                  <c:v>9.9483111811690741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D-DBE2-48CC-8485-F6B125FAE53C}"/>
            </c:ext>
          </c:extLst>
        </c:ser>
        <c:ser>
          <c:idx val="14"/>
          <c:order val="14"/>
          <c:tx>
            <c:strRef>
              <c:f>Sheet1!$A$16</c:f>
              <c:strCache>
                <c:ptCount val="1"/>
                <c:pt idx="0">
                  <c:v>3.002739726</c:v>
                </c:pt>
              </c:strCache>
            </c:strRef>
          </c:tx>
          <c:spPr>
            <a:gradFill rotWithShape="1">
              <a:gsLst>
                <a:gs pos="0">
                  <a:schemeClr val="accent3">
                    <a:lumMod val="80000"/>
                    <a:lumOff val="20000"/>
                    <a:tint val="50000"/>
                    <a:satMod val="300000"/>
                  </a:schemeClr>
                </a:gs>
                <a:gs pos="35000">
                  <a:schemeClr val="accent3">
                    <a:lumMod val="80000"/>
                    <a:lumOff val="20000"/>
                    <a:tint val="37000"/>
                    <a:satMod val="300000"/>
                  </a:schemeClr>
                </a:gs>
                <a:gs pos="100000">
                  <a:schemeClr val="accent3">
                    <a:lumMod val="80000"/>
                    <a:lumOff val="20000"/>
                    <a:tint val="15000"/>
                    <a:satMod val="350000"/>
                  </a:schemeClr>
                </a:gs>
              </a:gsLst>
              <a:lin ang="16200000" scaled="1"/>
            </a:gradFill>
            <a:ln w="9525" cap="flat" cmpd="sng" algn="ctr">
              <a:solidFill>
                <a:schemeClr val="accent3">
                  <a:lumMod val="80000"/>
                  <a:lumOff val="20000"/>
                  <a:shade val="95000"/>
                </a:schemeClr>
              </a:solidFill>
              <a:round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  <a:sp3d contourW="9525">
              <a:contourClr>
                <a:schemeClr val="accent3">
                  <a:lumMod val="80000"/>
                  <a:lumOff val="20000"/>
                  <a:shade val="95000"/>
                </a:schemeClr>
              </a:contourClr>
            </a:sp3d>
          </c:spPr>
          <c:cat>
            <c:numRef>
              <c:f>Sheet1!$B$1:$BH$1</c:f>
              <c:numCache>
                <c:formatCode>General</c:formatCode>
                <c:ptCount val="59"/>
                <c:pt idx="0">
                  <c:v>40</c:v>
                </c:pt>
                <c:pt idx="1">
                  <c:v>42.5</c:v>
                </c:pt>
                <c:pt idx="2">
                  <c:v>45</c:v>
                </c:pt>
                <c:pt idx="3">
                  <c:v>47.5</c:v>
                </c:pt>
                <c:pt idx="4">
                  <c:v>50</c:v>
                </c:pt>
                <c:pt idx="5">
                  <c:v>52.5</c:v>
                </c:pt>
                <c:pt idx="6">
                  <c:v>55</c:v>
                </c:pt>
                <c:pt idx="7">
                  <c:v>57.5</c:v>
                </c:pt>
                <c:pt idx="8">
                  <c:v>60</c:v>
                </c:pt>
                <c:pt idx="9">
                  <c:v>62.5</c:v>
                </c:pt>
                <c:pt idx="10">
                  <c:v>65</c:v>
                </c:pt>
                <c:pt idx="11">
                  <c:v>67.5</c:v>
                </c:pt>
                <c:pt idx="12">
                  <c:v>70</c:v>
                </c:pt>
                <c:pt idx="13">
                  <c:v>72.5</c:v>
                </c:pt>
                <c:pt idx="14">
                  <c:v>75</c:v>
                </c:pt>
                <c:pt idx="15">
                  <c:v>77.5</c:v>
                </c:pt>
                <c:pt idx="16">
                  <c:v>80</c:v>
                </c:pt>
                <c:pt idx="17">
                  <c:v>82.5</c:v>
                </c:pt>
                <c:pt idx="18">
                  <c:v>85</c:v>
                </c:pt>
                <c:pt idx="19">
                  <c:v>87.5</c:v>
                </c:pt>
                <c:pt idx="20">
                  <c:v>90</c:v>
                </c:pt>
                <c:pt idx="21">
                  <c:v>92.5</c:v>
                </c:pt>
                <c:pt idx="22">
                  <c:v>95</c:v>
                </c:pt>
                <c:pt idx="23">
                  <c:v>97.5</c:v>
                </c:pt>
                <c:pt idx="24">
                  <c:v>100</c:v>
                </c:pt>
                <c:pt idx="25">
                  <c:v>102.5</c:v>
                </c:pt>
                <c:pt idx="26">
                  <c:v>105</c:v>
                </c:pt>
                <c:pt idx="27">
                  <c:v>107.5</c:v>
                </c:pt>
                <c:pt idx="28">
                  <c:v>110</c:v>
                </c:pt>
                <c:pt idx="29">
                  <c:v>112.5</c:v>
                </c:pt>
                <c:pt idx="30">
                  <c:v>115</c:v>
                </c:pt>
                <c:pt idx="31">
                  <c:v>117.5</c:v>
                </c:pt>
                <c:pt idx="32">
                  <c:v>120</c:v>
                </c:pt>
                <c:pt idx="33">
                  <c:v>122.5</c:v>
                </c:pt>
                <c:pt idx="34">
                  <c:v>125</c:v>
                </c:pt>
                <c:pt idx="35">
                  <c:v>127.5</c:v>
                </c:pt>
                <c:pt idx="36">
                  <c:v>130</c:v>
                </c:pt>
                <c:pt idx="37">
                  <c:v>132.5</c:v>
                </c:pt>
                <c:pt idx="38">
                  <c:v>135</c:v>
                </c:pt>
                <c:pt idx="39">
                  <c:v>137.5</c:v>
                </c:pt>
                <c:pt idx="40">
                  <c:v>140</c:v>
                </c:pt>
                <c:pt idx="41">
                  <c:v>142.5</c:v>
                </c:pt>
                <c:pt idx="42">
                  <c:v>145</c:v>
                </c:pt>
                <c:pt idx="43">
                  <c:v>147.5</c:v>
                </c:pt>
                <c:pt idx="44">
                  <c:v>150</c:v>
                </c:pt>
                <c:pt idx="45">
                  <c:v>152.5</c:v>
                </c:pt>
                <c:pt idx="46">
                  <c:v>155</c:v>
                </c:pt>
                <c:pt idx="47">
                  <c:v>157.5</c:v>
                </c:pt>
                <c:pt idx="48">
                  <c:v>160</c:v>
                </c:pt>
                <c:pt idx="49">
                  <c:v>162.5</c:v>
                </c:pt>
                <c:pt idx="50">
                  <c:v>165</c:v>
                </c:pt>
                <c:pt idx="51">
                  <c:v>167.5</c:v>
                </c:pt>
                <c:pt idx="52">
                  <c:v>170</c:v>
                </c:pt>
                <c:pt idx="53">
                  <c:v>172.5</c:v>
                </c:pt>
                <c:pt idx="54">
                  <c:v>175</c:v>
                </c:pt>
                <c:pt idx="55">
                  <c:v>177.5</c:v>
                </c:pt>
                <c:pt idx="56">
                  <c:v>180</c:v>
                </c:pt>
                <c:pt idx="57">
                  <c:v>182.5</c:v>
                </c:pt>
                <c:pt idx="58">
                  <c:v>1000</c:v>
                </c:pt>
              </c:numCache>
            </c:numRef>
          </c:cat>
          <c:val>
            <c:numRef>
              <c:f>Sheet1!$B$16:$BH$16</c:f>
              <c:numCache>
                <c:formatCode>General</c:formatCode>
                <c:ptCount val="59"/>
                <c:pt idx="0">
                  <c:v>0.3254781808571281</c:v>
                </c:pt>
                <c:pt idx="1">
                  <c:v>0.31812555152007599</c:v>
                </c:pt>
                <c:pt idx="2">
                  <c:v>0.3111973919180574</c:v>
                </c:pt>
                <c:pt idx="3">
                  <c:v>0.30463704064579261</c:v>
                </c:pt>
                <c:pt idx="4">
                  <c:v>0.29827683819415352</c:v>
                </c:pt>
                <c:pt idx="5">
                  <c:v>0.28964497127628902</c:v>
                </c:pt>
                <c:pt idx="6">
                  <c:v>0.28261460565175578</c:v>
                </c:pt>
                <c:pt idx="7">
                  <c:v>0.27696537875175081</c:v>
                </c:pt>
                <c:pt idx="8">
                  <c:v>0.27173068452697841</c:v>
                </c:pt>
                <c:pt idx="9">
                  <c:v>0.2677587635040764</c:v>
                </c:pt>
                <c:pt idx="10">
                  <c:v>0.26355251932305018</c:v>
                </c:pt>
                <c:pt idx="11">
                  <c:v>0.25932034715055852</c:v>
                </c:pt>
                <c:pt idx="12">
                  <c:v>0.25578261810174979</c:v>
                </c:pt>
                <c:pt idx="13">
                  <c:v>0.25925077802635488</c:v>
                </c:pt>
                <c:pt idx="14">
                  <c:v>0.25886875532693537</c:v>
                </c:pt>
                <c:pt idx="15">
                  <c:v>0.25550458212829608</c:v>
                </c:pt>
                <c:pt idx="16">
                  <c:v>0.25177697936827692</c:v>
                </c:pt>
                <c:pt idx="17">
                  <c:v>0.2475760432890366</c:v>
                </c:pt>
                <c:pt idx="18">
                  <c:v>0.24297656565775949</c:v>
                </c:pt>
                <c:pt idx="19">
                  <c:v>0.23708929739422621</c:v>
                </c:pt>
                <c:pt idx="20">
                  <c:v>0.22786576548968851</c:v>
                </c:pt>
                <c:pt idx="21">
                  <c:v>0.21927771976156579</c:v>
                </c:pt>
                <c:pt idx="22">
                  <c:v>0.2074714780225769</c:v>
                </c:pt>
                <c:pt idx="23">
                  <c:v>0.20165632963546501</c:v>
                </c:pt>
                <c:pt idx="24">
                  <c:v>0.20099813616414311</c:v>
                </c:pt>
                <c:pt idx="25">
                  <c:v>0.19782579436591721</c:v>
                </c:pt>
                <c:pt idx="26">
                  <c:v>0.18808584874452411</c:v>
                </c:pt>
                <c:pt idx="27">
                  <c:v>0.18073120165664819</c:v>
                </c:pt>
                <c:pt idx="28">
                  <c:v>0.17456254747315059</c:v>
                </c:pt>
                <c:pt idx="29">
                  <c:v>0.1625607075586479</c:v>
                </c:pt>
                <c:pt idx="30">
                  <c:v>0.15726592476901721</c:v>
                </c:pt>
                <c:pt idx="31">
                  <c:v>0.15272971182553491</c:v>
                </c:pt>
                <c:pt idx="32">
                  <c:v>0.13799506230944031</c:v>
                </c:pt>
                <c:pt idx="33">
                  <c:v>0.13471190808490421</c:v>
                </c:pt>
                <c:pt idx="34">
                  <c:v>0.1465465445097664</c:v>
                </c:pt>
                <c:pt idx="35">
                  <c:v>0.148608062525381</c:v>
                </c:pt>
                <c:pt idx="36">
                  <c:v>0.14560142030698081</c:v>
                </c:pt>
                <c:pt idx="37">
                  <c:v>0.13850884709156649</c:v>
                </c:pt>
                <c:pt idx="38">
                  <c:v>0.13673227696677059</c:v>
                </c:pt>
                <c:pt idx="39">
                  <c:v>0.13689362928396251</c:v>
                </c:pt>
                <c:pt idx="40">
                  <c:v>0.13855136544879421</c:v>
                </c:pt>
                <c:pt idx="41">
                  <c:v>0.14736477170550499</c:v>
                </c:pt>
                <c:pt idx="42">
                  <c:v>0.1496770864192275</c:v>
                </c:pt>
                <c:pt idx="43">
                  <c:v>0.15017572423927819</c:v>
                </c:pt>
                <c:pt idx="44">
                  <c:v>0.15160902597045589</c:v>
                </c:pt>
                <c:pt idx="45">
                  <c:v>0.15740769172039029</c:v>
                </c:pt>
                <c:pt idx="46">
                  <c:v>0.1588234492615764</c:v>
                </c:pt>
                <c:pt idx="47">
                  <c:v>0.1595146636051194</c:v>
                </c:pt>
                <c:pt idx="48">
                  <c:v>0.16192830239621339</c:v>
                </c:pt>
                <c:pt idx="49">
                  <c:v>0.17198996856656629</c:v>
                </c:pt>
                <c:pt idx="50">
                  <c:v>0.17356086024489659</c:v>
                </c:pt>
                <c:pt idx="51">
                  <c:v>0.1732332451206863</c:v>
                </c:pt>
                <c:pt idx="52">
                  <c:v>0.17347771701460049</c:v>
                </c:pt>
                <c:pt idx="53">
                  <c:v>0.17602027739245771</c:v>
                </c:pt>
                <c:pt idx="54">
                  <c:v>0.17555750533466899</c:v>
                </c:pt>
                <c:pt idx="55">
                  <c:v>0.1745578118130989</c:v>
                </c:pt>
                <c:pt idx="56">
                  <c:v>2.2917368478650339E-2</c:v>
                </c:pt>
                <c:pt idx="57">
                  <c:v>0.14583975931999091</c:v>
                </c:pt>
                <c:pt idx="58">
                  <c:v>0.10708359297043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DBE2-48CC-8485-F6B125FAE53C}"/>
            </c:ext>
          </c:extLst>
        </c:ser>
        <c:ser>
          <c:idx val="15"/>
          <c:order val="15"/>
          <c:tx>
            <c:strRef>
              <c:f>Sheet1!$A$17</c:f>
              <c:strCache>
                <c:ptCount val="1"/>
                <c:pt idx="0">
                  <c:v>3.25</c:v>
                </c:pt>
              </c:strCache>
            </c:strRef>
          </c:tx>
          <c:spPr>
            <a:gradFill rotWithShape="1">
              <a:gsLst>
                <a:gs pos="0">
                  <a:schemeClr val="accent4">
                    <a:lumMod val="80000"/>
                    <a:lumOff val="20000"/>
                    <a:tint val="50000"/>
                    <a:satMod val="300000"/>
                  </a:schemeClr>
                </a:gs>
                <a:gs pos="35000">
                  <a:schemeClr val="accent4">
                    <a:lumMod val="80000"/>
                    <a:lumOff val="20000"/>
                    <a:tint val="37000"/>
                    <a:satMod val="300000"/>
                  </a:schemeClr>
                </a:gs>
                <a:gs pos="100000">
                  <a:schemeClr val="accent4">
                    <a:lumMod val="80000"/>
                    <a:lumOff val="20000"/>
                    <a:tint val="15000"/>
                    <a:satMod val="350000"/>
                  </a:schemeClr>
                </a:gs>
              </a:gsLst>
              <a:lin ang="16200000" scaled="1"/>
            </a:gradFill>
            <a:ln w="9525" cap="flat" cmpd="sng" algn="ctr">
              <a:solidFill>
                <a:schemeClr val="accent4">
                  <a:lumMod val="80000"/>
                  <a:lumOff val="20000"/>
                  <a:shade val="95000"/>
                </a:schemeClr>
              </a:solidFill>
              <a:round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  <a:sp3d contourW="9525">
              <a:contourClr>
                <a:schemeClr val="accent4">
                  <a:lumMod val="80000"/>
                  <a:lumOff val="20000"/>
                  <a:shade val="95000"/>
                </a:schemeClr>
              </a:contourClr>
            </a:sp3d>
          </c:spPr>
          <c:cat>
            <c:numRef>
              <c:f>Sheet1!$B$1:$BH$1</c:f>
              <c:numCache>
                <c:formatCode>General</c:formatCode>
                <c:ptCount val="59"/>
                <c:pt idx="0">
                  <c:v>40</c:v>
                </c:pt>
                <c:pt idx="1">
                  <c:v>42.5</c:v>
                </c:pt>
                <c:pt idx="2">
                  <c:v>45</c:v>
                </c:pt>
                <c:pt idx="3">
                  <c:v>47.5</c:v>
                </c:pt>
                <c:pt idx="4">
                  <c:v>50</c:v>
                </c:pt>
                <c:pt idx="5">
                  <c:v>52.5</c:v>
                </c:pt>
                <c:pt idx="6">
                  <c:v>55</c:v>
                </c:pt>
                <c:pt idx="7">
                  <c:v>57.5</c:v>
                </c:pt>
                <c:pt idx="8">
                  <c:v>60</c:v>
                </c:pt>
                <c:pt idx="9">
                  <c:v>62.5</c:v>
                </c:pt>
                <c:pt idx="10">
                  <c:v>65</c:v>
                </c:pt>
                <c:pt idx="11">
                  <c:v>67.5</c:v>
                </c:pt>
                <c:pt idx="12">
                  <c:v>70</c:v>
                </c:pt>
                <c:pt idx="13">
                  <c:v>72.5</c:v>
                </c:pt>
                <c:pt idx="14">
                  <c:v>75</c:v>
                </c:pt>
                <c:pt idx="15">
                  <c:v>77.5</c:v>
                </c:pt>
                <c:pt idx="16">
                  <c:v>80</c:v>
                </c:pt>
                <c:pt idx="17">
                  <c:v>82.5</c:v>
                </c:pt>
                <c:pt idx="18">
                  <c:v>85</c:v>
                </c:pt>
                <c:pt idx="19">
                  <c:v>87.5</c:v>
                </c:pt>
                <c:pt idx="20">
                  <c:v>90</c:v>
                </c:pt>
                <c:pt idx="21">
                  <c:v>92.5</c:v>
                </c:pt>
                <c:pt idx="22">
                  <c:v>95</c:v>
                </c:pt>
                <c:pt idx="23">
                  <c:v>97.5</c:v>
                </c:pt>
                <c:pt idx="24">
                  <c:v>100</c:v>
                </c:pt>
                <c:pt idx="25">
                  <c:v>102.5</c:v>
                </c:pt>
                <c:pt idx="26">
                  <c:v>105</c:v>
                </c:pt>
                <c:pt idx="27">
                  <c:v>107.5</c:v>
                </c:pt>
                <c:pt idx="28">
                  <c:v>110</c:v>
                </c:pt>
                <c:pt idx="29">
                  <c:v>112.5</c:v>
                </c:pt>
                <c:pt idx="30">
                  <c:v>115</c:v>
                </c:pt>
                <c:pt idx="31">
                  <c:v>117.5</c:v>
                </c:pt>
                <c:pt idx="32">
                  <c:v>120</c:v>
                </c:pt>
                <c:pt idx="33">
                  <c:v>122.5</c:v>
                </c:pt>
                <c:pt idx="34">
                  <c:v>125</c:v>
                </c:pt>
                <c:pt idx="35">
                  <c:v>127.5</c:v>
                </c:pt>
                <c:pt idx="36">
                  <c:v>130</c:v>
                </c:pt>
                <c:pt idx="37">
                  <c:v>132.5</c:v>
                </c:pt>
                <c:pt idx="38">
                  <c:v>135</c:v>
                </c:pt>
                <c:pt idx="39">
                  <c:v>137.5</c:v>
                </c:pt>
                <c:pt idx="40">
                  <c:v>140</c:v>
                </c:pt>
                <c:pt idx="41">
                  <c:v>142.5</c:v>
                </c:pt>
                <c:pt idx="42">
                  <c:v>145</c:v>
                </c:pt>
                <c:pt idx="43">
                  <c:v>147.5</c:v>
                </c:pt>
                <c:pt idx="44">
                  <c:v>150</c:v>
                </c:pt>
                <c:pt idx="45">
                  <c:v>152.5</c:v>
                </c:pt>
                <c:pt idx="46">
                  <c:v>155</c:v>
                </c:pt>
                <c:pt idx="47">
                  <c:v>157.5</c:v>
                </c:pt>
                <c:pt idx="48">
                  <c:v>160</c:v>
                </c:pt>
                <c:pt idx="49">
                  <c:v>162.5</c:v>
                </c:pt>
                <c:pt idx="50">
                  <c:v>165</c:v>
                </c:pt>
                <c:pt idx="51">
                  <c:v>167.5</c:v>
                </c:pt>
                <c:pt idx="52">
                  <c:v>170</c:v>
                </c:pt>
                <c:pt idx="53">
                  <c:v>172.5</c:v>
                </c:pt>
                <c:pt idx="54">
                  <c:v>175</c:v>
                </c:pt>
                <c:pt idx="55">
                  <c:v>177.5</c:v>
                </c:pt>
                <c:pt idx="56">
                  <c:v>180</c:v>
                </c:pt>
                <c:pt idx="57">
                  <c:v>182.5</c:v>
                </c:pt>
                <c:pt idx="58">
                  <c:v>1000</c:v>
                </c:pt>
              </c:numCache>
            </c:numRef>
          </c:cat>
          <c:val>
            <c:numRef>
              <c:f>Sheet1!$B$17:$BH$17</c:f>
              <c:numCache>
                <c:formatCode>General</c:formatCode>
                <c:ptCount val="59"/>
                <c:pt idx="0">
                  <c:v>0.32141848454295269</c:v>
                </c:pt>
                <c:pt idx="1">
                  <c:v>0.31408267242410232</c:v>
                </c:pt>
                <c:pt idx="2">
                  <c:v>0.30717913875126301</c:v>
                </c:pt>
                <c:pt idx="3">
                  <c:v>0.30065161938789497</c:v>
                </c:pt>
                <c:pt idx="4">
                  <c:v>0.29419933257139119</c:v>
                </c:pt>
                <c:pt idx="5">
                  <c:v>0.28508819194170831</c:v>
                </c:pt>
                <c:pt idx="6">
                  <c:v>0.27811814952493219</c:v>
                </c:pt>
                <c:pt idx="7">
                  <c:v>0.27250770444980871</c:v>
                </c:pt>
                <c:pt idx="8">
                  <c:v>0.26727122815037252</c:v>
                </c:pt>
                <c:pt idx="9">
                  <c:v>0.26282453843571629</c:v>
                </c:pt>
                <c:pt idx="10">
                  <c:v>0.25850233440384529</c:v>
                </c:pt>
                <c:pt idx="11">
                  <c:v>0.25432015852820961</c:v>
                </c:pt>
                <c:pt idx="12">
                  <c:v>0.25154094311801362</c:v>
                </c:pt>
                <c:pt idx="13">
                  <c:v>0.25743085192857762</c:v>
                </c:pt>
                <c:pt idx="14">
                  <c:v>0.25719720030095439</c:v>
                </c:pt>
                <c:pt idx="15">
                  <c:v>0.25406276212325729</c:v>
                </c:pt>
                <c:pt idx="16">
                  <c:v>0.25217286019163082</c:v>
                </c:pt>
                <c:pt idx="17">
                  <c:v>0.25511887086555679</c:v>
                </c:pt>
                <c:pt idx="18">
                  <c:v>0.25170381925751573</c:v>
                </c:pt>
                <c:pt idx="19">
                  <c:v>0.24068078694186451</c:v>
                </c:pt>
                <c:pt idx="20">
                  <c:v>0.21421854709154239</c:v>
                </c:pt>
                <c:pt idx="21">
                  <c:v>0.2064535145646304</c:v>
                </c:pt>
                <c:pt idx="22">
                  <c:v>0.2027331824488475</c:v>
                </c:pt>
                <c:pt idx="23">
                  <c:v>0.20207272930362399</c:v>
                </c:pt>
                <c:pt idx="24">
                  <c:v>0.21495101870959579</c:v>
                </c:pt>
                <c:pt idx="25">
                  <c:v>0.20714038724304851</c:v>
                </c:pt>
                <c:pt idx="26">
                  <c:v>0.18501029808651151</c:v>
                </c:pt>
                <c:pt idx="27">
                  <c:v>0.1777409200606602</c:v>
                </c:pt>
                <c:pt idx="28">
                  <c:v>0.1732681062467934</c:v>
                </c:pt>
                <c:pt idx="29">
                  <c:v>0.16547679847799951</c:v>
                </c:pt>
                <c:pt idx="30">
                  <c:v>0.160640191435236</c:v>
                </c:pt>
                <c:pt idx="31">
                  <c:v>0.15475781700325869</c:v>
                </c:pt>
                <c:pt idx="32">
                  <c:v>0.1397996632449767</c:v>
                </c:pt>
                <c:pt idx="33">
                  <c:v>0.13753389493320059</c:v>
                </c:pt>
                <c:pt idx="34">
                  <c:v>0.14822418470502091</c:v>
                </c:pt>
                <c:pt idx="35">
                  <c:v>0.1489721503959007</c:v>
                </c:pt>
                <c:pt idx="36">
                  <c:v>0.14452690450433309</c:v>
                </c:pt>
                <c:pt idx="37">
                  <c:v>0.13687102763110509</c:v>
                </c:pt>
                <c:pt idx="38">
                  <c:v>0.13511579993332409</c:v>
                </c:pt>
                <c:pt idx="39">
                  <c:v>0.1349065273307509</c:v>
                </c:pt>
                <c:pt idx="40">
                  <c:v>0.13710912514213699</c:v>
                </c:pt>
                <c:pt idx="41">
                  <c:v>0.14483505761745971</c:v>
                </c:pt>
                <c:pt idx="42">
                  <c:v>0.14606669302202729</c:v>
                </c:pt>
                <c:pt idx="43">
                  <c:v>0.14607206637810241</c:v>
                </c:pt>
                <c:pt idx="44">
                  <c:v>0.1460712257296623</c:v>
                </c:pt>
                <c:pt idx="45">
                  <c:v>0.1490990053094059</c:v>
                </c:pt>
                <c:pt idx="46">
                  <c:v>0.15020965385548429</c:v>
                </c:pt>
                <c:pt idx="47">
                  <c:v>0.15106921847307739</c:v>
                </c:pt>
                <c:pt idx="48">
                  <c:v>0.15624376123629491</c:v>
                </c:pt>
                <c:pt idx="49">
                  <c:v>0.16587688000002429</c:v>
                </c:pt>
                <c:pt idx="50">
                  <c:v>0.16683040748821851</c:v>
                </c:pt>
                <c:pt idx="51">
                  <c:v>0.1665627332815626</c:v>
                </c:pt>
                <c:pt idx="52">
                  <c:v>0.16767008619811141</c:v>
                </c:pt>
                <c:pt idx="53">
                  <c:v>0.1697975758856029</c:v>
                </c:pt>
                <c:pt idx="54">
                  <c:v>0.1691866332388739</c:v>
                </c:pt>
                <c:pt idx="55">
                  <c:v>0.16822014878364799</c:v>
                </c:pt>
                <c:pt idx="56">
                  <c:v>2.4055942086307149E-2</c:v>
                </c:pt>
                <c:pt idx="57">
                  <c:v>0.1458837391144685</c:v>
                </c:pt>
                <c:pt idx="58">
                  <c:v>0.111444863100652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F-DBE2-48CC-8485-F6B125FAE53C}"/>
            </c:ext>
          </c:extLst>
        </c:ser>
        <c:ser>
          <c:idx val="16"/>
          <c:order val="16"/>
          <c:tx>
            <c:strRef>
              <c:f>Sheet1!$A$18</c:f>
              <c:strCache>
                <c:ptCount val="1"/>
                <c:pt idx="0">
                  <c:v>3.5</c:v>
                </c:pt>
              </c:strCache>
            </c:strRef>
          </c:tx>
          <c:spPr>
            <a:gradFill rotWithShape="1">
              <a:gsLst>
                <a:gs pos="0">
                  <a:schemeClr val="accent5">
                    <a:lumMod val="80000"/>
                    <a:lumOff val="20000"/>
                    <a:tint val="50000"/>
                    <a:satMod val="300000"/>
                  </a:schemeClr>
                </a:gs>
                <a:gs pos="35000">
                  <a:schemeClr val="accent5">
                    <a:lumMod val="80000"/>
                    <a:lumOff val="20000"/>
                    <a:tint val="37000"/>
                    <a:satMod val="300000"/>
                  </a:schemeClr>
                </a:gs>
                <a:gs pos="100000">
                  <a:schemeClr val="accent5">
                    <a:lumMod val="80000"/>
                    <a:lumOff val="20000"/>
                    <a:tint val="15000"/>
                    <a:satMod val="350000"/>
                  </a:schemeClr>
                </a:gs>
              </a:gsLst>
              <a:lin ang="16200000" scaled="1"/>
            </a:gradFill>
            <a:ln w="9525" cap="flat" cmpd="sng" algn="ctr">
              <a:solidFill>
                <a:schemeClr val="accent5">
                  <a:lumMod val="80000"/>
                  <a:lumOff val="20000"/>
                  <a:shade val="95000"/>
                </a:schemeClr>
              </a:solidFill>
              <a:round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  <a:sp3d contourW="9525">
              <a:contourClr>
                <a:schemeClr val="accent5">
                  <a:lumMod val="80000"/>
                  <a:lumOff val="20000"/>
                  <a:shade val="95000"/>
                </a:schemeClr>
              </a:contourClr>
            </a:sp3d>
          </c:spPr>
          <c:cat>
            <c:numRef>
              <c:f>Sheet1!$B$1:$BH$1</c:f>
              <c:numCache>
                <c:formatCode>General</c:formatCode>
                <c:ptCount val="59"/>
                <c:pt idx="0">
                  <c:v>40</c:v>
                </c:pt>
                <c:pt idx="1">
                  <c:v>42.5</c:v>
                </c:pt>
                <c:pt idx="2">
                  <c:v>45</c:v>
                </c:pt>
                <c:pt idx="3">
                  <c:v>47.5</c:v>
                </c:pt>
                <c:pt idx="4">
                  <c:v>50</c:v>
                </c:pt>
                <c:pt idx="5">
                  <c:v>52.5</c:v>
                </c:pt>
                <c:pt idx="6">
                  <c:v>55</c:v>
                </c:pt>
                <c:pt idx="7">
                  <c:v>57.5</c:v>
                </c:pt>
                <c:pt idx="8">
                  <c:v>60</c:v>
                </c:pt>
                <c:pt idx="9">
                  <c:v>62.5</c:v>
                </c:pt>
                <c:pt idx="10">
                  <c:v>65</c:v>
                </c:pt>
                <c:pt idx="11">
                  <c:v>67.5</c:v>
                </c:pt>
                <c:pt idx="12">
                  <c:v>70</c:v>
                </c:pt>
                <c:pt idx="13">
                  <c:v>72.5</c:v>
                </c:pt>
                <c:pt idx="14">
                  <c:v>75</c:v>
                </c:pt>
                <c:pt idx="15">
                  <c:v>77.5</c:v>
                </c:pt>
                <c:pt idx="16">
                  <c:v>80</c:v>
                </c:pt>
                <c:pt idx="17">
                  <c:v>82.5</c:v>
                </c:pt>
                <c:pt idx="18">
                  <c:v>85</c:v>
                </c:pt>
                <c:pt idx="19">
                  <c:v>87.5</c:v>
                </c:pt>
                <c:pt idx="20">
                  <c:v>90</c:v>
                </c:pt>
                <c:pt idx="21">
                  <c:v>92.5</c:v>
                </c:pt>
                <c:pt idx="22">
                  <c:v>95</c:v>
                </c:pt>
                <c:pt idx="23">
                  <c:v>97.5</c:v>
                </c:pt>
                <c:pt idx="24">
                  <c:v>100</c:v>
                </c:pt>
                <c:pt idx="25">
                  <c:v>102.5</c:v>
                </c:pt>
                <c:pt idx="26">
                  <c:v>105</c:v>
                </c:pt>
                <c:pt idx="27">
                  <c:v>107.5</c:v>
                </c:pt>
                <c:pt idx="28">
                  <c:v>110</c:v>
                </c:pt>
                <c:pt idx="29">
                  <c:v>112.5</c:v>
                </c:pt>
                <c:pt idx="30">
                  <c:v>115</c:v>
                </c:pt>
                <c:pt idx="31">
                  <c:v>117.5</c:v>
                </c:pt>
                <c:pt idx="32">
                  <c:v>120</c:v>
                </c:pt>
                <c:pt idx="33">
                  <c:v>122.5</c:v>
                </c:pt>
                <c:pt idx="34">
                  <c:v>125</c:v>
                </c:pt>
                <c:pt idx="35">
                  <c:v>127.5</c:v>
                </c:pt>
                <c:pt idx="36">
                  <c:v>130</c:v>
                </c:pt>
                <c:pt idx="37">
                  <c:v>132.5</c:v>
                </c:pt>
                <c:pt idx="38">
                  <c:v>135</c:v>
                </c:pt>
                <c:pt idx="39">
                  <c:v>137.5</c:v>
                </c:pt>
                <c:pt idx="40">
                  <c:v>140</c:v>
                </c:pt>
                <c:pt idx="41">
                  <c:v>142.5</c:v>
                </c:pt>
                <c:pt idx="42">
                  <c:v>145</c:v>
                </c:pt>
                <c:pt idx="43">
                  <c:v>147.5</c:v>
                </c:pt>
                <c:pt idx="44">
                  <c:v>150</c:v>
                </c:pt>
                <c:pt idx="45">
                  <c:v>152.5</c:v>
                </c:pt>
                <c:pt idx="46">
                  <c:v>155</c:v>
                </c:pt>
                <c:pt idx="47">
                  <c:v>157.5</c:v>
                </c:pt>
                <c:pt idx="48">
                  <c:v>160</c:v>
                </c:pt>
                <c:pt idx="49">
                  <c:v>162.5</c:v>
                </c:pt>
                <c:pt idx="50">
                  <c:v>165</c:v>
                </c:pt>
                <c:pt idx="51">
                  <c:v>167.5</c:v>
                </c:pt>
                <c:pt idx="52">
                  <c:v>170</c:v>
                </c:pt>
                <c:pt idx="53">
                  <c:v>172.5</c:v>
                </c:pt>
                <c:pt idx="54">
                  <c:v>175</c:v>
                </c:pt>
                <c:pt idx="55">
                  <c:v>177.5</c:v>
                </c:pt>
                <c:pt idx="56">
                  <c:v>180</c:v>
                </c:pt>
                <c:pt idx="57">
                  <c:v>182.5</c:v>
                </c:pt>
                <c:pt idx="58">
                  <c:v>1000</c:v>
                </c:pt>
              </c:numCache>
            </c:numRef>
          </c:cat>
          <c:val>
            <c:numRef>
              <c:f>Sheet1!$B$18:$BH$18</c:f>
              <c:numCache>
                <c:formatCode>General</c:formatCode>
                <c:ptCount val="59"/>
                <c:pt idx="0">
                  <c:v>0.31763376297510892</c:v>
                </c:pt>
                <c:pt idx="1">
                  <c:v>0.31032478120195028</c:v>
                </c:pt>
                <c:pt idx="2">
                  <c:v>0.30345516809838191</c:v>
                </c:pt>
                <c:pt idx="3">
                  <c:v>0.29696897171555059</c:v>
                </c:pt>
                <c:pt idx="4">
                  <c:v>0.2904405223488693</c:v>
                </c:pt>
                <c:pt idx="5">
                  <c:v>0.28089142683166901</c:v>
                </c:pt>
                <c:pt idx="6">
                  <c:v>0.27399100685770561</c:v>
                </c:pt>
                <c:pt idx="7">
                  <c:v>0.26843093680281499</c:v>
                </c:pt>
                <c:pt idx="8">
                  <c:v>0.26320692140681018</c:v>
                </c:pt>
                <c:pt idx="9">
                  <c:v>0.25834168225793402</c:v>
                </c:pt>
                <c:pt idx="10">
                  <c:v>0.25393368846173581</c:v>
                </c:pt>
                <c:pt idx="11">
                  <c:v>0.24981630405767091</c:v>
                </c:pt>
                <c:pt idx="12">
                  <c:v>0.24774919770677051</c:v>
                </c:pt>
                <c:pt idx="13">
                  <c:v>0.25597063954932198</c:v>
                </c:pt>
                <c:pt idx="14">
                  <c:v>0.25587811970003033</c:v>
                </c:pt>
                <c:pt idx="15">
                  <c:v>0.25295356452088441</c:v>
                </c:pt>
                <c:pt idx="16">
                  <c:v>0.25289356380233508</c:v>
                </c:pt>
                <c:pt idx="17">
                  <c:v>0.26382720529488768</c:v>
                </c:pt>
                <c:pt idx="18">
                  <c:v>0.2617922224741141</c:v>
                </c:pt>
                <c:pt idx="19">
                  <c:v>0.24459925393659321</c:v>
                </c:pt>
                <c:pt idx="20">
                  <c:v>0.20269177820906081</c:v>
                </c:pt>
                <c:pt idx="21">
                  <c:v>0.1956194309066864</c:v>
                </c:pt>
                <c:pt idx="22">
                  <c:v>0.1983963892705653</c:v>
                </c:pt>
                <c:pt idx="23">
                  <c:v>0.20264007902867939</c:v>
                </c:pt>
                <c:pt idx="24">
                  <c:v>0.23263893855329859</c:v>
                </c:pt>
                <c:pt idx="25">
                  <c:v>0.21802661212165581</c:v>
                </c:pt>
                <c:pt idx="26">
                  <c:v>0.18200532373256381</c:v>
                </c:pt>
                <c:pt idx="27">
                  <c:v>0.17478647129378591</c:v>
                </c:pt>
                <c:pt idx="28">
                  <c:v>0.17186018015895749</c:v>
                </c:pt>
                <c:pt idx="29">
                  <c:v>0.1684028834754604</c:v>
                </c:pt>
                <c:pt idx="30">
                  <c:v>0.16406555260668571</c:v>
                </c:pt>
                <c:pt idx="31">
                  <c:v>0.15668515391657781</c:v>
                </c:pt>
                <c:pt idx="32">
                  <c:v>0.14153395931381541</c:v>
                </c:pt>
                <c:pt idx="33">
                  <c:v>0.14045017556342609</c:v>
                </c:pt>
                <c:pt idx="34">
                  <c:v>0.14995876473923839</c:v>
                </c:pt>
                <c:pt idx="35">
                  <c:v>0.1494140462295967</c:v>
                </c:pt>
                <c:pt idx="36">
                  <c:v>0.14359271363718981</c:v>
                </c:pt>
                <c:pt idx="37">
                  <c:v>0.13541868552718531</c:v>
                </c:pt>
                <c:pt idx="38">
                  <c:v>0.13371970834072139</c:v>
                </c:pt>
                <c:pt idx="39">
                  <c:v>0.1332150465008943</c:v>
                </c:pt>
                <c:pt idx="40">
                  <c:v>0.13599800287167621</c:v>
                </c:pt>
                <c:pt idx="41">
                  <c:v>0.14285026090637379</c:v>
                </c:pt>
                <c:pt idx="42">
                  <c:v>0.1431836679767656</c:v>
                </c:pt>
                <c:pt idx="43">
                  <c:v>0.14280107439836931</c:v>
                </c:pt>
                <c:pt idx="44">
                  <c:v>0.14162315441581191</c:v>
                </c:pt>
                <c:pt idx="45">
                  <c:v>0.14250065845139601</c:v>
                </c:pt>
                <c:pt idx="46">
                  <c:v>0.1433413483742309</c:v>
                </c:pt>
                <c:pt idx="47">
                  <c:v>0.14427191111567439</c:v>
                </c:pt>
                <c:pt idx="48">
                  <c:v>0.1515852183429007</c:v>
                </c:pt>
                <c:pt idx="49">
                  <c:v>0.16092459629249289</c:v>
                </c:pt>
                <c:pt idx="50">
                  <c:v>0.16137202054380589</c:v>
                </c:pt>
                <c:pt idx="51">
                  <c:v>0.16113453062291991</c:v>
                </c:pt>
                <c:pt idx="52">
                  <c:v>0.16294560363035629</c:v>
                </c:pt>
                <c:pt idx="53">
                  <c:v>0.16474289068703829</c:v>
                </c:pt>
                <c:pt idx="54">
                  <c:v>0.16400092751906409</c:v>
                </c:pt>
                <c:pt idx="55">
                  <c:v>0.16304872224768971</c:v>
                </c:pt>
                <c:pt idx="56">
                  <c:v>2.540118195009787E-2</c:v>
                </c:pt>
                <c:pt idx="57">
                  <c:v>0.1459282466956221</c:v>
                </c:pt>
                <c:pt idx="58">
                  <c:v>0.1158147168777762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0-DBE2-48CC-8485-F6B125FAE53C}"/>
            </c:ext>
          </c:extLst>
        </c:ser>
        <c:ser>
          <c:idx val="17"/>
          <c:order val="17"/>
          <c:tx>
            <c:strRef>
              <c:f>Sheet1!$A$19</c:f>
              <c:strCache>
                <c:ptCount val="1"/>
                <c:pt idx="0">
                  <c:v>3.75</c:v>
                </c:pt>
              </c:strCache>
            </c:strRef>
          </c:tx>
          <c:spPr>
            <a:gradFill rotWithShape="1">
              <a:gsLst>
                <a:gs pos="0">
                  <a:schemeClr val="accent6">
                    <a:lumMod val="80000"/>
                    <a:lumOff val="20000"/>
                    <a:tint val="50000"/>
                    <a:satMod val="300000"/>
                  </a:schemeClr>
                </a:gs>
                <a:gs pos="35000">
                  <a:schemeClr val="accent6">
                    <a:lumMod val="80000"/>
                    <a:lumOff val="20000"/>
                    <a:tint val="37000"/>
                    <a:satMod val="300000"/>
                  </a:schemeClr>
                </a:gs>
                <a:gs pos="100000">
                  <a:schemeClr val="accent6">
                    <a:lumMod val="80000"/>
                    <a:lumOff val="20000"/>
                    <a:tint val="15000"/>
                    <a:satMod val="350000"/>
                  </a:schemeClr>
                </a:gs>
              </a:gsLst>
              <a:lin ang="16200000" scaled="1"/>
            </a:gradFill>
            <a:ln w="9525" cap="flat" cmpd="sng" algn="ctr">
              <a:solidFill>
                <a:schemeClr val="accent6">
                  <a:lumMod val="80000"/>
                  <a:lumOff val="20000"/>
                  <a:shade val="95000"/>
                </a:schemeClr>
              </a:solidFill>
              <a:round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  <a:sp3d contourW="9525">
              <a:contourClr>
                <a:schemeClr val="accent6">
                  <a:lumMod val="80000"/>
                  <a:lumOff val="20000"/>
                  <a:shade val="95000"/>
                </a:schemeClr>
              </a:contourClr>
            </a:sp3d>
          </c:spPr>
          <c:cat>
            <c:numRef>
              <c:f>Sheet1!$B$1:$BH$1</c:f>
              <c:numCache>
                <c:formatCode>General</c:formatCode>
                <c:ptCount val="59"/>
                <c:pt idx="0">
                  <c:v>40</c:v>
                </c:pt>
                <c:pt idx="1">
                  <c:v>42.5</c:v>
                </c:pt>
                <c:pt idx="2">
                  <c:v>45</c:v>
                </c:pt>
                <c:pt idx="3">
                  <c:v>47.5</c:v>
                </c:pt>
                <c:pt idx="4">
                  <c:v>50</c:v>
                </c:pt>
                <c:pt idx="5">
                  <c:v>52.5</c:v>
                </c:pt>
                <c:pt idx="6">
                  <c:v>55</c:v>
                </c:pt>
                <c:pt idx="7">
                  <c:v>57.5</c:v>
                </c:pt>
                <c:pt idx="8">
                  <c:v>60</c:v>
                </c:pt>
                <c:pt idx="9">
                  <c:v>62.5</c:v>
                </c:pt>
                <c:pt idx="10">
                  <c:v>65</c:v>
                </c:pt>
                <c:pt idx="11">
                  <c:v>67.5</c:v>
                </c:pt>
                <c:pt idx="12">
                  <c:v>70</c:v>
                </c:pt>
                <c:pt idx="13">
                  <c:v>72.5</c:v>
                </c:pt>
                <c:pt idx="14">
                  <c:v>75</c:v>
                </c:pt>
                <c:pt idx="15">
                  <c:v>77.5</c:v>
                </c:pt>
                <c:pt idx="16">
                  <c:v>80</c:v>
                </c:pt>
                <c:pt idx="17">
                  <c:v>82.5</c:v>
                </c:pt>
                <c:pt idx="18">
                  <c:v>85</c:v>
                </c:pt>
                <c:pt idx="19">
                  <c:v>87.5</c:v>
                </c:pt>
                <c:pt idx="20">
                  <c:v>90</c:v>
                </c:pt>
                <c:pt idx="21">
                  <c:v>92.5</c:v>
                </c:pt>
                <c:pt idx="22">
                  <c:v>95</c:v>
                </c:pt>
                <c:pt idx="23">
                  <c:v>97.5</c:v>
                </c:pt>
                <c:pt idx="24">
                  <c:v>100</c:v>
                </c:pt>
                <c:pt idx="25">
                  <c:v>102.5</c:v>
                </c:pt>
                <c:pt idx="26">
                  <c:v>105</c:v>
                </c:pt>
                <c:pt idx="27">
                  <c:v>107.5</c:v>
                </c:pt>
                <c:pt idx="28">
                  <c:v>110</c:v>
                </c:pt>
                <c:pt idx="29">
                  <c:v>112.5</c:v>
                </c:pt>
                <c:pt idx="30">
                  <c:v>115</c:v>
                </c:pt>
                <c:pt idx="31">
                  <c:v>117.5</c:v>
                </c:pt>
                <c:pt idx="32">
                  <c:v>120</c:v>
                </c:pt>
                <c:pt idx="33">
                  <c:v>122.5</c:v>
                </c:pt>
                <c:pt idx="34">
                  <c:v>125</c:v>
                </c:pt>
                <c:pt idx="35">
                  <c:v>127.5</c:v>
                </c:pt>
                <c:pt idx="36">
                  <c:v>130</c:v>
                </c:pt>
                <c:pt idx="37">
                  <c:v>132.5</c:v>
                </c:pt>
                <c:pt idx="38">
                  <c:v>135</c:v>
                </c:pt>
                <c:pt idx="39">
                  <c:v>137.5</c:v>
                </c:pt>
                <c:pt idx="40">
                  <c:v>140</c:v>
                </c:pt>
                <c:pt idx="41">
                  <c:v>142.5</c:v>
                </c:pt>
                <c:pt idx="42">
                  <c:v>145</c:v>
                </c:pt>
                <c:pt idx="43">
                  <c:v>147.5</c:v>
                </c:pt>
                <c:pt idx="44">
                  <c:v>150</c:v>
                </c:pt>
                <c:pt idx="45">
                  <c:v>152.5</c:v>
                </c:pt>
                <c:pt idx="46">
                  <c:v>155</c:v>
                </c:pt>
                <c:pt idx="47">
                  <c:v>157.5</c:v>
                </c:pt>
                <c:pt idx="48">
                  <c:v>160</c:v>
                </c:pt>
                <c:pt idx="49">
                  <c:v>162.5</c:v>
                </c:pt>
                <c:pt idx="50">
                  <c:v>165</c:v>
                </c:pt>
                <c:pt idx="51">
                  <c:v>167.5</c:v>
                </c:pt>
                <c:pt idx="52">
                  <c:v>170</c:v>
                </c:pt>
                <c:pt idx="53">
                  <c:v>172.5</c:v>
                </c:pt>
                <c:pt idx="54">
                  <c:v>175</c:v>
                </c:pt>
                <c:pt idx="55">
                  <c:v>177.5</c:v>
                </c:pt>
                <c:pt idx="56">
                  <c:v>180</c:v>
                </c:pt>
                <c:pt idx="57">
                  <c:v>182.5</c:v>
                </c:pt>
                <c:pt idx="58">
                  <c:v>1000</c:v>
                </c:pt>
              </c:numCache>
            </c:numRef>
          </c:cat>
          <c:val>
            <c:numRef>
              <c:f>Sheet1!$B$19:$BH$19</c:f>
              <c:numCache>
                <c:formatCode>General</c:formatCode>
                <c:ptCount val="59"/>
                <c:pt idx="0">
                  <c:v>0.31413163840069802</c:v>
                </c:pt>
                <c:pt idx="1">
                  <c:v>0.30685693205550713</c:v>
                </c:pt>
                <c:pt idx="2">
                  <c:v>0.30002790248614841</c:v>
                </c:pt>
                <c:pt idx="3">
                  <c:v>0.29358884043149869</c:v>
                </c:pt>
                <c:pt idx="4">
                  <c:v>0.28699740915764299</c:v>
                </c:pt>
                <c:pt idx="5">
                  <c:v>0.27704839205522641</c:v>
                </c:pt>
                <c:pt idx="6">
                  <c:v>0.27022325359122501</c:v>
                </c:pt>
                <c:pt idx="7">
                  <c:v>0.26472117299555947</c:v>
                </c:pt>
                <c:pt idx="8">
                  <c:v>0.25951964772249952</c:v>
                </c:pt>
                <c:pt idx="9">
                  <c:v>0.25428438359696698</c:v>
                </c:pt>
                <c:pt idx="10">
                  <c:v>0.2498137890827867</c:v>
                </c:pt>
                <c:pt idx="11">
                  <c:v>0.2457700492807173</c:v>
                </c:pt>
                <c:pt idx="12">
                  <c:v>0.24436813234926541</c:v>
                </c:pt>
                <c:pt idx="13">
                  <c:v>0.25482917965868263</c:v>
                </c:pt>
                <c:pt idx="14">
                  <c:v>0.2548687719706843</c:v>
                </c:pt>
                <c:pt idx="15">
                  <c:v>0.25213436940710732</c:v>
                </c:pt>
                <c:pt idx="16">
                  <c:v>0.25389502670698472</c:v>
                </c:pt>
                <c:pt idx="17">
                  <c:v>0.27380906837290558</c:v>
                </c:pt>
                <c:pt idx="18">
                  <c:v>0.27342240123881301</c:v>
                </c:pt>
                <c:pt idx="19">
                  <c:v>0.24881722119566169</c:v>
                </c:pt>
                <c:pt idx="20">
                  <c:v>0.1928788520543705</c:v>
                </c:pt>
                <c:pt idx="21">
                  <c:v>0.1863903344439411</c:v>
                </c:pt>
                <c:pt idx="22">
                  <c:v>0.1944332147624396</c:v>
                </c:pt>
                <c:pt idx="23">
                  <c:v>0.20332994663346529</c:v>
                </c:pt>
                <c:pt idx="24">
                  <c:v>0.2557123893419137</c:v>
                </c:pt>
                <c:pt idx="25">
                  <c:v>0.2308224531707439</c:v>
                </c:pt>
                <c:pt idx="26">
                  <c:v>0.17910957667485231</c:v>
                </c:pt>
                <c:pt idx="27">
                  <c:v>0.1719177901212911</c:v>
                </c:pt>
                <c:pt idx="28">
                  <c:v>0.17039035408909439</c:v>
                </c:pt>
                <c:pt idx="29">
                  <c:v>0.17133985526657489</c:v>
                </c:pt>
                <c:pt idx="30">
                  <c:v>0.16754594543240289</c:v>
                </c:pt>
                <c:pt idx="31">
                  <c:v>0.1585257162136641</c:v>
                </c:pt>
                <c:pt idx="32">
                  <c:v>0.1432081164717664</c:v>
                </c:pt>
                <c:pt idx="33">
                  <c:v>0.14346129955544029</c:v>
                </c:pt>
                <c:pt idx="34">
                  <c:v>0.15173912343052981</c:v>
                </c:pt>
                <c:pt idx="35">
                  <c:v>0.14991362782085749</c:v>
                </c:pt>
                <c:pt idx="36">
                  <c:v>0.1427712891826298</c:v>
                </c:pt>
                <c:pt idx="37">
                  <c:v>0.13411866801919009</c:v>
                </c:pt>
                <c:pt idx="38">
                  <c:v>0.13250000948928681</c:v>
                </c:pt>
                <c:pt idx="39">
                  <c:v>0.1317575199423503</c:v>
                </c:pt>
                <c:pt idx="40">
                  <c:v>0.13514246394202389</c:v>
                </c:pt>
                <c:pt idx="41">
                  <c:v>0.14128153446405009</c:v>
                </c:pt>
                <c:pt idx="42">
                  <c:v>0.14085236734236589</c:v>
                </c:pt>
                <c:pt idx="43">
                  <c:v>0.14016021235551479</c:v>
                </c:pt>
                <c:pt idx="44">
                  <c:v>0.1379910244651108</c:v>
                </c:pt>
                <c:pt idx="45">
                  <c:v>0.13714146414369141</c:v>
                </c:pt>
                <c:pt idx="46">
                  <c:v>0.13774399135952869</c:v>
                </c:pt>
                <c:pt idx="47">
                  <c:v>0.1386912960543093</c:v>
                </c:pt>
                <c:pt idx="48">
                  <c:v>0.1477196890262798</c:v>
                </c:pt>
                <c:pt idx="49">
                  <c:v>0.15686289832517869</c:v>
                </c:pt>
                <c:pt idx="50">
                  <c:v>0.1568860632675699</c:v>
                </c:pt>
                <c:pt idx="51">
                  <c:v>0.1566614631139405</c:v>
                </c:pt>
                <c:pt idx="52">
                  <c:v>0.15906571597361821</c:v>
                </c:pt>
                <c:pt idx="53">
                  <c:v>0.1605960597068177</c:v>
                </c:pt>
                <c:pt idx="54">
                  <c:v>0.15973786474610011</c:v>
                </c:pt>
                <c:pt idx="55">
                  <c:v>0.1587889161736955</c:v>
                </c:pt>
                <c:pt idx="56">
                  <c:v>2.7002960178972191E-2</c:v>
                </c:pt>
                <c:pt idx="57">
                  <c:v>0.14597279503801419</c:v>
                </c:pt>
                <c:pt idx="58">
                  <c:v>0.1201414977156497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1-DBE2-48CC-8485-F6B125FAE53C}"/>
            </c:ext>
          </c:extLst>
        </c:ser>
        <c:ser>
          <c:idx val="18"/>
          <c:order val="18"/>
          <c:tx>
            <c:strRef>
              <c:f>Sheet1!$A$20</c:f>
              <c:strCache>
                <c:ptCount val="1"/>
                <c:pt idx="0">
                  <c:v>4.002739726</c:v>
                </c:pt>
              </c:strCache>
            </c:strRef>
          </c:tx>
          <c:spPr>
            <a:gradFill rotWithShape="1">
              <a:gsLst>
                <a:gs pos="0">
                  <a:schemeClr val="accent1">
                    <a:lumMod val="80000"/>
                    <a:tint val="50000"/>
                    <a:satMod val="300000"/>
                  </a:schemeClr>
                </a:gs>
                <a:gs pos="35000">
                  <a:schemeClr val="accent1">
                    <a:lumMod val="80000"/>
                    <a:tint val="37000"/>
                    <a:satMod val="300000"/>
                  </a:schemeClr>
                </a:gs>
                <a:gs pos="100000">
                  <a:schemeClr val="accent1">
                    <a:lumMod val="80000"/>
                    <a:tint val="15000"/>
                    <a:satMod val="350000"/>
                  </a:schemeClr>
                </a:gs>
              </a:gsLst>
              <a:lin ang="16200000" scaled="1"/>
            </a:gradFill>
            <a:ln w="9525" cap="flat" cmpd="sng" algn="ctr">
              <a:solidFill>
                <a:schemeClr val="accent1">
                  <a:lumMod val="80000"/>
                  <a:shade val="95000"/>
                </a:schemeClr>
              </a:solidFill>
              <a:round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  <a:sp3d contourW="9525">
              <a:contourClr>
                <a:schemeClr val="accent1">
                  <a:lumMod val="80000"/>
                  <a:shade val="95000"/>
                </a:schemeClr>
              </a:contourClr>
            </a:sp3d>
          </c:spPr>
          <c:cat>
            <c:numRef>
              <c:f>Sheet1!$B$1:$BH$1</c:f>
              <c:numCache>
                <c:formatCode>General</c:formatCode>
                <c:ptCount val="59"/>
                <c:pt idx="0">
                  <c:v>40</c:v>
                </c:pt>
                <c:pt idx="1">
                  <c:v>42.5</c:v>
                </c:pt>
                <c:pt idx="2">
                  <c:v>45</c:v>
                </c:pt>
                <c:pt idx="3">
                  <c:v>47.5</c:v>
                </c:pt>
                <c:pt idx="4">
                  <c:v>50</c:v>
                </c:pt>
                <c:pt idx="5">
                  <c:v>52.5</c:v>
                </c:pt>
                <c:pt idx="6">
                  <c:v>55</c:v>
                </c:pt>
                <c:pt idx="7">
                  <c:v>57.5</c:v>
                </c:pt>
                <c:pt idx="8">
                  <c:v>60</c:v>
                </c:pt>
                <c:pt idx="9">
                  <c:v>62.5</c:v>
                </c:pt>
                <c:pt idx="10">
                  <c:v>65</c:v>
                </c:pt>
                <c:pt idx="11">
                  <c:v>67.5</c:v>
                </c:pt>
                <c:pt idx="12">
                  <c:v>70</c:v>
                </c:pt>
                <c:pt idx="13">
                  <c:v>72.5</c:v>
                </c:pt>
                <c:pt idx="14">
                  <c:v>75</c:v>
                </c:pt>
                <c:pt idx="15">
                  <c:v>77.5</c:v>
                </c:pt>
                <c:pt idx="16">
                  <c:v>80</c:v>
                </c:pt>
                <c:pt idx="17">
                  <c:v>82.5</c:v>
                </c:pt>
                <c:pt idx="18">
                  <c:v>85</c:v>
                </c:pt>
                <c:pt idx="19">
                  <c:v>87.5</c:v>
                </c:pt>
                <c:pt idx="20">
                  <c:v>90</c:v>
                </c:pt>
                <c:pt idx="21">
                  <c:v>92.5</c:v>
                </c:pt>
                <c:pt idx="22">
                  <c:v>95</c:v>
                </c:pt>
                <c:pt idx="23">
                  <c:v>97.5</c:v>
                </c:pt>
                <c:pt idx="24">
                  <c:v>100</c:v>
                </c:pt>
                <c:pt idx="25">
                  <c:v>102.5</c:v>
                </c:pt>
                <c:pt idx="26">
                  <c:v>105</c:v>
                </c:pt>
                <c:pt idx="27">
                  <c:v>107.5</c:v>
                </c:pt>
                <c:pt idx="28">
                  <c:v>110</c:v>
                </c:pt>
                <c:pt idx="29">
                  <c:v>112.5</c:v>
                </c:pt>
                <c:pt idx="30">
                  <c:v>115</c:v>
                </c:pt>
                <c:pt idx="31">
                  <c:v>117.5</c:v>
                </c:pt>
                <c:pt idx="32">
                  <c:v>120</c:v>
                </c:pt>
                <c:pt idx="33">
                  <c:v>122.5</c:v>
                </c:pt>
                <c:pt idx="34">
                  <c:v>125</c:v>
                </c:pt>
                <c:pt idx="35">
                  <c:v>127.5</c:v>
                </c:pt>
                <c:pt idx="36">
                  <c:v>130</c:v>
                </c:pt>
                <c:pt idx="37">
                  <c:v>132.5</c:v>
                </c:pt>
                <c:pt idx="38">
                  <c:v>135</c:v>
                </c:pt>
                <c:pt idx="39">
                  <c:v>137.5</c:v>
                </c:pt>
                <c:pt idx="40">
                  <c:v>140</c:v>
                </c:pt>
                <c:pt idx="41">
                  <c:v>142.5</c:v>
                </c:pt>
                <c:pt idx="42">
                  <c:v>145</c:v>
                </c:pt>
                <c:pt idx="43">
                  <c:v>147.5</c:v>
                </c:pt>
                <c:pt idx="44">
                  <c:v>150</c:v>
                </c:pt>
                <c:pt idx="45">
                  <c:v>152.5</c:v>
                </c:pt>
                <c:pt idx="46">
                  <c:v>155</c:v>
                </c:pt>
                <c:pt idx="47">
                  <c:v>157.5</c:v>
                </c:pt>
                <c:pt idx="48">
                  <c:v>160</c:v>
                </c:pt>
                <c:pt idx="49">
                  <c:v>162.5</c:v>
                </c:pt>
                <c:pt idx="50">
                  <c:v>165</c:v>
                </c:pt>
                <c:pt idx="51">
                  <c:v>167.5</c:v>
                </c:pt>
                <c:pt idx="52">
                  <c:v>170</c:v>
                </c:pt>
                <c:pt idx="53">
                  <c:v>172.5</c:v>
                </c:pt>
                <c:pt idx="54">
                  <c:v>175</c:v>
                </c:pt>
                <c:pt idx="55">
                  <c:v>177.5</c:v>
                </c:pt>
                <c:pt idx="56">
                  <c:v>180</c:v>
                </c:pt>
                <c:pt idx="57">
                  <c:v>182.5</c:v>
                </c:pt>
                <c:pt idx="58">
                  <c:v>1000</c:v>
                </c:pt>
              </c:numCache>
            </c:numRef>
          </c:cat>
          <c:val>
            <c:numRef>
              <c:f>Sheet1!$B$20:$BH$20</c:f>
              <c:numCache>
                <c:formatCode>General</c:formatCode>
                <c:ptCount val="59"/>
                <c:pt idx="0">
                  <c:v>0.2746991217749134</c:v>
                </c:pt>
                <c:pt idx="1">
                  <c:v>0.26997783090041699</c:v>
                </c:pt>
                <c:pt idx="2">
                  <c:v>0.26651279283942181</c:v>
                </c:pt>
                <c:pt idx="3">
                  <c:v>0.26406645799222461</c:v>
                </c:pt>
                <c:pt idx="4">
                  <c:v>0.2618784397827465</c:v>
                </c:pt>
                <c:pt idx="5">
                  <c:v>0.25658066822490089</c:v>
                </c:pt>
                <c:pt idx="6">
                  <c:v>0.25462958920224621</c:v>
                </c:pt>
                <c:pt idx="7">
                  <c:v>0.25321283107780662</c:v>
                </c:pt>
                <c:pt idx="8">
                  <c:v>0.25136088607207763</c:v>
                </c:pt>
                <c:pt idx="9">
                  <c:v>0.2485068393945977</c:v>
                </c:pt>
                <c:pt idx="10">
                  <c:v>0.24576113372607611</c:v>
                </c:pt>
                <c:pt idx="11">
                  <c:v>0.24160996552107211</c:v>
                </c:pt>
                <c:pt idx="12">
                  <c:v>0.23885783149289899</c:v>
                </c:pt>
                <c:pt idx="13">
                  <c:v>0.2475743439695901</c:v>
                </c:pt>
                <c:pt idx="14">
                  <c:v>0.24314593794530751</c:v>
                </c:pt>
                <c:pt idx="15">
                  <c:v>0.23759590714775719</c:v>
                </c:pt>
                <c:pt idx="16">
                  <c:v>0.23933465271894211</c:v>
                </c:pt>
                <c:pt idx="17">
                  <c:v>0.26741223883127468</c:v>
                </c:pt>
                <c:pt idx="18">
                  <c:v>0.26975884542688938</c:v>
                </c:pt>
                <c:pt idx="19">
                  <c:v>0.24027708684180629</c:v>
                </c:pt>
                <c:pt idx="20">
                  <c:v>0.17755629767952699</c:v>
                </c:pt>
                <c:pt idx="21">
                  <c:v>0.17508089166776719</c:v>
                </c:pt>
                <c:pt idx="22">
                  <c:v>0.1880357761851508</c:v>
                </c:pt>
                <c:pt idx="23">
                  <c:v>0.19947013079467751</c:v>
                </c:pt>
                <c:pt idx="24">
                  <c:v>0.27829002550570597</c:v>
                </c:pt>
                <c:pt idx="25">
                  <c:v>0.2361511692491286</c:v>
                </c:pt>
                <c:pt idx="26">
                  <c:v>0.1705745785025663</c:v>
                </c:pt>
                <c:pt idx="27">
                  <c:v>0.16664182701342531</c:v>
                </c:pt>
                <c:pt idx="28">
                  <c:v>0.16782327997806321</c:v>
                </c:pt>
                <c:pt idx="29">
                  <c:v>0.17301312908775429</c:v>
                </c:pt>
                <c:pt idx="30">
                  <c:v>0.1691499019527733</c:v>
                </c:pt>
                <c:pt idx="31">
                  <c:v>0.15867337323517569</c:v>
                </c:pt>
                <c:pt idx="32">
                  <c:v>0.14441200356798109</c:v>
                </c:pt>
                <c:pt idx="33">
                  <c:v>0.14718546057627421</c:v>
                </c:pt>
                <c:pt idx="34">
                  <c:v>0.15453076424976719</c:v>
                </c:pt>
                <c:pt idx="35">
                  <c:v>0.1517420808383432</c:v>
                </c:pt>
                <c:pt idx="36">
                  <c:v>0.14379963019158321</c:v>
                </c:pt>
                <c:pt idx="37">
                  <c:v>0.13524734793446319</c:v>
                </c:pt>
                <c:pt idx="38">
                  <c:v>0.134554012356047</c:v>
                </c:pt>
                <c:pt idx="39">
                  <c:v>0.1344273713979727</c:v>
                </c:pt>
                <c:pt idx="40">
                  <c:v>0.13944140805994659</c:v>
                </c:pt>
                <c:pt idx="41">
                  <c:v>0.14606774185119631</c:v>
                </c:pt>
                <c:pt idx="42">
                  <c:v>0.14568182256655399</c:v>
                </c:pt>
                <c:pt idx="43">
                  <c:v>0.1454310544963916</c:v>
                </c:pt>
                <c:pt idx="44">
                  <c:v>0.14289422633360291</c:v>
                </c:pt>
                <c:pt idx="45">
                  <c:v>0.1411049982558118</c:v>
                </c:pt>
                <c:pt idx="46">
                  <c:v>0.14229018248691899</c:v>
                </c:pt>
                <c:pt idx="47">
                  <c:v>0.143993093647697</c:v>
                </c:pt>
                <c:pt idx="48">
                  <c:v>0.15589787249047499</c:v>
                </c:pt>
                <c:pt idx="49">
                  <c:v>0.16610023308332861</c:v>
                </c:pt>
                <c:pt idx="50">
                  <c:v>0.16608145777233979</c:v>
                </c:pt>
                <c:pt idx="51">
                  <c:v>0.16627126259946831</c:v>
                </c:pt>
                <c:pt idx="52">
                  <c:v>0.1699447805743256</c:v>
                </c:pt>
                <c:pt idx="53">
                  <c:v>0.17186600532956159</c:v>
                </c:pt>
                <c:pt idx="54">
                  <c:v>0.17128497066471571</c:v>
                </c:pt>
                <c:pt idx="55">
                  <c:v>0.17071479167517209</c:v>
                </c:pt>
                <c:pt idx="56">
                  <c:v>3.1966921490640607E-2</c:v>
                </c:pt>
                <c:pt idx="57">
                  <c:v>0.16152149195765589</c:v>
                </c:pt>
                <c:pt idx="58">
                  <c:v>0.147781388721531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2-DBE2-48CC-8485-F6B125FAE53C}"/>
            </c:ext>
          </c:extLst>
        </c:ser>
        <c:ser>
          <c:idx val="19"/>
          <c:order val="19"/>
          <c:tx>
            <c:strRef>
              <c:f>Sheet1!$A$21</c:f>
              <c:strCache>
                <c:ptCount val="1"/>
                <c:pt idx="0">
                  <c:v>4.25</c:v>
                </c:pt>
              </c:strCache>
            </c:strRef>
          </c:tx>
          <c:spPr>
            <a:gradFill rotWithShape="1">
              <a:gsLst>
                <a:gs pos="0">
                  <a:schemeClr val="accent2">
                    <a:lumMod val="80000"/>
                    <a:tint val="50000"/>
                    <a:satMod val="300000"/>
                  </a:schemeClr>
                </a:gs>
                <a:gs pos="35000">
                  <a:schemeClr val="accent2">
                    <a:lumMod val="80000"/>
                    <a:tint val="37000"/>
                    <a:satMod val="300000"/>
                  </a:schemeClr>
                </a:gs>
                <a:gs pos="100000">
                  <a:schemeClr val="accent2">
                    <a:lumMod val="80000"/>
                    <a:tint val="15000"/>
                    <a:satMod val="350000"/>
                  </a:schemeClr>
                </a:gs>
              </a:gsLst>
              <a:lin ang="16200000" scaled="1"/>
            </a:gradFill>
            <a:ln w="9525" cap="flat" cmpd="sng" algn="ctr">
              <a:solidFill>
                <a:schemeClr val="accent2">
                  <a:lumMod val="80000"/>
                  <a:shade val="95000"/>
                </a:schemeClr>
              </a:solidFill>
              <a:round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  <a:sp3d contourW="9525">
              <a:contourClr>
                <a:schemeClr val="accent2">
                  <a:lumMod val="80000"/>
                  <a:shade val="95000"/>
                </a:schemeClr>
              </a:contourClr>
            </a:sp3d>
          </c:spPr>
          <c:cat>
            <c:numRef>
              <c:f>Sheet1!$B$1:$BH$1</c:f>
              <c:numCache>
                <c:formatCode>General</c:formatCode>
                <c:ptCount val="59"/>
                <c:pt idx="0">
                  <c:v>40</c:v>
                </c:pt>
                <c:pt idx="1">
                  <c:v>42.5</c:v>
                </c:pt>
                <c:pt idx="2">
                  <c:v>45</c:v>
                </c:pt>
                <c:pt idx="3">
                  <c:v>47.5</c:v>
                </c:pt>
                <c:pt idx="4">
                  <c:v>50</c:v>
                </c:pt>
                <c:pt idx="5">
                  <c:v>52.5</c:v>
                </c:pt>
                <c:pt idx="6">
                  <c:v>55</c:v>
                </c:pt>
                <c:pt idx="7">
                  <c:v>57.5</c:v>
                </c:pt>
                <c:pt idx="8">
                  <c:v>60</c:v>
                </c:pt>
                <c:pt idx="9">
                  <c:v>62.5</c:v>
                </c:pt>
                <c:pt idx="10">
                  <c:v>65</c:v>
                </c:pt>
                <c:pt idx="11">
                  <c:v>67.5</c:v>
                </c:pt>
                <c:pt idx="12">
                  <c:v>70</c:v>
                </c:pt>
                <c:pt idx="13">
                  <c:v>72.5</c:v>
                </c:pt>
                <c:pt idx="14">
                  <c:v>75</c:v>
                </c:pt>
                <c:pt idx="15">
                  <c:v>77.5</c:v>
                </c:pt>
                <c:pt idx="16">
                  <c:v>80</c:v>
                </c:pt>
                <c:pt idx="17">
                  <c:v>82.5</c:v>
                </c:pt>
                <c:pt idx="18">
                  <c:v>85</c:v>
                </c:pt>
                <c:pt idx="19">
                  <c:v>87.5</c:v>
                </c:pt>
                <c:pt idx="20">
                  <c:v>90</c:v>
                </c:pt>
                <c:pt idx="21">
                  <c:v>92.5</c:v>
                </c:pt>
                <c:pt idx="22">
                  <c:v>95</c:v>
                </c:pt>
                <c:pt idx="23">
                  <c:v>97.5</c:v>
                </c:pt>
                <c:pt idx="24">
                  <c:v>100</c:v>
                </c:pt>
                <c:pt idx="25">
                  <c:v>102.5</c:v>
                </c:pt>
                <c:pt idx="26">
                  <c:v>105</c:v>
                </c:pt>
                <c:pt idx="27">
                  <c:v>107.5</c:v>
                </c:pt>
                <c:pt idx="28">
                  <c:v>110</c:v>
                </c:pt>
                <c:pt idx="29">
                  <c:v>112.5</c:v>
                </c:pt>
                <c:pt idx="30">
                  <c:v>115</c:v>
                </c:pt>
                <c:pt idx="31">
                  <c:v>117.5</c:v>
                </c:pt>
                <c:pt idx="32">
                  <c:v>120</c:v>
                </c:pt>
                <c:pt idx="33">
                  <c:v>122.5</c:v>
                </c:pt>
                <c:pt idx="34">
                  <c:v>125</c:v>
                </c:pt>
                <c:pt idx="35">
                  <c:v>127.5</c:v>
                </c:pt>
                <c:pt idx="36">
                  <c:v>130</c:v>
                </c:pt>
                <c:pt idx="37">
                  <c:v>132.5</c:v>
                </c:pt>
                <c:pt idx="38">
                  <c:v>135</c:v>
                </c:pt>
                <c:pt idx="39">
                  <c:v>137.5</c:v>
                </c:pt>
                <c:pt idx="40">
                  <c:v>140</c:v>
                </c:pt>
                <c:pt idx="41">
                  <c:v>142.5</c:v>
                </c:pt>
                <c:pt idx="42">
                  <c:v>145</c:v>
                </c:pt>
                <c:pt idx="43">
                  <c:v>147.5</c:v>
                </c:pt>
                <c:pt idx="44">
                  <c:v>150</c:v>
                </c:pt>
                <c:pt idx="45">
                  <c:v>152.5</c:v>
                </c:pt>
                <c:pt idx="46">
                  <c:v>155</c:v>
                </c:pt>
                <c:pt idx="47">
                  <c:v>157.5</c:v>
                </c:pt>
                <c:pt idx="48">
                  <c:v>160</c:v>
                </c:pt>
                <c:pt idx="49">
                  <c:v>162.5</c:v>
                </c:pt>
                <c:pt idx="50">
                  <c:v>165</c:v>
                </c:pt>
                <c:pt idx="51">
                  <c:v>167.5</c:v>
                </c:pt>
                <c:pt idx="52">
                  <c:v>170</c:v>
                </c:pt>
                <c:pt idx="53">
                  <c:v>172.5</c:v>
                </c:pt>
                <c:pt idx="54">
                  <c:v>175</c:v>
                </c:pt>
                <c:pt idx="55">
                  <c:v>177.5</c:v>
                </c:pt>
                <c:pt idx="56">
                  <c:v>180</c:v>
                </c:pt>
                <c:pt idx="57">
                  <c:v>182.5</c:v>
                </c:pt>
                <c:pt idx="58">
                  <c:v>1000</c:v>
                </c:pt>
              </c:numCache>
            </c:numRef>
          </c:cat>
          <c:val>
            <c:numRef>
              <c:f>Sheet1!$B$21:$BH$21</c:f>
              <c:numCache>
                <c:formatCode>General</c:formatCode>
                <c:ptCount val="59"/>
                <c:pt idx="0">
                  <c:v>0.26960635285737727</c:v>
                </c:pt>
                <c:pt idx="1">
                  <c:v>0.26459926228296049</c:v>
                </c:pt>
                <c:pt idx="2">
                  <c:v>0.26086157359483619</c:v>
                </c:pt>
                <c:pt idx="3">
                  <c:v>0.25815728832705392</c:v>
                </c:pt>
                <c:pt idx="4">
                  <c:v>0.25622932486249461</c:v>
                </c:pt>
                <c:pt idx="5">
                  <c:v>0.25325328252824553</c:v>
                </c:pt>
                <c:pt idx="6">
                  <c:v>0.25176934316314209</c:v>
                </c:pt>
                <c:pt idx="7">
                  <c:v>0.25050499730091752</c:v>
                </c:pt>
                <c:pt idx="8">
                  <c:v>0.25073284817911462</c:v>
                </c:pt>
                <c:pt idx="9">
                  <c:v>0.25393917404857658</c:v>
                </c:pt>
                <c:pt idx="10">
                  <c:v>0.25222428688270793</c:v>
                </c:pt>
                <c:pt idx="11">
                  <c:v>0.24862288261741719</c:v>
                </c:pt>
                <c:pt idx="12">
                  <c:v>0.2425546465015431</c:v>
                </c:pt>
                <c:pt idx="13">
                  <c:v>0.24071831864397569</c:v>
                </c:pt>
                <c:pt idx="14">
                  <c:v>0.23519501460235831</c:v>
                </c:pt>
                <c:pt idx="15">
                  <c:v>0.22951713033528989</c:v>
                </c:pt>
                <c:pt idx="16">
                  <c:v>0.23362665352511969</c:v>
                </c:pt>
                <c:pt idx="17">
                  <c:v>0.26074405312296278</c:v>
                </c:pt>
                <c:pt idx="18">
                  <c:v>0.26177023583244419</c:v>
                </c:pt>
                <c:pt idx="19">
                  <c:v>0.23603856210313859</c:v>
                </c:pt>
                <c:pt idx="20">
                  <c:v>0.18348571922995491</c:v>
                </c:pt>
                <c:pt idx="21">
                  <c:v>0.17992737285681901</c:v>
                </c:pt>
                <c:pt idx="22">
                  <c:v>0.1879154322639072</c:v>
                </c:pt>
                <c:pt idx="23">
                  <c:v>0.19652402767087801</c:v>
                </c:pt>
                <c:pt idx="24">
                  <c:v>0.24525581470822311</c:v>
                </c:pt>
                <c:pt idx="25">
                  <c:v>0.22612381856800881</c:v>
                </c:pt>
                <c:pt idx="26">
                  <c:v>0.17915565570285669</c:v>
                </c:pt>
                <c:pt idx="27">
                  <c:v>0.17530858851060971</c:v>
                </c:pt>
                <c:pt idx="28">
                  <c:v>0.1693074241207333</c:v>
                </c:pt>
                <c:pt idx="29">
                  <c:v>0.1688032779727564</c:v>
                </c:pt>
                <c:pt idx="30">
                  <c:v>0.16540432925357609</c:v>
                </c:pt>
                <c:pt idx="31">
                  <c:v>0.16109056819253231</c:v>
                </c:pt>
                <c:pt idx="32">
                  <c:v>0.1506132259834074</c:v>
                </c:pt>
                <c:pt idx="33">
                  <c:v>0.15064800580474219</c:v>
                </c:pt>
                <c:pt idx="34">
                  <c:v>0.15491461685760949</c:v>
                </c:pt>
                <c:pt idx="35">
                  <c:v>0.15176830694823409</c:v>
                </c:pt>
                <c:pt idx="36">
                  <c:v>0.14233725590656379</c:v>
                </c:pt>
                <c:pt idx="37">
                  <c:v>0.1348859455187682</c:v>
                </c:pt>
                <c:pt idx="38">
                  <c:v>0.13412498622604191</c:v>
                </c:pt>
                <c:pt idx="39">
                  <c:v>0.13421698312554289</c:v>
                </c:pt>
                <c:pt idx="40">
                  <c:v>0.14069367480833811</c:v>
                </c:pt>
                <c:pt idx="41">
                  <c:v>0.14611577058307801</c:v>
                </c:pt>
                <c:pt idx="42">
                  <c:v>0.14547135789445209</c:v>
                </c:pt>
                <c:pt idx="43">
                  <c:v>0.14444403929040511</c:v>
                </c:pt>
                <c:pt idx="44">
                  <c:v>0.13986044781950971</c:v>
                </c:pt>
                <c:pt idx="45">
                  <c:v>0.13833978029323499</c:v>
                </c:pt>
                <c:pt idx="46">
                  <c:v>0.1394248512628237</c:v>
                </c:pt>
                <c:pt idx="47">
                  <c:v>0.14185123924089221</c:v>
                </c:pt>
                <c:pt idx="48">
                  <c:v>0.15453577196965579</c:v>
                </c:pt>
                <c:pt idx="49">
                  <c:v>0.1623307563932023</c:v>
                </c:pt>
                <c:pt idx="50">
                  <c:v>0.16240917031911431</c:v>
                </c:pt>
                <c:pt idx="51">
                  <c:v>0.1633872452876656</c:v>
                </c:pt>
                <c:pt idx="52">
                  <c:v>0.1680839866021257</c:v>
                </c:pt>
                <c:pt idx="53">
                  <c:v>0.1694135683231624</c:v>
                </c:pt>
                <c:pt idx="54">
                  <c:v>0.16881730164587011</c:v>
                </c:pt>
                <c:pt idx="55">
                  <c:v>0.16823367055956839</c:v>
                </c:pt>
                <c:pt idx="56">
                  <c:v>3.3977982190626102E-2</c:v>
                </c:pt>
                <c:pt idx="57">
                  <c:v>0.1620469855849507</c:v>
                </c:pt>
                <c:pt idx="58">
                  <c:v>0.1509782685743064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3-DBE2-48CC-8485-F6B125FAE53C}"/>
            </c:ext>
          </c:extLst>
        </c:ser>
        <c:ser>
          <c:idx val="20"/>
          <c:order val="20"/>
          <c:tx>
            <c:strRef>
              <c:f>Sheet1!$A$22</c:f>
              <c:strCache>
                <c:ptCount val="1"/>
                <c:pt idx="0">
                  <c:v>4.5</c:v>
                </c:pt>
              </c:strCache>
            </c:strRef>
          </c:tx>
          <c:spPr>
            <a:gradFill rotWithShape="1">
              <a:gsLst>
                <a:gs pos="0">
                  <a:schemeClr val="accent3">
                    <a:lumMod val="80000"/>
                    <a:tint val="50000"/>
                    <a:satMod val="300000"/>
                  </a:schemeClr>
                </a:gs>
                <a:gs pos="35000">
                  <a:schemeClr val="accent3">
                    <a:lumMod val="80000"/>
                    <a:tint val="37000"/>
                    <a:satMod val="300000"/>
                  </a:schemeClr>
                </a:gs>
                <a:gs pos="100000">
                  <a:schemeClr val="accent3">
                    <a:lumMod val="80000"/>
                    <a:tint val="15000"/>
                    <a:satMod val="350000"/>
                  </a:schemeClr>
                </a:gs>
              </a:gsLst>
              <a:lin ang="16200000" scaled="1"/>
            </a:gradFill>
            <a:ln w="9525" cap="flat" cmpd="sng" algn="ctr">
              <a:solidFill>
                <a:schemeClr val="accent3">
                  <a:lumMod val="80000"/>
                  <a:shade val="95000"/>
                </a:schemeClr>
              </a:solidFill>
              <a:round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  <a:sp3d contourW="9525">
              <a:contourClr>
                <a:schemeClr val="accent3">
                  <a:lumMod val="80000"/>
                  <a:shade val="95000"/>
                </a:schemeClr>
              </a:contourClr>
            </a:sp3d>
          </c:spPr>
          <c:cat>
            <c:numRef>
              <c:f>Sheet1!$B$1:$BH$1</c:f>
              <c:numCache>
                <c:formatCode>General</c:formatCode>
                <c:ptCount val="59"/>
                <c:pt idx="0">
                  <c:v>40</c:v>
                </c:pt>
                <c:pt idx="1">
                  <c:v>42.5</c:v>
                </c:pt>
                <c:pt idx="2">
                  <c:v>45</c:v>
                </c:pt>
                <c:pt idx="3">
                  <c:v>47.5</c:v>
                </c:pt>
                <c:pt idx="4">
                  <c:v>50</c:v>
                </c:pt>
                <c:pt idx="5">
                  <c:v>52.5</c:v>
                </c:pt>
                <c:pt idx="6">
                  <c:v>55</c:v>
                </c:pt>
                <c:pt idx="7">
                  <c:v>57.5</c:v>
                </c:pt>
                <c:pt idx="8">
                  <c:v>60</c:v>
                </c:pt>
                <c:pt idx="9">
                  <c:v>62.5</c:v>
                </c:pt>
                <c:pt idx="10">
                  <c:v>65</c:v>
                </c:pt>
                <c:pt idx="11">
                  <c:v>67.5</c:v>
                </c:pt>
                <c:pt idx="12">
                  <c:v>70</c:v>
                </c:pt>
                <c:pt idx="13">
                  <c:v>72.5</c:v>
                </c:pt>
                <c:pt idx="14">
                  <c:v>75</c:v>
                </c:pt>
                <c:pt idx="15">
                  <c:v>77.5</c:v>
                </c:pt>
                <c:pt idx="16">
                  <c:v>80</c:v>
                </c:pt>
                <c:pt idx="17">
                  <c:v>82.5</c:v>
                </c:pt>
                <c:pt idx="18">
                  <c:v>85</c:v>
                </c:pt>
                <c:pt idx="19">
                  <c:v>87.5</c:v>
                </c:pt>
                <c:pt idx="20">
                  <c:v>90</c:v>
                </c:pt>
                <c:pt idx="21">
                  <c:v>92.5</c:v>
                </c:pt>
                <c:pt idx="22">
                  <c:v>95</c:v>
                </c:pt>
                <c:pt idx="23">
                  <c:v>97.5</c:v>
                </c:pt>
                <c:pt idx="24">
                  <c:v>100</c:v>
                </c:pt>
                <c:pt idx="25">
                  <c:v>102.5</c:v>
                </c:pt>
                <c:pt idx="26">
                  <c:v>105</c:v>
                </c:pt>
                <c:pt idx="27">
                  <c:v>107.5</c:v>
                </c:pt>
                <c:pt idx="28">
                  <c:v>110</c:v>
                </c:pt>
                <c:pt idx="29">
                  <c:v>112.5</c:v>
                </c:pt>
                <c:pt idx="30">
                  <c:v>115</c:v>
                </c:pt>
                <c:pt idx="31">
                  <c:v>117.5</c:v>
                </c:pt>
                <c:pt idx="32">
                  <c:v>120</c:v>
                </c:pt>
                <c:pt idx="33">
                  <c:v>122.5</c:v>
                </c:pt>
                <c:pt idx="34">
                  <c:v>125</c:v>
                </c:pt>
                <c:pt idx="35">
                  <c:v>127.5</c:v>
                </c:pt>
                <c:pt idx="36">
                  <c:v>130</c:v>
                </c:pt>
                <c:pt idx="37">
                  <c:v>132.5</c:v>
                </c:pt>
                <c:pt idx="38">
                  <c:v>135</c:v>
                </c:pt>
                <c:pt idx="39">
                  <c:v>137.5</c:v>
                </c:pt>
                <c:pt idx="40">
                  <c:v>140</c:v>
                </c:pt>
                <c:pt idx="41">
                  <c:v>142.5</c:v>
                </c:pt>
                <c:pt idx="42">
                  <c:v>145</c:v>
                </c:pt>
                <c:pt idx="43">
                  <c:v>147.5</c:v>
                </c:pt>
                <c:pt idx="44">
                  <c:v>150</c:v>
                </c:pt>
                <c:pt idx="45">
                  <c:v>152.5</c:v>
                </c:pt>
                <c:pt idx="46">
                  <c:v>155</c:v>
                </c:pt>
                <c:pt idx="47">
                  <c:v>157.5</c:v>
                </c:pt>
                <c:pt idx="48">
                  <c:v>160</c:v>
                </c:pt>
                <c:pt idx="49">
                  <c:v>162.5</c:v>
                </c:pt>
                <c:pt idx="50">
                  <c:v>165</c:v>
                </c:pt>
                <c:pt idx="51">
                  <c:v>167.5</c:v>
                </c:pt>
                <c:pt idx="52">
                  <c:v>170</c:v>
                </c:pt>
                <c:pt idx="53">
                  <c:v>172.5</c:v>
                </c:pt>
                <c:pt idx="54">
                  <c:v>175</c:v>
                </c:pt>
                <c:pt idx="55">
                  <c:v>177.5</c:v>
                </c:pt>
                <c:pt idx="56">
                  <c:v>180</c:v>
                </c:pt>
                <c:pt idx="57">
                  <c:v>182.5</c:v>
                </c:pt>
                <c:pt idx="58">
                  <c:v>1000</c:v>
                </c:pt>
              </c:numCache>
            </c:numRef>
          </c:cat>
          <c:val>
            <c:numRef>
              <c:f>Sheet1!$B$22:$BH$22</c:f>
              <c:numCache>
                <c:formatCode>General</c:formatCode>
                <c:ptCount val="59"/>
                <c:pt idx="0">
                  <c:v>0.26481163114090123</c:v>
                </c:pt>
                <c:pt idx="1">
                  <c:v>0.25956896727904433</c:v>
                </c:pt>
                <c:pt idx="2">
                  <c:v>0.25561014176385521</c:v>
                </c:pt>
                <c:pt idx="3">
                  <c:v>0.25270078322609429</c:v>
                </c:pt>
                <c:pt idx="4">
                  <c:v>0.25102965837434171</c:v>
                </c:pt>
                <c:pt idx="5">
                  <c:v>0.25019735945541288</c:v>
                </c:pt>
                <c:pt idx="6">
                  <c:v>0.24916327990467749</c:v>
                </c:pt>
                <c:pt idx="7">
                  <c:v>0.2480497482377991</c:v>
                </c:pt>
                <c:pt idx="8">
                  <c:v>0.25031145478948719</c:v>
                </c:pt>
                <c:pt idx="9">
                  <c:v>0.2600342036133817</c:v>
                </c:pt>
                <c:pt idx="10">
                  <c:v>0.25946644924629741</c:v>
                </c:pt>
                <c:pt idx="11">
                  <c:v>0.25646322697746271</c:v>
                </c:pt>
                <c:pt idx="12">
                  <c:v>0.24649809310074169</c:v>
                </c:pt>
                <c:pt idx="13">
                  <c:v>0.2343340377635599</c:v>
                </c:pt>
                <c:pt idx="14">
                  <c:v>0.227927791711108</c:v>
                </c:pt>
                <c:pt idx="15">
                  <c:v>0.2221898648922111</c:v>
                </c:pt>
                <c:pt idx="16">
                  <c:v>0.2283496578454183</c:v>
                </c:pt>
                <c:pt idx="17">
                  <c:v>0.25465341540658321</c:v>
                </c:pt>
                <c:pt idx="18">
                  <c:v>0.25457546165685607</c:v>
                </c:pt>
                <c:pt idx="19">
                  <c:v>0.23215674571396819</c:v>
                </c:pt>
                <c:pt idx="20">
                  <c:v>0.19023788772564459</c:v>
                </c:pt>
                <c:pt idx="21">
                  <c:v>0.18530993554630201</c:v>
                </c:pt>
                <c:pt idx="22">
                  <c:v>0.18781102378277459</c:v>
                </c:pt>
                <c:pt idx="23">
                  <c:v>0.19368329109342389</c:v>
                </c:pt>
                <c:pt idx="24">
                  <c:v>0.22152402522738951</c:v>
                </c:pt>
                <c:pt idx="25">
                  <c:v>0.21721222390602191</c:v>
                </c:pt>
                <c:pt idx="26">
                  <c:v>0.18931376193197491</c:v>
                </c:pt>
                <c:pt idx="27">
                  <c:v>0.18556732895761399</c:v>
                </c:pt>
                <c:pt idx="28">
                  <c:v>0.17080274154849701</c:v>
                </c:pt>
                <c:pt idx="29">
                  <c:v>0.16479334249260871</c:v>
                </c:pt>
                <c:pt idx="30">
                  <c:v>0.16177726436167431</c:v>
                </c:pt>
                <c:pt idx="31">
                  <c:v>0.16351865438961449</c:v>
                </c:pt>
                <c:pt idx="32">
                  <c:v>0.15763611844515291</c:v>
                </c:pt>
                <c:pt idx="33">
                  <c:v>0.15432665631539469</c:v>
                </c:pt>
                <c:pt idx="34">
                  <c:v>0.15526424324152091</c:v>
                </c:pt>
                <c:pt idx="35">
                  <c:v>0.15176073323865949</c:v>
                </c:pt>
                <c:pt idx="36">
                  <c:v>0.14087773024936079</c:v>
                </c:pt>
                <c:pt idx="37">
                  <c:v>0.13448899949723639</c:v>
                </c:pt>
                <c:pt idx="38">
                  <c:v>0.13367118902114489</c:v>
                </c:pt>
                <c:pt idx="39">
                  <c:v>0.1339940331279158</c:v>
                </c:pt>
                <c:pt idx="40">
                  <c:v>0.1420079237390455</c:v>
                </c:pt>
                <c:pt idx="41">
                  <c:v>0.14624166432265359</c:v>
                </c:pt>
                <c:pt idx="42">
                  <c:v>0.14537258764442709</c:v>
                </c:pt>
                <c:pt idx="43">
                  <c:v>0.14361354090435111</c:v>
                </c:pt>
                <c:pt idx="44">
                  <c:v>0.13713534687669579</c:v>
                </c:pt>
                <c:pt idx="45">
                  <c:v>0.1358444540485797</c:v>
                </c:pt>
                <c:pt idx="46">
                  <c:v>0.13683733925179151</c:v>
                </c:pt>
                <c:pt idx="47">
                  <c:v>0.13992367189929031</c:v>
                </c:pt>
                <c:pt idx="48">
                  <c:v>0.15339390975002751</c:v>
                </c:pt>
                <c:pt idx="49">
                  <c:v>0.15901900963342519</c:v>
                </c:pt>
                <c:pt idx="50">
                  <c:v>0.15916792956011891</c:v>
                </c:pt>
                <c:pt idx="51">
                  <c:v>0.16084312171273371</c:v>
                </c:pt>
                <c:pt idx="52">
                  <c:v>0.16650556433970409</c:v>
                </c:pt>
                <c:pt idx="53">
                  <c:v>0.16729469806123851</c:v>
                </c:pt>
                <c:pt idx="54">
                  <c:v>0.1666836165825715</c:v>
                </c:pt>
                <c:pt idx="55">
                  <c:v>0.16608669162307249</c:v>
                </c:pt>
                <c:pt idx="56">
                  <c:v>3.6456443572943101E-2</c:v>
                </c:pt>
                <c:pt idx="57">
                  <c:v>0.16295293332988139</c:v>
                </c:pt>
                <c:pt idx="58">
                  <c:v>0.1540081148791626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4-DBE2-48CC-8485-F6B125FAE53C}"/>
            </c:ext>
          </c:extLst>
        </c:ser>
        <c:ser>
          <c:idx val="21"/>
          <c:order val="21"/>
          <c:tx>
            <c:strRef>
              <c:f>Sheet1!$A$23</c:f>
              <c:strCache>
                <c:ptCount val="1"/>
                <c:pt idx="0">
                  <c:v>4.75</c:v>
                </c:pt>
              </c:strCache>
            </c:strRef>
          </c:tx>
          <c:spPr>
            <a:gradFill rotWithShape="1">
              <a:gsLst>
                <a:gs pos="0">
                  <a:schemeClr val="accent4">
                    <a:lumMod val="80000"/>
                    <a:tint val="50000"/>
                    <a:satMod val="300000"/>
                  </a:schemeClr>
                </a:gs>
                <a:gs pos="35000">
                  <a:schemeClr val="accent4">
                    <a:lumMod val="80000"/>
                    <a:tint val="37000"/>
                    <a:satMod val="300000"/>
                  </a:schemeClr>
                </a:gs>
                <a:gs pos="100000">
                  <a:schemeClr val="accent4">
                    <a:lumMod val="80000"/>
                    <a:tint val="15000"/>
                    <a:satMod val="350000"/>
                  </a:schemeClr>
                </a:gs>
              </a:gsLst>
              <a:lin ang="16200000" scaled="1"/>
            </a:gradFill>
            <a:ln w="9525" cap="flat" cmpd="sng" algn="ctr">
              <a:solidFill>
                <a:schemeClr val="accent4">
                  <a:lumMod val="80000"/>
                  <a:shade val="95000"/>
                </a:schemeClr>
              </a:solidFill>
              <a:round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  <a:sp3d contourW="9525">
              <a:contourClr>
                <a:schemeClr val="accent4">
                  <a:lumMod val="80000"/>
                  <a:shade val="95000"/>
                </a:schemeClr>
              </a:contourClr>
            </a:sp3d>
          </c:spPr>
          <c:cat>
            <c:numRef>
              <c:f>Sheet1!$B$1:$BH$1</c:f>
              <c:numCache>
                <c:formatCode>General</c:formatCode>
                <c:ptCount val="59"/>
                <c:pt idx="0">
                  <c:v>40</c:v>
                </c:pt>
                <c:pt idx="1">
                  <c:v>42.5</c:v>
                </c:pt>
                <c:pt idx="2">
                  <c:v>45</c:v>
                </c:pt>
                <c:pt idx="3">
                  <c:v>47.5</c:v>
                </c:pt>
                <c:pt idx="4">
                  <c:v>50</c:v>
                </c:pt>
                <c:pt idx="5">
                  <c:v>52.5</c:v>
                </c:pt>
                <c:pt idx="6">
                  <c:v>55</c:v>
                </c:pt>
                <c:pt idx="7">
                  <c:v>57.5</c:v>
                </c:pt>
                <c:pt idx="8">
                  <c:v>60</c:v>
                </c:pt>
                <c:pt idx="9">
                  <c:v>62.5</c:v>
                </c:pt>
                <c:pt idx="10">
                  <c:v>65</c:v>
                </c:pt>
                <c:pt idx="11">
                  <c:v>67.5</c:v>
                </c:pt>
                <c:pt idx="12">
                  <c:v>70</c:v>
                </c:pt>
                <c:pt idx="13">
                  <c:v>72.5</c:v>
                </c:pt>
                <c:pt idx="14">
                  <c:v>75</c:v>
                </c:pt>
                <c:pt idx="15">
                  <c:v>77.5</c:v>
                </c:pt>
                <c:pt idx="16">
                  <c:v>80</c:v>
                </c:pt>
                <c:pt idx="17">
                  <c:v>82.5</c:v>
                </c:pt>
                <c:pt idx="18">
                  <c:v>85</c:v>
                </c:pt>
                <c:pt idx="19">
                  <c:v>87.5</c:v>
                </c:pt>
                <c:pt idx="20">
                  <c:v>90</c:v>
                </c:pt>
                <c:pt idx="21">
                  <c:v>92.5</c:v>
                </c:pt>
                <c:pt idx="22">
                  <c:v>95</c:v>
                </c:pt>
                <c:pt idx="23">
                  <c:v>97.5</c:v>
                </c:pt>
                <c:pt idx="24">
                  <c:v>100</c:v>
                </c:pt>
                <c:pt idx="25">
                  <c:v>102.5</c:v>
                </c:pt>
                <c:pt idx="26">
                  <c:v>105</c:v>
                </c:pt>
                <c:pt idx="27">
                  <c:v>107.5</c:v>
                </c:pt>
                <c:pt idx="28">
                  <c:v>110</c:v>
                </c:pt>
                <c:pt idx="29">
                  <c:v>112.5</c:v>
                </c:pt>
                <c:pt idx="30">
                  <c:v>115</c:v>
                </c:pt>
                <c:pt idx="31">
                  <c:v>117.5</c:v>
                </c:pt>
                <c:pt idx="32">
                  <c:v>120</c:v>
                </c:pt>
                <c:pt idx="33">
                  <c:v>122.5</c:v>
                </c:pt>
                <c:pt idx="34">
                  <c:v>125</c:v>
                </c:pt>
                <c:pt idx="35">
                  <c:v>127.5</c:v>
                </c:pt>
                <c:pt idx="36">
                  <c:v>130</c:v>
                </c:pt>
                <c:pt idx="37">
                  <c:v>132.5</c:v>
                </c:pt>
                <c:pt idx="38">
                  <c:v>135</c:v>
                </c:pt>
                <c:pt idx="39">
                  <c:v>137.5</c:v>
                </c:pt>
                <c:pt idx="40">
                  <c:v>140</c:v>
                </c:pt>
                <c:pt idx="41">
                  <c:v>142.5</c:v>
                </c:pt>
                <c:pt idx="42">
                  <c:v>145</c:v>
                </c:pt>
                <c:pt idx="43">
                  <c:v>147.5</c:v>
                </c:pt>
                <c:pt idx="44">
                  <c:v>150</c:v>
                </c:pt>
                <c:pt idx="45">
                  <c:v>152.5</c:v>
                </c:pt>
                <c:pt idx="46">
                  <c:v>155</c:v>
                </c:pt>
                <c:pt idx="47">
                  <c:v>157.5</c:v>
                </c:pt>
                <c:pt idx="48">
                  <c:v>160</c:v>
                </c:pt>
                <c:pt idx="49">
                  <c:v>162.5</c:v>
                </c:pt>
                <c:pt idx="50">
                  <c:v>165</c:v>
                </c:pt>
                <c:pt idx="51">
                  <c:v>167.5</c:v>
                </c:pt>
                <c:pt idx="52">
                  <c:v>170</c:v>
                </c:pt>
                <c:pt idx="53">
                  <c:v>172.5</c:v>
                </c:pt>
                <c:pt idx="54">
                  <c:v>175</c:v>
                </c:pt>
                <c:pt idx="55">
                  <c:v>177.5</c:v>
                </c:pt>
                <c:pt idx="56">
                  <c:v>180</c:v>
                </c:pt>
                <c:pt idx="57">
                  <c:v>182.5</c:v>
                </c:pt>
                <c:pt idx="58">
                  <c:v>1000</c:v>
                </c:pt>
              </c:numCache>
            </c:numRef>
          </c:cat>
          <c:val>
            <c:numRef>
              <c:f>Sheet1!$B$23:$BH$23</c:f>
              <c:numCache>
                <c:formatCode>General</c:formatCode>
                <c:ptCount val="59"/>
                <c:pt idx="0">
                  <c:v>0.26033354868783992</c:v>
                </c:pt>
                <c:pt idx="1">
                  <c:v>0.25489960778032539</c:v>
                </c:pt>
                <c:pt idx="2">
                  <c:v>0.2507641965255053</c:v>
                </c:pt>
                <c:pt idx="3">
                  <c:v>0.24769456490130751</c:v>
                </c:pt>
                <c:pt idx="4">
                  <c:v>0.24627357266400521</c:v>
                </c:pt>
                <c:pt idx="5">
                  <c:v>0.24741357881280379</c:v>
                </c:pt>
                <c:pt idx="6">
                  <c:v>0.24680930500462031</c:v>
                </c:pt>
                <c:pt idx="7">
                  <c:v>0.24584257885880509</c:v>
                </c:pt>
                <c:pt idx="8">
                  <c:v>0.25008411270878972</c:v>
                </c:pt>
                <c:pt idx="9">
                  <c:v>0.26681099219643373</c:v>
                </c:pt>
                <c:pt idx="10">
                  <c:v>0.26752904092764163</c:v>
                </c:pt>
                <c:pt idx="11">
                  <c:v>0.26518479427544961</c:v>
                </c:pt>
                <c:pt idx="12">
                  <c:v>0.25066437033572431</c:v>
                </c:pt>
                <c:pt idx="13">
                  <c:v>0.22843165165355661</c:v>
                </c:pt>
                <c:pt idx="14">
                  <c:v>0.221317800808467</c:v>
                </c:pt>
                <c:pt idx="15">
                  <c:v>0.21556866198915911</c:v>
                </c:pt>
                <c:pt idx="16">
                  <c:v>0.22349670231238289</c:v>
                </c:pt>
                <c:pt idx="17">
                  <c:v>0.24911056809103729</c:v>
                </c:pt>
                <c:pt idx="18">
                  <c:v>0.24810773329409341</c:v>
                </c:pt>
                <c:pt idx="19">
                  <c:v>0.22861415626114809</c:v>
                </c:pt>
                <c:pt idx="20">
                  <c:v>0.19790216646512029</c:v>
                </c:pt>
                <c:pt idx="21">
                  <c:v>0.1912528435138687</c:v>
                </c:pt>
                <c:pt idx="22">
                  <c:v>0.18772141131111869</c:v>
                </c:pt>
                <c:pt idx="23">
                  <c:v>0.19096978834451661</c:v>
                </c:pt>
                <c:pt idx="24">
                  <c:v>0.2035739319954446</c:v>
                </c:pt>
                <c:pt idx="25">
                  <c:v>0.20930093203313069</c:v>
                </c:pt>
                <c:pt idx="26">
                  <c:v>0.20143887662440441</c:v>
                </c:pt>
                <c:pt idx="27">
                  <c:v>0.19782629741326471</c:v>
                </c:pt>
                <c:pt idx="28">
                  <c:v>0.17229931977100341</c:v>
                </c:pt>
                <c:pt idx="29">
                  <c:v>0.161016832675826</c:v>
                </c:pt>
                <c:pt idx="30">
                  <c:v>0.15831581050682211</c:v>
                </c:pt>
                <c:pt idx="31">
                  <c:v>0.1659483541438643</c:v>
                </c:pt>
                <c:pt idx="32">
                  <c:v>0.16561522087669789</c:v>
                </c:pt>
                <c:pt idx="33">
                  <c:v>0.1582164051249163</c:v>
                </c:pt>
                <c:pt idx="34">
                  <c:v>0.1555826269113699</c:v>
                </c:pt>
                <c:pt idx="35">
                  <c:v>0.1517256708863787</c:v>
                </c:pt>
                <c:pt idx="36">
                  <c:v>0.1394423434901369</c:v>
                </c:pt>
                <c:pt idx="37">
                  <c:v>0.13406803886515839</c:v>
                </c:pt>
                <c:pt idx="38">
                  <c:v>0.13320270568310771</c:v>
                </c:pt>
                <c:pt idx="39">
                  <c:v>0.13376317452494249</c:v>
                </c:pt>
                <c:pt idx="40">
                  <c:v>0.143370627297076</c:v>
                </c:pt>
                <c:pt idx="41">
                  <c:v>0.14643081134516861</c:v>
                </c:pt>
                <c:pt idx="42">
                  <c:v>0.14536613195931031</c:v>
                </c:pt>
                <c:pt idx="43">
                  <c:v>0.14291604323321949</c:v>
                </c:pt>
                <c:pt idx="44">
                  <c:v>0.1346835178717801</c:v>
                </c:pt>
                <c:pt idx="45">
                  <c:v>0.13359043795724951</c:v>
                </c:pt>
                <c:pt idx="46">
                  <c:v>0.13449897170560471</c:v>
                </c:pt>
                <c:pt idx="47">
                  <c:v>0.13818724981506489</c:v>
                </c:pt>
                <c:pt idx="48">
                  <c:v>0.15243994643993239</c:v>
                </c:pt>
                <c:pt idx="49">
                  <c:v>0.1560996577116015</c:v>
                </c:pt>
                <c:pt idx="50">
                  <c:v>0.15629923370082219</c:v>
                </c:pt>
                <c:pt idx="51">
                  <c:v>0.15859445730669541</c:v>
                </c:pt>
                <c:pt idx="52">
                  <c:v>0.16516911718571151</c:v>
                </c:pt>
                <c:pt idx="53">
                  <c:v>0.16546256344675889</c:v>
                </c:pt>
                <c:pt idx="54">
                  <c:v>0.16483750641344239</c:v>
                </c:pt>
                <c:pt idx="55">
                  <c:v>0.16422790124252459</c:v>
                </c:pt>
                <c:pt idx="56">
                  <c:v>3.9573608070178221E-2</c:v>
                </c:pt>
                <c:pt idx="57">
                  <c:v>0.16269926870810289</c:v>
                </c:pt>
                <c:pt idx="58">
                  <c:v>0.156849325241732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5-DBE2-48CC-8485-F6B125FAE53C}"/>
            </c:ext>
          </c:extLst>
        </c:ser>
        <c:ser>
          <c:idx val="22"/>
          <c:order val="22"/>
          <c:tx>
            <c:strRef>
              <c:f>Sheet1!$A$24</c:f>
              <c:strCache>
                <c:ptCount val="1"/>
                <c:pt idx="0">
                  <c:v>5.002739726</c:v>
                </c:pt>
              </c:strCache>
            </c:strRef>
          </c:tx>
          <c:spPr>
            <a:gradFill rotWithShape="1">
              <a:gsLst>
                <a:gs pos="0">
                  <a:schemeClr val="accent5">
                    <a:lumMod val="80000"/>
                    <a:tint val="50000"/>
                    <a:satMod val="300000"/>
                  </a:schemeClr>
                </a:gs>
                <a:gs pos="35000">
                  <a:schemeClr val="accent5">
                    <a:lumMod val="80000"/>
                    <a:tint val="37000"/>
                    <a:satMod val="300000"/>
                  </a:schemeClr>
                </a:gs>
                <a:gs pos="100000">
                  <a:schemeClr val="accent5">
                    <a:lumMod val="80000"/>
                    <a:tint val="15000"/>
                    <a:satMod val="350000"/>
                  </a:schemeClr>
                </a:gs>
              </a:gsLst>
              <a:lin ang="16200000" scaled="1"/>
            </a:gradFill>
            <a:ln w="9525" cap="flat" cmpd="sng" algn="ctr">
              <a:solidFill>
                <a:schemeClr val="accent5">
                  <a:lumMod val="80000"/>
                  <a:shade val="95000"/>
                </a:schemeClr>
              </a:solidFill>
              <a:round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  <a:sp3d contourW="9525">
              <a:contourClr>
                <a:schemeClr val="accent5">
                  <a:lumMod val="80000"/>
                  <a:shade val="95000"/>
                </a:schemeClr>
              </a:contourClr>
            </a:sp3d>
          </c:spPr>
          <c:cat>
            <c:numRef>
              <c:f>Sheet1!$B$1:$BH$1</c:f>
              <c:numCache>
                <c:formatCode>General</c:formatCode>
                <c:ptCount val="59"/>
                <c:pt idx="0">
                  <c:v>40</c:v>
                </c:pt>
                <c:pt idx="1">
                  <c:v>42.5</c:v>
                </c:pt>
                <c:pt idx="2">
                  <c:v>45</c:v>
                </c:pt>
                <c:pt idx="3">
                  <c:v>47.5</c:v>
                </c:pt>
                <c:pt idx="4">
                  <c:v>50</c:v>
                </c:pt>
                <c:pt idx="5">
                  <c:v>52.5</c:v>
                </c:pt>
                <c:pt idx="6">
                  <c:v>55</c:v>
                </c:pt>
                <c:pt idx="7">
                  <c:v>57.5</c:v>
                </c:pt>
                <c:pt idx="8">
                  <c:v>60</c:v>
                </c:pt>
                <c:pt idx="9">
                  <c:v>62.5</c:v>
                </c:pt>
                <c:pt idx="10">
                  <c:v>65</c:v>
                </c:pt>
                <c:pt idx="11">
                  <c:v>67.5</c:v>
                </c:pt>
                <c:pt idx="12">
                  <c:v>70</c:v>
                </c:pt>
                <c:pt idx="13">
                  <c:v>72.5</c:v>
                </c:pt>
                <c:pt idx="14">
                  <c:v>75</c:v>
                </c:pt>
                <c:pt idx="15">
                  <c:v>77.5</c:v>
                </c:pt>
                <c:pt idx="16">
                  <c:v>80</c:v>
                </c:pt>
                <c:pt idx="17">
                  <c:v>82.5</c:v>
                </c:pt>
                <c:pt idx="18">
                  <c:v>85</c:v>
                </c:pt>
                <c:pt idx="19">
                  <c:v>87.5</c:v>
                </c:pt>
                <c:pt idx="20">
                  <c:v>90</c:v>
                </c:pt>
                <c:pt idx="21">
                  <c:v>92.5</c:v>
                </c:pt>
                <c:pt idx="22">
                  <c:v>95</c:v>
                </c:pt>
                <c:pt idx="23">
                  <c:v>97.5</c:v>
                </c:pt>
                <c:pt idx="24">
                  <c:v>100</c:v>
                </c:pt>
                <c:pt idx="25">
                  <c:v>102.5</c:v>
                </c:pt>
                <c:pt idx="26">
                  <c:v>105</c:v>
                </c:pt>
                <c:pt idx="27">
                  <c:v>107.5</c:v>
                </c:pt>
                <c:pt idx="28">
                  <c:v>110</c:v>
                </c:pt>
                <c:pt idx="29">
                  <c:v>112.5</c:v>
                </c:pt>
                <c:pt idx="30">
                  <c:v>115</c:v>
                </c:pt>
                <c:pt idx="31">
                  <c:v>117.5</c:v>
                </c:pt>
                <c:pt idx="32">
                  <c:v>120</c:v>
                </c:pt>
                <c:pt idx="33">
                  <c:v>122.5</c:v>
                </c:pt>
                <c:pt idx="34">
                  <c:v>125</c:v>
                </c:pt>
                <c:pt idx="35">
                  <c:v>127.5</c:v>
                </c:pt>
                <c:pt idx="36">
                  <c:v>130</c:v>
                </c:pt>
                <c:pt idx="37">
                  <c:v>132.5</c:v>
                </c:pt>
                <c:pt idx="38">
                  <c:v>135</c:v>
                </c:pt>
                <c:pt idx="39">
                  <c:v>137.5</c:v>
                </c:pt>
                <c:pt idx="40">
                  <c:v>140</c:v>
                </c:pt>
                <c:pt idx="41">
                  <c:v>142.5</c:v>
                </c:pt>
                <c:pt idx="42">
                  <c:v>145</c:v>
                </c:pt>
                <c:pt idx="43">
                  <c:v>147.5</c:v>
                </c:pt>
                <c:pt idx="44">
                  <c:v>150</c:v>
                </c:pt>
                <c:pt idx="45">
                  <c:v>152.5</c:v>
                </c:pt>
                <c:pt idx="46">
                  <c:v>155</c:v>
                </c:pt>
                <c:pt idx="47">
                  <c:v>157.5</c:v>
                </c:pt>
                <c:pt idx="48">
                  <c:v>160</c:v>
                </c:pt>
                <c:pt idx="49">
                  <c:v>162.5</c:v>
                </c:pt>
                <c:pt idx="50">
                  <c:v>165</c:v>
                </c:pt>
                <c:pt idx="51">
                  <c:v>167.5</c:v>
                </c:pt>
                <c:pt idx="52">
                  <c:v>170</c:v>
                </c:pt>
                <c:pt idx="53">
                  <c:v>172.5</c:v>
                </c:pt>
                <c:pt idx="54">
                  <c:v>175</c:v>
                </c:pt>
                <c:pt idx="55">
                  <c:v>177.5</c:v>
                </c:pt>
                <c:pt idx="56">
                  <c:v>180</c:v>
                </c:pt>
                <c:pt idx="57">
                  <c:v>182.5</c:v>
                </c:pt>
                <c:pt idx="58">
                  <c:v>1000</c:v>
                </c:pt>
              </c:numCache>
            </c:numRef>
          </c:cat>
          <c:val>
            <c:numRef>
              <c:f>Sheet1!$B$24:$BH$24</c:f>
              <c:numCache>
                <c:formatCode>General</c:formatCode>
                <c:ptCount val="59"/>
                <c:pt idx="0">
                  <c:v>0.27280361066927339</c:v>
                </c:pt>
                <c:pt idx="1">
                  <c:v>0.26867930183527983</c:v>
                </c:pt>
                <c:pt idx="2">
                  <c:v>0.26471586772737749</c:v>
                </c:pt>
                <c:pt idx="3">
                  <c:v>0.26091475921055851</c:v>
                </c:pt>
                <c:pt idx="4">
                  <c:v>0.25848439389163369</c:v>
                </c:pt>
                <c:pt idx="5">
                  <c:v>0.25984103762739869</c:v>
                </c:pt>
                <c:pt idx="6">
                  <c:v>0.25698931331808811</c:v>
                </c:pt>
                <c:pt idx="7">
                  <c:v>0.25316463000344652</c:v>
                </c:pt>
                <c:pt idx="8">
                  <c:v>0.25638501461379959</c:v>
                </c:pt>
                <c:pt idx="9">
                  <c:v>0.27771214797805438</c:v>
                </c:pt>
                <c:pt idx="10">
                  <c:v>0.2768035475849997</c:v>
                </c:pt>
                <c:pt idx="11">
                  <c:v>0.2744640558866755</c:v>
                </c:pt>
                <c:pt idx="12">
                  <c:v>0.25595473536149821</c:v>
                </c:pt>
                <c:pt idx="13">
                  <c:v>0.22657536740375819</c:v>
                </c:pt>
                <c:pt idx="14">
                  <c:v>0.2224834978236559</c:v>
                </c:pt>
                <c:pt idx="15">
                  <c:v>0.2189102309271842</c:v>
                </c:pt>
                <c:pt idx="16">
                  <c:v>0.22980604285188849</c:v>
                </c:pt>
                <c:pt idx="17">
                  <c:v>0.25560336265006511</c:v>
                </c:pt>
                <c:pt idx="18">
                  <c:v>0.25266285226607621</c:v>
                </c:pt>
                <c:pt idx="19">
                  <c:v>0.234183641933634</c:v>
                </c:pt>
                <c:pt idx="20">
                  <c:v>0.21408736631856121</c:v>
                </c:pt>
                <c:pt idx="21">
                  <c:v>0.2039790992818582</c:v>
                </c:pt>
                <c:pt idx="22">
                  <c:v>0.19373978195347949</c:v>
                </c:pt>
                <c:pt idx="23">
                  <c:v>0.1958897408683242</c:v>
                </c:pt>
                <c:pt idx="24">
                  <c:v>0.197865926398264</c:v>
                </c:pt>
                <c:pt idx="25">
                  <c:v>0.21104873757202541</c:v>
                </c:pt>
                <c:pt idx="26">
                  <c:v>0.22335320939820161</c:v>
                </c:pt>
                <c:pt idx="27">
                  <c:v>0.21780572282369079</c:v>
                </c:pt>
                <c:pt idx="28">
                  <c:v>0.17856176291463369</c:v>
                </c:pt>
                <c:pt idx="29">
                  <c:v>0.16371470100995791</c:v>
                </c:pt>
                <c:pt idx="30">
                  <c:v>0.1620892671421352</c:v>
                </c:pt>
                <c:pt idx="31">
                  <c:v>0.17496711678862981</c:v>
                </c:pt>
                <c:pt idx="32">
                  <c:v>0.1802742566767408</c:v>
                </c:pt>
                <c:pt idx="33">
                  <c:v>0.16802152335265111</c:v>
                </c:pt>
                <c:pt idx="34">
                  <c:v>0.1630882297400314</c:v>
                </c:pt>
                <c:pt idx="35">
                  <c:v>0.16029834716025521</c:v>
                </c:pt>
                <c:pt idx="36">
                  <c:v>0.1467931758052336</c:v>
                </c:pt>
                <c:pt idx="37">
                  <c:v>0.14289045970354711</c:v>
                </c:pt>
                <c:pt idx="38">
                  <c:v>0.14231409221847721</c:v>
                </c:pt>
                <c:pt idx="39">
                  <c:v>0.1432862841301332</c:v>
                </c:pt>
                <c:pt idx="40">
                  <c:v>0.15521971329298301</c:v>
                </c:pt>
                <c:pt idx="41">
                  <c:v>0.1569955745534809</c:v>
                </c:pt>
                <c:pt idx="42">
                  <c:v>0.15582522001763971</c:v>
                </c:pt>
                <c:pt idx="43">
                  <c:v>0.15293721075086869</c:v>
                </c:pt>
                <c:pt idx="44">
                  <c:v>0.142921418499525</c:v>
                </c:pt>
                <c:pt idx="45">
                  <c:v>0.14238420429044951</c:v>
                </c:pt>
                <c:pt idx="46">
                  <c:v>0.14322375170907531</c:v>
                </c:pt>
                <c:pt idx="47">
                  <c:v>0.14722773142864609</c:v>
                </c:pt>
                <c:pt idx="48">
                  <c:v>0.16227574332697681</c:v>
                </c:pt>
                <c:pt idx="49">
                  <c:v>0.1628494077528467</c:v>
                </c:pt>
                <c:pt idx="50">
                  <c:v>0.16178869515275779</c:v>
                </c:pt>
                <c:pt idx="51">
                  <c:v>0.16342911705472721</c:v>
                </c:pt>
                <c:pt idx="52">
                  <c:v>0.16966362264610441</c:v>
                </c:pt>
                <c:pt idx="53">
                  <c:v>0.1678345296390493</c:v>
                </c:pt>
                <c:pt idx="54">
                  <c:v>0.16556577031069539</c:v>
                </c:pt>
                <c:pt idx="55">
                  <c:v>0.16333504031941901</c:v>
                </c:pt>
                <c:pt idx="56">
                  <c:v>4.34863820755488E-2</c:v>
                </c:pt>
                <c:pt idx="57">
                  <c:v>0.16002299052223459</c:v>
                </c:pt>
                <c:pt idx="58">
                  <c:v>0.1635689282000943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6-DBE2-48CC-8485-F6B125FAE53C}"/>
            </c:ext>
          </c:extLst>
        </c:ser>
        <c:ser>
          <c:idx val="23"/>
          <c:order val="23"/>
          <c:tx>
            <c:strRef>
              <c:f>Sheet1!$A$25</c:f>
              <c:strCache>
                <c:ptCount val="1"/>
                <c:pt idx="0">
                  <c:v>5.25</c:v>
                </c:pt>
              </c:strCache>
            </c:strRef>
          </c:tx>
          <c:spPr>
            <a:gradFill rotWithShape="1">
              <a:gsLst>
                <a:gs pos="0">
                  <a:schemeClr val="accent6">
                    <a:lumMod val="80000"/>
                    <a:tint val="50000"/>
                    <a:satMod val="300000"/>
                  </a:schemeClr>
                </a:gs>
                <a:gs pos="35000">
                  <a:schemeClr val="accent6">
                    <a:lumMod val="80000"/>
                    <a:tint val="37000"/>
                    <a:satMod val="300000"/>
                  </a:schemeClr>
                </a:gs>
                <a:gs pos="100000">
                  <a:schemeClr val="accent6">
                    <a:lumMod val="80000"/>
                    <a:tint val="15000"/>
                    <a:satMod val="350000"/>
                  </a:schemeClr>
                </a:gs>
              </a:gsLst>
              <a:lin ang="16200000" scaled="1"/>
            </a:gradFill>
            <a:ln w="9525" cap="flat" cmpd="sng" algn="ctr">
              <a:solidFill>
                <a:schemeClr val="accent6">
                  <a:lumMod val="80000"/>
                  <a:shade val="95000"/>
                </a:schemeClr>
              </a:solidFill>
              <a:round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  <a:sp3d contourW="9525">
              <a:contourClr>
                <a:schemeClr val="accent6">
                  <a:lumMod val="80000"/>
                  <a:shade val="95000"/>
                </a:schemeClr>
              </a:contourClr>
            </a:sp3d>
          </c:spPr>
          <c:cat>
            <c:numRef>
              <c:f>Sheet1!$B$1:$BH$1</c:f>
              <c:numCache>
                <c:formatCode>General</c:formatCode>
                <c:ptCount val="59"/>
                <c:pt idx="0">
                  <c:v>40</c:v>
                </c:pt>
                <c:pt idx="1">
                  <c:v>42.5</c:v>
                </c:pt>
                <c:pt idx="2">
                  <c:v>45</c:v>
                </c:pt>
                <c:pt idx="3">
                  <c:v>47.5</c:v>
                </c:pt>
                <c:pt idx="4">
                  <c:v>50</c:v>
                </c:pt>
                <c:pt idx="5">
                  <c:v>52.5</c:v>
                </c:pt>
                <c:pt idx="6">
                  <c:v>55</c:v>
                </c:pt>
                <c:pt idx="7">
                  <c:v>57.5</c:v>
                </c:pt>
                <c:pt idx="8">
                  <c:v>60</c:v>
                </c:pt>
                <c:pt idx="9">
                  <c:v>62.5</c:v>
                </c:pt>
                <c:pt idx="10">
                  <c:v>65</c:v>
                </c:pt>
                <c:pt idx="11">
                  <c:v>67.5</c:v>
                </c:pt>
                <c:pt idx="12">
                  <c:v>70</c:v>
                </c:pt>
                <c:pt idx="13">
                  <c:v>72.5</c:v>
                </c:pt>
                <c:pt idx="14">
                  <c:v>75</c:v>
                </c:pt>
                <c:pt idx="15">
                  <c:v>77.5</c:v>
                </c:pt>
                <c:pt idx="16">
                  <c:v>80</c:v>
                </c:pt>
                <c:pt idx="17">
                  <c:v>82.5</c:v>
                </c:pt>
                <c:pt idx="18">
                  <c:v>85</c:v>
                </c:pt>
                <c:pt idx="19">
                  <c:v>87.5</c:v>
                </c:pt>
                <c:pt idx="20">
                  <c:v>90</c:v>
                </c:pt>
                <c:pt idx="21">
                  <c:v>92.5</c:v>
                </c:pt>
                <c:pt idx="22">
                  <c:v>95</c:v>
                </c:pt>
                <c:pt idx="23">
                  <c:v>97.5</c:v>
                </c:pt>
                <c:pt idx="24">
                  <c:v>100</c:v>
                </c:pt>
                <c:pt idx="25">
                  <c:v>102.5</c:v>
                </c:pt>
                <c:pt idx="26">
                  <c:v>105</c:v>
                </c:pt>
                <c:pt idx="27">
                  <c:v>107.5</c:v>
                </c:pt>
                <c:pt idx="28">
                  <c:v>110</c:v>
                </c:pt>
                <c:pt idx="29">
                  <c:v>112.5</c:v>
                </c:pt>
                <c:pt idx="30">
                  <c:v>115</c:v>
                </c:pt>
                <c:pt idx="31">
                  <c:v>117.5</c:v>
                </c:pt>
                <c:pt idx="32">
                  <c:v>120</c:v>
                </c:pt>
                <c:pt idx="33">
                  <c:v>122.5</c:v>
                </c:pt>
                <c:pt idx="34">
                  <c:v>125</c:v>
                </c:pt>
                <c:pt idx="35">
                  <c:v>127.5</c:v>
                </c:pt>
                <c:pt idx="36">
                  <c:v>130</c:v>
                </c:pt>
                <c:pt idx="37">
                  <c:v>132.5</c:v>
                </c:pt>
                <c:pt idx="38">
                  <c:v>135</c:v>
                </c:pt>
                <c:pt idx="39">
                  <c:v>137.5</c:v>
                </c:pt>
                <c:pt idx="40">
                  <c:v>140</c:v>
                </c:pt>
                <c:pt idx="41">
                  <c:v>142.5</c:v>
                </c:pt>
                <c:pt idx="42">
                  <c:v>145</c:v>
                </c:pt>
                <c:pt idx="43">
                  <c:v>147.5</c:v>
                </c:pt>
                <c:pt idx="44">
                  <c:v>150</c:v>
                </c:pt>
                <c:pt idx="45">
                  <c:v>152.5</c:v>
                </c:pt>
                <c:pt idx="46">
                  <c:v>155</c:v>
                </c:pt>
                <c:pt idx="47">
                  <c:v>157.5</c:v>
                </c:pt>
                <c:pt idx="48">
                  <c:v>160</c:v>
                </c:pt>
                <c:pt idx="49">
                  <c:v>162.5</c:v>
                </c:pt>
                <c:pt idx="50">
                  <c:v>165</c:v>
                </c:pt>
                <c:pt idx="51">
                  <c:v>167.5</c:v>
                </c:pt>
                <c:pt idx="52">
                  <c:v>170</c:v>
                </c:pt>
                <c:pt idx="53">
                  <c:v>172.5</c:v>
                </c:pt>
                <c:pt idx="54">
                  <c:v>175</c:v>
                </c:pt>
                <c:pt idx="55">
                  <c:v>177.5</c:v>
                </c:pt>
                <c:pt idx="56">
                  <c:v>180</c:v>
                </c:pt>
                <c:pt idx="57">
                  <c:v>182.5</c:v>
                </c:pt>
                <c:pt idx="58">
                  <c:v>1000</c:v>
                </c:pt>
              </c:numCache>
            </c:numRef>
          </c:cat>
          <c:val>
            <c:numRef>
              <c:f>Sheet1!$B$25:$BH$25</c:f>
              <c:numCache>
                <c:formatCode>General</c:formatCode>
                <c:ptCount val="59"/>
                <c:pt idx="0">
                  <c:v>0.27007855008720438</c:v>
                </c:pt>
                <c:pt idx="1">
                  <c:v>0.2660435371658269</c:v>
                </c:pt>
                <c:pt idx="2">
                  <c:v>0.26217853287598031</c:v>
                </c:pt>
                <c:pt idx="3">
                  <c:v>0.25848461065406769</c:v>
                </c:pt>
                <c:pt idx="4">
                  <c:v>0.25765962815920962</c:v>
                </c:pt>
                <c:pt idx="5">
                  <c:v>0.26022202385220222</c:v>
                </c:pt>
                <c:pt idx="6">
                  <c:v>0.25760028312440653</c:v>
                </c:pt>
                <c:pt idx="7">
                  <c:v>0.25401690843460067</c:v>
                </c:pt>
                <c:pt idx="8">
                  <c:v>0.25610691706016381</c:v>
                </c:pt>
                <c:pt idx="9">
                  <c:v>0.27360760770860248</c:v>
                </c:pt>
                <c:pt idx="10">
                  <c:v>0.27218594141273561</c:v>
                </c:pt>
                <c:pt idx="11">
                  <c:v>0.26957892885074952</c:v>
                </c:pt>
                <c:pt idx="12">
                  <c:v>0.25291540732068368</c:v>
                </c:pt>
                <c:pt idx="13">
                  <c:v>0.2270351374568067</c:v>
                </c:pt>
                <c:pt idx="14">
                  <c:v>0.22318895583289511</c:v>
                </c:pt>
                <c:pt idx="15">
                  <c:v>0.2197438883572379</c:v>
                </c:pt>
                <c:pt idx="16">
                  <c:v>0.22884611391770621</c:v>
                </c:pt>
                <c:pt idx="17">
                  <c:v>0.25008455857339729</c:v>
                </c:pt>
                <c:pt idx="18">
                  <c:v>0.24742436204665311</c:v>
                </c:pt>
                <c:pt idx="19">
                  <c:v>0.23282149632447299</c:v>
                </c:pt>
                <c:pt idx="20">
                  <c:v>0.21445633651222221</c:v>
                </c:pt>
                <c:pt idx="21">
                  <c:v>0.20351272028915729</c:v>
                </c:pt>
                <c:pt idx="22">
                  <c:v>0.1960900147375515</c:v>
                </c:pt>
                <c:pt idx="23">
                  <c:v>0.20274779625963241</c:v>
                </c:pt>
                <c:pt idx="24">
                  <c:v>0.1993477918276495</c:v>
                </c:pt>
                <c:pt idx="25">
                  <c:v>0.20043299391267891</c:v>
                </c:pt>
                <c:pt idx="26">
                  <c:v>0.20855211221156289</c:v>
                </c:pt>
                <c:pt idx="27">
                  <c:v>0.21716342872625699</c:v>
                </c:pt>
                <c:pt idx="28">
                  <c:v>0.1905344887193309</c:v>
                </c:pt>
                <c:pt idx="29">
                  <c:v>0.17438975814664809</c:v>
                </c:pt>
                <c:pt idx="30">
                  <c:v>0.1598000809109496</c:v>
                </c:pt>
                <c:pt idx="31">
                  <c:v>0.16157800442321171</c:v>
                </c:pt>
                <c:pt idx="32">
                  <c:v>0.1789436392913166</c:v>
                </c:pt>
                <c:pt idx="33">
                  <c:v>0.17532374328199349</c:v>
                </c:pt>
                <c:pt idx="34">
                  <c:v>0.16968144971970911</c:v>
                </c:pt>
                <c:pt idx="35">
                  <c:v>0.16192385349956881</c:v>
                </c:pt>
                <c:pt idx="36">
                  <c:v>0.14832606197173481</c:v>
                </c:pt>
                <c:pt idx="37">
                  <c:v>0.14458140114728341</c:v>
                </c:pt>
                <c:pt idx="38">
                  <c:v>0.14365856676340899</c:v>
                </c:pt>
                <c:pt idx="39">
                  <c:v>0.14333402764517991</c:v>
                </c:pt>
                <c:pt idx="40">
                  <c:v>0.15320422069111661</c:v>
                </c:pt>
                <c:pt idx="41">
                  <c:v>0.1545657042505543</c:v>
                </c:pt>
                <c:pt idx="42">
                  <c:v>0.15446948714539099</c:v>
                </c:pt>
                <c:pt idx="43">
                  <c:v>0.1548122522772592</c:v>
                </c:pt>
                <c:pt idx="44">
                  <c:v>0.14551565243078499</c:v>
                </c:pt>
                <c:pt idx="45">
                  <c:v>0.1446241619999456</c:v>
                </c:pt>
                <c:pt idx="46">
                  <c:v>0.14418951552195761</c:v>
                </c:pt>
                <c:pt idx="47">
                  <c:v>0.1459177805268585</c:v>
                </c:pt>
                <c:pt idx="48">
                  <c:v>0.15803792402108929</c:v>
                </c:pt>
                <c:pt idx="49">
                  <c:v>0.1581955116687439</c:v>
                </c:pt>
                <c:pt idx="50">
                  <c:v>0.15802017077052791</c:v>
                </c:pt>
                <c:pt idx="51">
                  <c:v>0.15992669596663639</c:v>
                </c:pt>
                <c:pt idx="52">
                  <c:v>0.16451096094183651</c:v>
                </c:pt>
                <c:pt idx="53">
                  <c:v>0.16259700381770939</c:v>
                </c:pt>
                <c:pt idx="54">
                  <c:v>0.16034613312995791</c:v>
                </c:pt>
                <c:pt idx="55">
                  <c:v>0.15813749897097659</c:v>
                </c:pt>
                <c:pt idx="56">
                  <c:v>4.5864467605103029E-2</c:v>
                </c:pt>
                <c:pt idx="57">
                  <c:v>0.15948490207426441</c:v>
                </c:pt>
                <c:pt idx="58">
                  <c:v>0.1820207887971307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7-DBE2-48CC-8485-F6B125FAE53C}"/>
            </c:ext>
          </c:extLst>
        </c:ser>
        <c:ser>
          <c:idx val="24"/>
          <c:order val="24"/>
          <c:tx>
            <c:strRef>
              <c:f>Sheet1!$A$26</c:f>
              <c:strCache>
                <c:ptCount val="1"/>
                <c:pt idx="0">
                  <c:v>5.5</c:v>
                </c:pt>
              </c:strCache>
            </c:strRef>
          </c:tx>
          <c:spPr>
            <a:gradFill rotWithShape="1">
              <a:gsLst>
                <a:gs pos="0">
                  <a:schemeClr val="accent1">
                    <a:lumMod val="60000"/>
                    <a:lumOff val="40000"/>
                    <a:tint val="50000"/>
                    <a:satMod val="300000"/>
                  </a:schemeClr>
                </a:gs>
                <a:gs pos="35000">
                  <a:schemeClr val="accent1">
                    <a:lumMod val="60000"/>
                    <a:lumOff val="40000"/>
                    <a:tint val="37000"/>
                    <a:satMod val="300000"/>
                  </a:schemeClr>
                </a:gs>
                <a:gs pos="100000">
                  <a:schemeClr val="accent1">
                    <a:lumMod val="60000"/>
                    <a:lumOff val="40000"/>
                    <a:tint val="15000"/>
                    <a:satMod val="350000"/>
                  </a:schemeClr>
                </a:gs>
              </a:gsLst>
              <a:lin ang="16200000" scaled="1"/>
            </a:gradFill>
            <a:ln w="9525" cap="flat" cmpd="sng" algn="ctr">
              <a:solidFill>
                <a:schemeClr val="accent1">
                  <a:lumMod val="60000"/>
                  <a:lumOff val="40000"/>
                  <a:shade val="95000"/>
                </a:schemeClr>
              </a:solidFill>
              <a:round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  <a:sp3d contourW="9525">
              <a:contourClr>
                <a:schemeClr val="accent1">
                  <a:lumMod val="60000"/>
                  <a:lumOff val="40000"/>
                  <a:shade val="95000"/>
                </a:schemeClr>
              </a:contourClr>
            </a:sp3d>
          </c:spPr>
          <c:cat>
            <c:numRef>
              <c:f>Sheet1!$B$1:$BH$1</c:f>
              <c:numCache>
                <c:formatCode>General</c:formatCode>
                <c:ptCount val="59"/>
                <c:pt idx="0">
                  <c:v>40</c:v>
                </c:pt>
                <c:pt idx="1">
                  <c:v>42.5</c:v>
                </c:pt>
                <c:pt idx="2">
                  <c:v>45</c:v>
                </c:pt>
                <c:pt idx="3">
                  <c:v>47.5</c:v>
                </c:pt>
                <c:pt idx="4">
                  <c:v>50</c:v>
                </c:pt>
                <c:pt idx="5">
                  <c:v>52.5</c:v>
                </c:pt>
                <c:pt idx="6">
                  <c:v>55</c:v>
                </c:pt>
                <c:pt idx="7">
                  <c:v>57.5</c:v>
                </c:pt>
                <c:pt idx="8">
                  <c:v>60</c:v>
                </c:pt>
                <c:pt idx="9">
                  <c:v>62.5</c:v>
                </c:pt>
                <c:pt idx="10">
                  <c:v>65</c:v>
                </c:pt>
                <c:pt idx="11">
                  <c:v>67.5</c:v>
                </c:pt>
                <c:pt idx="12">
                  <c:v>70</c:v>
                </c:pt>
                <c:pt idx="13">
                  <c:v>72.5</c:v>
                </c:pt>
                <c:pt idx="14">
                  <c:v>75</c:v>
                </c:pt>
                <c:pt idx="15">
                  <c:v>77.5</c:v>
                </c:pt>
                <c:pt idx="16">
                  <c:v>80</c:v>
                </c:pt>
                <c:pt idx="17">
                  <c:v>82.5</c:v>
                </c:pt>
                <c:pt idx="18">
                  <c:v>85</c:v>
                </c:pt>
                <c:pt idx="19">
                  <c:v>87.5</c:v>
                </c:pt>
                <c:pt idx="20">
                  <c:v>90</c:v>
                </c:pt>
                <c:pt idx="21">
                  <c:v>92.5</c:v>
                </c:pt>
                <c:pt idx="22">
                  <c:v>95</c:v>
                </c:pt>
                <c:pt idx="23">
                  <c:v>97.5</c:v>
                </c:pt>
                <c:pt idx="24">
                  <c:v>100</c:v>
                </c:pt>
                <c:pt idx="25">
                  <c:v>102.5</c:v>
                </c:pt>
                <c:pt idx="26">
                  <c:v>105</c:v>
                </c:pt>
                <c:pt idx="27">
                  <c:v>107.5</c:v>
                </c:pt>
                <c:pt idx="28">
                  <c:v>110</c:v>
                </c:pt>
                <c:pt idx="29">
                  <c:v>112.5</c:v>
                </c:pt>
                <c:pt idx="30">
                  <c:v>115</c:v>
                </c:pt>
                <c:pt idx="31">
                  <c:v>117.5</c:v>
                </c:pt>
                <c:pt idx="32">
                  <c:v>120</c:v>
                </c:pt>
                <c:pt idx="33">
                  <c:v>122.5</c:v>
                </c:pt>
                <c:pt idx="34">
                  <c:v>125</c:v>
                </c:pt>
                <c:pt idx="35">
                  <c:v>127.5</c:v>
                </c:pt>
                <c:pt idx="36">
                  <c:v>130</c:v>
                </c:pt>
                <c:pt idx="37">
                  <c:v>132.5</c:v>
                </c:pt>
                <c:pt idx="38">
                  <c:v>135</c:v>
                </c:pt>
                <c:pt idx="39">
                  <c:v>137.5</c:v>
                </c:pt>
                <c:pt idx="40">
                  <c:v>140</c:v>
                </c:pt>
                <c:pt idx="41">
                  <c:v>142.5</c:v>
                </c:pt>
                <c:pt idx="42">
                  <c:v>145</c:v>
                </c:pt>
                <c:pt idx="43">
                  <c:v>147.5</c:v>
                </c:pt>
                <c:pt idx="44">
                  <c:v>150</c:v>
                </c:pt>
                <c:pt idx="45">
                  <c:v>152.5</c:v>
                </c:pt>
                <c:pt idx="46">
                  <c:v>155</c:v>
                </c:pt>
                <c:pt idx="47">
                  <c:v>157.5</c:v>
                </c:pt>
                <c:pt idx="48">
                  <c:v>160</c:v>
                </c:pt>
                <c:pt idx="49">
                  <c:v>162.5</c:v>
                </c:pt>
                <c:pt idx="50">
                  <c:v>165</c:v>
                </c:pt>
                <c:pt idx="51">
                  <c:v>167.5</c:v>
                </c:pt>
                <c:pt idx="52">
                  <c:v>170</c:v>
                </c:pt>
                <c:pt idx="53">
                  <c:v>172.5</c:v>
                </c:pt>
                <c:pt idx="54">
                  <c:v>175</c:v>
                </c:pt>
                <c:pt idx="55">
                  <c:v>177.5</c:v>
                </c:pt>
                <c:pt idx="56">
                  <c:v>180</c:v>
                </c:pt>
                <c:pt idx="57">
                  <c:v>182.5</c:v>
                </c:pt>
                <c:pt idx="58">
                  <c:v>1000</c:v>
                </c:pt>
              </c:numCache>
            </c:numRef>
          </c:cat>
          <c:val>
            <c:numRef>
              <c:f>Sheet1!$B$26:$BH$26</c:f>
              <c:numCache>
                <c:formatCode>General</c:formatCode>
                <c:ptCount val="59"/>
                <c:pt idx="0">
                  <c:v>0.26750121843533048</c:v>
                </c:pt>
                <c:pt idx="1">
                  <c:v>0.26355652956047049</c:v>
                </c:pt>
                <c:pt idx="2">
                  <c:v>0.25978975244389441</c:v>
                </c:pt>
                <c:pt idx="3">
                  <c:v>0.25620163332422191</c:v>
                </c:pt>
                <c:pt idx="4">
                  <c:v>0.25694704180748767</c:v>
                </c:pt>
                <c:pt idx="5">
                  <c:v>0.26072234268943151</c:v>
                </c:pt>
                <c:pt idx="6">
                  <c:v>0.25832033472829091</c:v>
                </c:pt>
                <c:pt idx="7">
                  <c:v>0.25496863978425488</c:v>
                </c:pt>
                <c:pt idx="8">
                  <c:v>0.25589482958146098</c:v>
                </c:pt>
                <c:pt idx="9">
                  <c:v>0.26971183144271099</c:v>
                </c:pt>
                <c:pt idx="10">
                  <c:v>0.2678371389776909</c:v>
                </c:pt>
                <c:pt idx="11">
                  <c:v>0.26500645191598088</c:v>
                </c:pt>
                <c:pt idx="12">
                  <c:v>0.25006167844052579</c:v>
                </c:pt>
                <c:pt idx="13">
                  <c:v>0.22759515792072699</c:v>
                </c:pt>
                <c:pt idx="14">
                  <c:v>0.2239865744269588</c:v>
                </c:pt>
                <c:pt idx="15">
                  <c:v>0.22065939341483479</c:v>
                </c:pt>
                <c:pt idx="16">
                  <c:v>0.22794438028714589</c:v>
                </c:pt>
                <c:pt idx="17">
                  <c:v>0.24492118072397759</c:v>
                </c:pt>
                <c:pt idx="18">
                  <c:v>0.24252925758177091</c:v>
                </c:pt>
                <c:pt idx="19">
                  <c:v>0.23155444583626619</c:v>
                </c:pt>
                <c:pt idx="20">
                  <c:v>0.21489882017021111</c:v>
                </c:pt>
                <c:pt idx="21">
                  <c:v>0.20309216811161521</c:v>
                </c:pt>
                <c:pt idx="22">
                  <c:v>0.198592240174184</c:v>
                </c:pt>
                <c:pt idx="23">
                  <c:v>0.21049333092249409</c:v>
                </c:pt>
                <c:pt idx="24">
                  <c:v>0.20088166568182</c:v>
                </c:pt>
                <c:pt idx="25">
                  <c:v>0.1911736180489253</c:v>
                </c:pt>
                <c:pt idx="26">
                  <c:v>0.19621566675783941</c:v>
                </c:pt>
                <c:pt idx="27">
                  <c:v>0.21649955579356001</c:v>
                </c:pt>
                <c:pt idx="28">
                  <c:v>0.20543101409700659</c:v>
                </c:pt>
                <c:pt idx="29">
                  <c:v>0.18757543197837581</c:v>
                </c:pt>
                <c:pt idx="30">
                  <c:v>0.15756609212804229</c:v>
                </c:pt>
                <c:pt idx="31">
                  <c:v>0.15072754429606919</c:v>
                </c:pt>
                <c:pt idx="32">
                  <c:v>0.17751392601089469</c:v>
                </c:pt>
                <c:pt idx="33">
                  <c:v>0.18359935424079629</c:v>
                </c:pt>
                <c:pt idx="34">
                  <c:v>0.17708695699613849</c:v>
                </c:pt>
                <c:pt idx="35">
                  <c:v>0.16352609537648349</c:v>
                </c:pt>
                <c:pt idx="36">
                  <c:v>0.1498546634081192</c:v>
                </c:pt>
                <c:pt idx="37">
                  <c:v>0.14630118247309551</c:v>
                </c:pt>
                <c:pt idx="38">
                  <c:v>0.14503290898105109</c:v>
                </c:pt>
                <c:pt idx="39">
                  <c:v>0.14338975770369181</c:v>
                </c:pt>
                <c:pt idx="40">
                  <c:v>0.15127771868369591</c:v>
                </c:pt>
                <c:pt idx="41">
                  <c:v>0.15224554599024839</c:v>
                </c:pt>
                <c:pt idx="42">
                  <c:v>0.15314141532163211</c:v>
                </c:pt>
                <c:pt idx="43">
                  <c:v>0.1567795396455032</c:v>
                </c:pt>
                <c:pt idx="44">
                  <c:v>0.1483245533868687</c:v>
                </c:pt>
                <c:pt idx="45">
                  <c:v>0.1471065885990073</c:v>
                </c:pt>
                <c:pt idx="46">
                  <c:v>0.14536394994644089</c:v>
                </c:pt>
                <c:pt idx="47">
                  <c:v>0.14486712636448351</c:v>
                </c:pt>
                <c:pt idx="48">
                  <c:v>0.1544035823875515</c:v>
                </c:pt>
                <c:pt idx="49">
                  <c:v>0.15420675470882689</c:v>
                </c:pt>
                <c:pt idx="50">
                  <c:v>0.15480274549697301</c:v>
                </c:pt>
                <c:pt idx="51">
                  <c:v>0.15696712249909231</c:v>
                </c:pt>
                <c:pt idx="52">
                  <c:v>0.16015256479414031</c:v>
                </c:pt>
                <c:pt idx="53">
                  <c:v>0.1581610425593481</c:v>
                </c:pt>
                <c:pt idx="54">
                  <c:v>0.15591731876536949</c:v>
                </c:pt>
                <c:pt idx="55">
                  <c:v>0.15371944207333979</c:v>
                </c:pt>
                <c:pt idx="56">
                  <c:v>4.8726703001904279E-2</c:v>
                </c:pt>
                <c:pt idx="57">
                  <c:v>0.1589463328647043</c:v>
                </c:pt>
                <c:pt idx="58">
                  <c:v>0.202965892326093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8-DBE2-48CC-8485-F6B125FAE53C}"/>
            </c:ext>
          </c:extLst>
        </c:ser>
        <c:ser>
          <c:idx val="25"/>
          <c:order val="25"/>
          <c:tx>
            <c:strRef>
              <c:f>Sheet1!$A$27</c:f>
              <c:strCache>
                <c:ptCount val="1"/>
                <c:pt idx="0">
                  <c:v>5.75</c:v>
                </c:pt>
              </c:strCache>
            </c:strRef>
          </c:tx>
          <c:spPr>
            <a:gradFill rotWithShape="1">
              <a:gsLst>
                <a:gs pos="0">
                  <a:schemeClr val="accent2">
                    <a:lumMod val="60000"/>
                    <a:lumOff val="40000"/>
                    <a:tint val="50000"/>
                    <a:satMod val="300000"/>
                  </a:schemeClr>
                </a:gs>
                <a:gs pos="35000">
                  <a:schemeClr val="accent2">
                    <a:lumMod val="60000"/>
                    <a:lumOff val="40000"/>
                    <a:tint val="37000"/>
                    <a:satMod val="300000"/>
                  </a:schemeClr>
                </a:gs>
                <a:gs pos="100000">
                  <a:schemeClr val="accent2">
                    <a:lumMod val="60000"/>
                    <a:lumOff val="40000"/>
                    <a:tint val="15000"/>
                    <a:satMod val="350000"/>
                  </a:schemeClr>
                </a:gs>
              </a:gsLst>
              <a:lin ang="16200000" scaled="1"/>
            </a:gradFill>
            <a:ln w="9525" cap="flat" cmpd="sng" algn="ctr">
              <a:solidFill>
                <a:schemeClr val="accent2">
                  <a:lumMod val="60000"/>
                  <a:lumOff val="40000"/>
                  <a:shade val="95000"/>
                </a:schemeClr>
              </a:solidFill>
              <a:round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  <a:sp3d contourW="9525">
              <a:contourClr>
                <a:schemeClr val="accent2">
                  <a:lumMod val="60000"/>
                  <a:lumOff val="40000"/>
                  <a:shade val="95000"/>
                </a:schemeClr>
              </a:contourClr>
            </a:sp3d>
          </c:spPr>
          <c:cat>
            <c:numRef>
              <c:f>Sheet1!$B$1:$BH$1</c:f>
              <c:numCache>
                <c:formatCode>General</c:formatCode>
                <c:ptCount val="59"/>
                <c:pt idx="0">
                  <c:v>40</c:v>
                </c:pt>
                <c:pt idx="1">
                  <c:v>42.5</c:v>
                </c:pt>
                <c:pt idx="2">
                  <c:v>45</c:v>
                </c:pt>
                <c:pt idx="3">
                  <c:v>47.5</c:v>
                </c:pt>
                <c:pt idx="4">
                  <c:v>50</c:v>
                </c:pt>
                <c:pt idx="5">
                  <c:v>52.5</c:v>
                </c:pt>
                <c:pt idx="6">
                  <c:v>55</c:v>
                </c:pt>
                <c:pt idx="7">
                  <c:v>57.5</c:v>
                </c:pt>
                <c:pt idx="8">
                  <c:v>60</c:v>
                </c:pt>
                <c:pt idx="9">
                  <c:v>62.5</c:v>
                </c:pt>
                <c:pt idx="10">
                  <c:v>65</c:v>
                </c:pt>
                <c:pt idx="11">
                  <c:v>67.5</c:v>
                </c:pt>
                <c:pt idx="12">
                  <c:v>70</c:v>
                </c:pt>
                <c:pt idx="13">
                  <c:v>72.5</c:v>
                </c:pt>
                <c:pt idx="14">
                  <c:v>75</c:v>
                </c:pt>
                <c:pt idx="15">
                  <c:v>77.5</c:v>
                </c:pt>
                <c:pt idx="16">
                  <c:v>80</c:v>
                </c:pt>
                <c:pt idx="17">
                  <c:v>82.5</c:v>
                </c:pt>
                <c:pt idx="18">
                  <c:v>85</c:v>
                </c:pt>
                <c:pt idx="19">
                  <c:v>87.5</c:v>
                </c:pt>
                <c:pt idx="20">
                  <c:v>90</c:v>
                </c:pt>
                <c:pt idx="21">
                  <c:v>92.5</c:v>
                </c:pt>
                <c:pt idx="22">
                  <c:v>95</c:v>
                </c:pt>
                <c:pt idx="23">
                  <c:v>97.5</c:v>
                </c:pt>
                <c:pt idx="24">
                  <c:v>100</c:v>
                </c:pt>
                <c:pt idx="25">
                  <c:v>102.5</c:v>
                </c:pt>
                <c:pt idx="26">
                  <c:v>105</c:v>
                </c:pt>
                <c:pt idx="27">
                  <c:v>107.5</c:v>
                </c:pt>
                <c:pt idx="28">
                  <c:v>110</c:v>
                </c:pt>
                <c:pt idx="29">
                  <c:v>112.5</c:v>
                </c:pt>
                <c:pt idx="30">
                  <c:v>115</c:v>
                </c:pt>
                <c:pt idx="31">
                  <c:v>117.5</c:v>
                </c:pt>
                <c:pt idx="32">
                  <c:v>120</c:v>
                </c:pt>
                <c:pt idx="33">
                  <c:v>122.5</c:v>
                </c:pt>
                <c:pt idx="34">
                  <c:v>125</c:v>
                </c:pt>
                <c:pt idx="35">
                  <c:v>127.5</c:v>
                </c:pt>
                <c:pt idx="36">
                  <c:v>130</c:v>
                </c:pt>
                <c:pt idx="37">
                  <c:v>132.5</c:v>
                </c:pt>
                <c:pt idx="38">
                  <c:v>135</c:v>
                </c:pt>
                <c:pt idx="39">
                  <c:v>137.5</c:v>
                </c:pt>
                <c:pt idx="40">
                  <c:v>140</c:v>
                </c:pt>
                <c:pt idx="41">
                  <c:v>142.5</c:v>
                </c:pt>
                <c:pt idx="42">
                  <c:v>145</c:v>
                </c:pt>
                <c:pt idx="43">
                  <c:v>147.5</c:v>
                </c:pt>
                <c:pt idx="44">
                  <c:v>150</c:v>
                </c:pt>
                <c:pt idx="45">
                  <c:v>152.5</c:v>
                </c:pt>
                <c:pt idx="46">
                  <c:v>155</c:v>
                </c:pt>
                <c:pt idx="47">
                  <c:v>157.5</c:v>
                </c:pt>
                <c:pt idx="48">
                  <c:v>160</c:v>
                </c:pt>
                <c:pt idx="49">
                  <c:v>162.5</c:v>
                </c:pt>
                <c:pt idx="50">
                  <c:v>165</c:v>
                </c:pt>
                <c:pt idx="51">
                  <c:v>167.5</c:v>
                </c:pt>
                <c:pt idx="52">
                  <c:v>170</c:v>
                </c:pt>
                <c:pt idx="53">
                  <c:v>172.5</c:v>
                </c:pt>
                <c:pt idx="54">
                  <c:v>175</c:v>
                </c:pt>
                <c:pt idx="55">
                  <c:v>177.5</c:v>
                </c:pt>
                <c:pt idx="56">
                  <c:v>180</c:v>
                </c:pt>
                <c:pt idx="57">
                  <c:v>182.5</c:v>
                </c:pt>
                <c:pt idx="58">
                  <c:v>1000</c:v>
                </c:pt>
              </c:numCache>
            </c:numRef>
          </c:cat>
          <c:val>
            <c:numRef>
              <c:f>Sheet1!$B$27:$BH$27</c:f>
              <c:numCache>
                <c:formatCode>General</c:formatCode>
                <c:ptCount val="59"/>
                <c:pt idx="0">
                  <c:v>0.26508600957068812</c:v>
                </c:pt>
                <c:pt idx="1">
                  <c:v>0.26123111583109621</c:v>
                </c:pt>
                <c:pt idx="2">
                  <c:v>0.25756086591892169</c:v>
                </c:pt>
                <c:pt idx="3">
                  <c:v>0.25407573767121661</c:v>
                </c:pt>
                <c:pt idx="4">
                  <c:v>0.2563458071287732</c:v>
                </c:pt>
                <c:pt idx="5">
                  <c:v>0.26133196087448551</c:v>
                </c:pt>
                <c:pt idx="6">
                  <c:v>0.25913797864672711</c:v>
                </c:pt>
                <c:pt idx="7">
                  <c:v>0.25600692315296047</c:v>
                </c:pt>
                <c:pt idx="8">
                  <c:v>0.25574574900762359</c:v>
                </c:pt>
                <c:pt idx="9">
                  <c:v>0.26604339463542359</c:v>
                </c:pt>
                <c:pt idx="10">
                  <c:v>0.26377130349473599</c:v>
                </c:pt>
                <c:pt idx="11">
                  <c:v>0.26075539706891449</c:v>
                </c:pt>
                <c:pt idx="12">
                  <c:v>0.24740105771748949</c:v>
                </c:pt>
                <c:pt idx="13">
                  <c:v>0.22824388039359969</c:v>
                </c:pt>
                <c:pt idx="14">
                  <c:v>0.22486365109618289</c:v>
                </c:pt>
                <c:pt idx="15">
                  <c:v>0.22164375188380481</c:v>
                </c:pt>
                <c:pt idx="16">
                  <c:v>0.22710348952982351</c:v>
                </c:pt>
                <c:pt idx="17">
                  <c:v>0.24012247400313699</c:v>
                </c:pt>
                <c:pt idx="18">
                  <c:v>0.2379839322099685</c:v>
                </c:pt>
                <c:pt idx="19">
                  <c:v>0.23038336497564099</c:v>
                </c:pt>
                <c:pt idx="20">
                  <c:v>0.21540414695304069</c:v>
                </c:pt>
                <c:pt idx="21">
                  <c:v>0.20271600710746851</c:v>
                </c:pt>
                <c:pt idx="22">
                  <c:v>0.20122631314730749</c:v>
                </c:pt>
                <c:pt idx="23">
                  <c:v>0.21922323407652411</c:v>
                </c:pt>
                <c:pt idx="24">
                  <c:v>0.2024525988289253</c:v>
                </c:pt>
                <c:pt idx="25">
                  <c:v>0.18308548153615661</c:v>
                </c:pt>
                <c:pt idx="26">
                  <c:v>0.1858293175980735</c:v>
                </c:pt>
                <c:pt idx="27">
                  <c:v>0.21582504552974521</c:v>
                </c:pt>
                <c:pt idx="28">
                  <c:v>0.2244274718538401</c:v>
                </c:pt>
                <c:pt idx="29">
                  <c:v>0.20422968519926149</c:v>
                </c:pt>
                <c:pt idx="30">
                  <c:v>0.1554108335735209</c:v>
                </c:pt>
                <c:pt idx="31">
                  <c:v>0.1417898805878493</c:v>
                </c:pt>
                <c:pt idx="32">
                  <c:v>0.17602518319210531</c:v>
                </c:pt>
                <c:pt idx="33">
                  <c:v>0.19300688169336239</c:v>
                </c:pt>
                <c:pt idx="34">
                  <c:v>0.18541618390378181</c:v>
                </c:pt>
                <c:pt idx="35">
                  <c:v>0.1650979600236957</c:v>
                </c:pt>
                <c:pt idx="36">
                  <c:v>0.1513709343630478</c:v>
                </c:pt>
                <c:pt idx="37">
                  <c:v>0.14803897197083751</c:v>
                </c:pt>
                <c:pt idx="38">
                  <c:v>0.14642659639686251</c:v>
                </c:pt>
                <c:pt idx="39">
                  <c:v>0.14345171256368841</c:v>
                </c:pt>
                <c:pt idx="40">
                  <c:v>0.14944899568007189</c:v>
                </c:pt>
                <c:pt idx="41">
                  <c:v>0.15004703502948161</c:v>
                </c:pt>
                <c:pt idx="42">
                  <c:v>0.1518529385299465</c:v>
                </c:pt>
                <c:pt idx="43">
                  <c:v>0.1588233971274591</c:v>
                </c:pt>
                <c:pt idx="44">
                  <c:v>0.15133521292265439</c:v>
                </c:pt>
                <c:pt idx="45">
                  <c:v>0.1498158804424333</c:v>
                </c:pt>
                <c:pt idx="46">
                  <c:v>0.14672248834253609</c:v>
                </c:pt>
                <c:pt idx="47">
                  <c:v>0.14403999313029481</c:v>
                </c:pt>
                <c:pt idx="48">
                  <c:v>0.15127716479693451</c:v>
                </c:pt>
                <c:pt idx="49">
                  <c:v>0.15077609682252949</c:v>
                </c:pt>
                <c:pt idx="50">
                  <c:v>0.15205348719045511</c:v>
                </c:pt>
                <c:pt idx="51">
                  <c:v>0.15446972123597111</c:v>
                </c:pt>
                <c:pt idx="52">
                  <c:v>0.1564549622206495</c:v>
                </c:pt>
                <c:pt idx="53">
                  <c:v>0.1543930544512252</c:v>
                </c:pt>
                <c:pt idx="54">
                  <c:v>0.15214974937826881</c:v>
                </c:pt>
                <c:pt idx="55">
                  <c:v>0.1499553438383939</c:v>
                </c:pt>
                <c:pt idx="56">
                  <c:v>5.2214693146782613E-2</c:v>
                </c:pt>
                <c:pt idx="57">
                  <c:v>0.1584131831925969</c:v>
                </c:pt>
                <c:pt idx="58">
                  <c:v>0.2265384653503474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9-DBE2-48CC-8485-F6B125FAE53C}"/>
            </c:ext>
          </c:extLst>
        </c:ser>
        <c:ser>
          <c:idx val="26"/>
          <c:order val="26"/>
          <c:tx>
            <c:strRef>
              <c:f>Sheet1!$A$28</c:f>
              <c:strCache>
                <c:ptCount val="1"/>
                <c:pt idx="0">
                  <c:v>6</c:v>
                </c:pt>
              </c:strCache>
            </c:strRef>
          </c:tx>
          <c:spPr>
            <a:gradFill rotWithShape="1">
              <a:gsLst>
                <a:gs pos="0">
                  <a:schemeClr val="accent3">
                    <a:lumMod val="60000"/>
                    <a:lumOff val="40000"/>
                    <a:tint val="50000"/>
                    <a:satMod val="300000"/>
                  </a:schemeClr>
                </a:gs>
                <a:gs pos="35000">
                  <a:schemeClr val="accent3">
                    <a:lumMod val="60000"/>
                    <a:lumOff val="40000"/>
                    <a:tint val="37000"/>
                    <a:satMod val="300000"/>
                  </a:schemeClr>
                </a:gs>
                <a:gs pos="100000">
                  <a:schemeClr val="accent3">
                    <a:lumMod val="60000"/>
                    <a:lumOff val="40000"/>
                    <a:tint val="15000"/>
                    <a:satMod val="350000"/>
                  </a:schemeClr>
                </a:gs>
              </a:gsLst>
              <a:lin ang="16200000" scaled="1"/>
            </a:gradFill>
            <a:ln w="9525" cap="flat" cmpd="sng" algn="ctr">
              <a:solidFill>
                <a:schemeClr val="accent3">
                  <a:lumMod val="60000"/>
                  <a:lumOff val="40000"/>
                  <a:shade val="95000"/>
                </a:schemeClr>
              </a:solidFill>
              <a:round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  <a:sp3d contourW="9525">
              <a:contourClr>
                <a:schemeClr val="accent3">
                  <a:lumMod val="60000"/>
                  <a:lumOff val="40000"/>
                  <a:shade val="95000"/>
                </a:schemeClr>
              </a:contourClr>
            </a:sp3d>
          </c:spPr>
          <c:cat>
            <c:numRef>
              <c:f>Sheet1!$B$1:$BH$1</c:f>
              <c:numCache>
                <c:formatCode>General</c:formatCode>
                <c:ptCount val="59"/>
                <c:pt idx="0">
                  <c:v>40</c:v>
                </c:pt>
                <c:pt idx="1">
                  <c:v>42.5</c:v>
                </c:pt>
                <c:pt idx="2">
                  <c:v>45</c:v>
                </c:pt>
                <c:pt idx="3">
                  <c:v>47.5</c:v>
                </c:pt>
                <c:pt idx="4">
                  <c:v>50</c:v>
                </c:pt>
                <c:pt idx="5">
                  <c:v>52.5</c:v>
                </c:pt>
                <c:pt idx="6">
                  <c:v>55</c:v>
                </c:pt>
                <c:pt idx="7">
                  <c:v>57.5</c:v>
                </c:pt>
                <c:pt idx="8">
                  <c:v>60</c:v>
                </c:pt>
                <c:pt idx="9">
                  <c:v>62.5</c:v>
                </c:pt>
                <c:pt idx="10">
                  <c:v>65</c:v>
                </c:pt>
                <c:pt idx="11">
                  <c:v>67.5</c:v>
                </c:pt>
                <c:pt idx="12">
                  <c:v>70</c:v>
                </c:pt>
                <c:pt idx="13">
                  <c:v>72.5</c:v>
                </c:pt>
                <c:pt idx="14">
                  <c:v>75</c:v>
                </c:pt>
                <c:pt idx="15">
                  <c:v>77.5</c:v>
                </c:pt>
                <c:pt idx="16">
                  <c:v>80</c:v>
                </c:pt>
                <c:pt idx="17">
                  <c:v>82.5</c:v>
                </c:pt>
                <c:pt idx="18">
                  <c:v>85</c:v>
                </c:pt>
                <c:pt idx="19">
                  <c:v>87.5</c:v>
                </c:pt>
                <c:pt idx="20">
                  <c:v>90</c:v>
                </c:pt>
                <c:pt idx="21">
                  <c:v>92.5</c:v>
                </c:pt>
                <c:pt idx="22">
                  <c:v>95</c:v>
                </c:pt>
                <c:pt idx="23">
                  <c:v>97.5</c:v>
                </c:pt>
                <c:pt idx="24">
                  <c:v>100</c:v>
                </c:pt>
                <c:pt idx="25">
                  <c:v>102.5</c:v>
                </c:pt>
                <c:pt idx="26">
                  <c:v>105</c:v>
                </c:pt>
                <c:pt idx="27">
                  <c:v>107.5</c:v>
                </c:pt>
                <c:pt idx="28">
                  <c:v>110</c:v>
                </c:pt>
                <c:pt idx="29">
                  <c:v>112.5</c:v>
                </c:pt>
                <c:pt idx="30">
                  <c:v>115</c:v>
                </c:pt>
                <c:pt idx="31">
                  <c:v>117.5</c:v>
                </c:pt>
                <c:pt idx="32">
                  <c:v>120</c:v>
                </c:pt>
                <c:pt idx="33">
                  <c:v>122.5</c:v>
                </c:pt>
                <c:pt idx="34">
                  <c:v>125</c:v>
                </c:pt>
                <c:pt idx="35">
                  <c:v>127.5</c:v>
                </c:pt>
                <c:pt idx="36">
                  <c:v>130</c:v>
                </c:pt>
                <c:pt idx="37">
                  <c:v>132.5</c:v>
                </c:pt>
                <c:pt idx="38">
                  <c:v>135</c:v>
                </c:pt>
                <c:pt idx="39">
                  <c:v>137.5</c:v>
                </c:pt>
                <c:pt idx="40">
                  <c:v>140</c:v>
                </c:pt>
                <c:pt idx="41">
                  <c:v>142.5</c:v>
                </c:pt>
                <c:pt idx="42">
                  <c:v>145</c:v>
                </c:pt>
                <c:pt idx="43">
                  <c:v>147.5</c:v>
                </c:pt>
                <c:pt idx="44">
                  <c:v>150</c:v>
                </c:pt>
                <c:pt idx="45">
                  <c:v>152.5</c:v>
                </c:pt>
                <c:pt idx="46">
                  <c:v>155</c:v>
                </c:pt>
                <c:pt idx="47">
                  <c:v>157.5</c:v>
                </c:pt>
                <c:pt idx="48">
                  <c:v>160</c:v>
                </c:pt>
                <c:pt idx="49">
                  <c:v>162.5</c:v>
                </c:pt>
                <c:pt idx="50">
                  <c:v>165</c:v>
                </c:pt>
                <c:pt idx="51">
                  <c:v>167.5</c:v>
                </c:pt>
                <c:pt idx="52">
                  <c:v>170</c:v>
                </c:pt>
                <c:pt idx="53">
                  <c:v>172.5</c:v>
                </c:pt>
                <c:pt idx="54">
                  <c:v>175</c:v>
                </c:pt>
                <c:pt idx="55">
                  <c:v>177.5</c:v>
                </c:pt>
                <c:pt idx="56">
                  <c:v>180</c:v>
                </c:pt>
                <c:pt idx="57">
                  <c:v>182.5</c:v>
                </c:pt>
                <c:pt idx="58">
                  <c:v>1000</c:v>
                </c:pt>
              </c:numCache>
            </c:numRef>
          </c:cat>
          <c:val>
            <c:numRef>
              <c:f>Sheet1!$B$28:$BH$28</c:f>
              <c:numCache>
                <c:formatCode>General</c:formatCode>
                <c:ptCount val="59"/>
                <c:pt idx="0">
                  <c:v>0.26281812225247331</c:v>
                </c:pt>
                <c:pt idx="1">
                  <c:v>0.25905206479289322</c:v>
                </c:pt>
                <c:pt idx="2">
                  <c:v>0.25547635893950238</c:v>
                </c:pt>
                <c:pt idx="3">
                  <c:v>0.25209127450381502</c:v>
                </c:pt>
                <c:pt idx="4">
                  <c:v>0.25584660786193281</c:v>
                </c:pt>
                <c:pt idx="5">
                  <c:v>0.2620454222532545</c:v>
                </c:pt>
                <c:pt idx="6">
                  <c:v>0.26004879750225179</c:v>
                </c:pt>
                <c:pt idx="7">
                  <c:v>0.25712852821822912</c:v>
                </c:pt>
                <c:pt idx="8">
                  <c:v>0.25565404806110659</c:v>
                </c:pt>
                <c:pt idx="9">
                  <c:v>0.26257820065951082</c:v>
                </c:pt>
                <c:pt idx="10">
                  <c:v>0.2599558668896777</c:v>
                </c:pt>
                <c:pt idx="11">
                  <c:v>0.25678639216228311</c:v>
                </c:pt>
                <c:pt idx="12">
                  <c:v>0.2449105529738588</c:v>
                </c:pt>
                <c:pt idx="13">
                  <c:v>0.22897549424564859</c:v>
                </c:pt>
                <c:pt idx="14">
                  <c:v>0.22581580878757651</c:v>
                </c:pt>
                <c:pt idx="15">
                  <c:v>0.2226936080958776</c:v>
                </c:pt>
                <c:pt idx="16">
                  <c:v>0.22631635158562061</c:v>
                </c:pt>
                <c:pt idx="17">
                  <c:v>0.2356437169533552</c:v>
                </c:pt>
                <c:pt idx="18">
                  <c:v>0.23374422902722469</c:v>
                </c:pt>
                <c:pt idx="19">
                  <c:v>0.22929593357374611</c:v>
                </c:pt>
                <c:pt idx="20">
                  <c:v>0.21596657623729279</c:v>
                </c:pt>
                <c:pt idx="21">
                  <c:v>0.20237851479959129</c:v>
                </c:pt>
                <c:pt idx="22">
                  <c:v>0.20399868042305891</c:v>
                </c:pt>
                <c:pt idx="23">
                  <c:v>0.2291608396117949</c:v>
                </c:pt>
                <c:pt idx="24">
                  <c:v>0.2040619646786648</c:v>
                </c:pt>
                <c:pt idx="25">
                  <c:v>0.1759411315211136</c:v>
                </c:pt>
                <c:pt idx="26">
                  <c:v>0.17692873055345579</c:v>
                </c:pt>
                <c:pt idx="27">
                  <c:v>0.21514298067639209</c:v>
                </c:pt>
                <c:pt idx="28">
                  <c:v>0.24984827338889801</c:v>
                </c:pt>
                <c:pt idx="29">
                  <c:v>0.22621917795578519</c:v>
                </c:pt>
                <c:pt idx="30">
                  <c:v>0.15333156134776121</c:v>
                </c:pt>
                <c:pt idx="31">
                  <c:v>0.13426313765158049</c:v>
                </c:pt>
                <c:pt idx="32">
                  <c:v>0.1744974467322723</c:v>
                </c:pt>
                <c:pt idx="33">
                  <c:v>0.20386673894456281</c:v>
                </c:pt>
                <c:pt idx="34">
                  <c:v>0.19490886814128219</c:v>
                </c:pt>
                <c:pt idx="35">
                  <c:v>0.16664848083576031</c:v>
                </c:pt>
                <c:pt idx="36">
                  <c:v>0.15288230653301321</c:v>
                </c:pt>
                <c:pt idx="37">
                  <c:v>0.1498015788785528</c:v>
                </c:pt>
                <c:pt idx="38">
                  <c:v>0.14784338551121609</c:v>
                </c:pt>
                <c:pt idx="39">
                  <c:v>0.14351889916883701</c:v>
                </c:pt>
                <c:pt idx="40">
                  <c:v>0.14770672135135701</c:v>
                </c:pt>
                <c:pt idx="41">
                  <c:v>0.1479572807452382</c:v>
                </c:pt>
                <c:pt idx="42">
                  <c:v>0.15060125473129959</c:v>
                </c:pt>
                <c:pt idx="43">
                  <c:v>0.16094897888740919</c:v>
                </c:pt>
                <c:pt idx="44">
                  <c:v>0.15456598274824529</c:v>
                </c:pt>
                <c:pt idx="45">
                  <c:v>0.15276496828414149</c:v>
                </c:pt>
                <c:pt idx="46">
                  <c:v>0.14825564137939859</c:v>
                </c:pt>
                <c:pt idx="47">
                  <c:v>0.14339709480321949</c:v>
                </c:pt>
                <c:pt idx="48">
                  <c:v>0.14855291677494001</c:v>
                </c:pt>
                <c:pt idx="49">
                  <c:v>0.1477863635708023</c:v>
                </c:pt>
                <c:pt idx="50">
                  <c:v>0.14967836030489221</c:v>
                </c:pt>
                <c:pt idx="51">
                  <c:v>0.15234373081072269</c:v>
                </c:pt>
                <c:pt idx="52">
                  <c:v>0.1532779175361231</c:v>
                </c:pt>
                <c:pt idx="53">
                  <c:v>0.1511518305576387</c:v>
                </c:pt>
                <c:pt idx="54">
                  <c:v>0.14890483716624839</c:v>
                </c:pt>
                <c:pt idx="55">
                  <c:v>0.14670932389710631</c:v>
                </c:pt>
                <c:pt idx="56">
                  <c:v>5.6592724677563648E-2</c:v>
                </c:pt>
                <c:pt idx="57">
                  <c:v>0.1579595357051298</c:v>
                </c:pt>
                <c:pt idx="58">
                  <c:v>0.2530791260076454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A-DBE2-48CC-8485-F6B125FAE53C}"/>
            </c:ext>
          </c:extLst>
        </c:ser>
        <c:ser>
          <c:idx val="27"/>
          <c:order val="27"/>
          <c:tx>
            <c:strRef>
              <c:f>Sheet1!$A$29</c:f>
              <c:strCache>
                <c:ptCount val="1"/>
                <c:pt idx="0">
                  <c:v>6.25</c:v>
                </c:pt>
              </c:strCache>
            </c:strRef>
          </c:tx>
          <c:spPr>
            <a:gradFill rotWithShape="1">
              <a:gsLst>
                <a:gs pos="0">
                  <a:schemeClr val="accent4">
                    <a:lumMod val="60000"/>
                    <a:lumOff val="40000"/>
                    <a:tint val="50000"/>
                    <a:satMod val="300000"/>
                  </a:schemeClr>
                </a:gs>
                <a:gs pos="35000">
                  <a:schemeClr val="accent4">
                    <a:lumMod val="60000"/>
                    <a:lumOff val="40000"/>
                    <a:tint val="37000"/>
                    <a:satMod val="300000"/>
                  </a:schemeClr>
                </a:gs>
                <a:gs pos="100000">
                  <a:schemeClr val="accent4">
                    <a:lumMod val="60000"/>
                    <a:lumOff val="40000"/>
                    <a:tint val="15000"/>
                    <a:satMod val="350000"/>
                  </a:schemeClr>
                </a:gs>
              </a:gsLst>
              <a:lin ang="16200000" scaled="1"/>
            </a:gradFill>
            <a:ln w="9525" cap="flat" cmpd="sng" algn="ctr">
              <a:solidFill>
                <a:schemeClr val="accent4">
                  <a:lumMod val="60000"/>
                  <a:lumOff val="40000"/>
                  <a:shade val="95000"/>
                </a:schemeClr>
              </a:solidFill>
              <a:round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  <a:sp3d contourW="9525">
              <a:contourClr>
                <a:schemeClr val="accent4">
                  <a:lumMod val="60000"/>
                  <a:lumOff val="40000"/>
                  <a:shade val="95000"/>
                </a:schemeClr>
              </a:contourClr>
            </a:sp3d>
          </c:spPr>
          <c:cat>
            <c:numRef>
              <c:f>Sheet1!$B$1:$BH$1</c:f>
              <c:numCache>
                <c:formatCode>General</c:formatCode>
                <c:ptCount val="59"/>
                <c:pt idx="0">
                  <c:v>40</c:v>
                </c:pt>
                <c:pt idx="1">
                  <c:v>42.5</c:v>
                </c:pt>
                <c:pt idx="2">
                  <c:v>45</c:v>
                </c:pt>
                <c:pt idx="3">
                  <c:v>47.5</c:v>
                </c:pt>
                <c:pt idx="4">
                  <c:v>50</c:v>
                </c:pt>
                <c:pt idx="5">
                  <c:v>52.5</c:v>
                </c:pt>
                <c:pt idx="6">
                  <c:v>55</c:v>
                </c:pt>
                <c:pt idx="7">
                  <c:v>57.5</c:v>
                </c:pt>
                <c:pt idx="8">
                  <c:v>60</c:v>
                </c:pt>
                <c:pt idx="9">
                  <c:v>62.5</c:v>
                </c:pt>
                <c:pt idx="10">
                  <c:v>65</c:v>
                </c:pt>
                <c:pt idx="11">
                  <c:v>67.5</c:v>
                </c:pt>
                <c:pt idx="12">
                  <c:v>70</c:v>
                </c:pt>
                <c:pt idx="13">
                  <c:v>72.5</c:v>
                </c:pt>
                <c:pt idx="14">
                  <c:v>75</c:v>
                </c:pt>
                <c:pt idx="15">
                  <c:v>77.5</c:v>
                </c:pt>
                <c:pt idx="16">
                  <c:v>80</c:v>
                </c:pt>
                <c:pt idx="17">
                  <c:v>82.5</c:v>
                </c:pt>
                <c:pt idx="18">
                  <c:v>85</c:v>
                </c:pt>
                <c:pt idx="19">
                  <c:v>87.5</c:v>
                </c:pt>
                <c:pt idx="20">
                  <c:v>90</c:v>
                </c:pt>
                <c:pt idx="21">
                  <c:v>92.5</c:v>
                </c:pt>
                <c:pt idx="22">
                  <c:v>95</c:v>
                </c:pt>
                <c:pt idx="23">
                  <c:v>97.5</c:v>
                </c:pt>
                <c:pt idx="24">
                  <c:v>100</c:v>
                </c:pt>
                <c:pt idx="25">
                  <c:v>102.5</c:v>
                </c:pt>
                <c:pt idx="26">
                  <c:v>105</c:v>
                </c:pt>
                <c:pt idx="27">
                  <c:v>107.5</c:v>
                </c:pt>
                <c:pt idx="28">
                  <c:v>110</c:v>
                </c:pt>
                <c:pt idx="29">
                  <c:v>112.5</c:v>
                </c:pt>
                <c:pt idx="30">
                  <c:v>115</c:v>
                </c:pt>
                <c:pt idx="31">
                  <c:v>117.5</c:v>
                </c:pt>
                <c:pt idx="32">
                  <c:v>120</c:v>
                </c:pt>
                <c:pt idx="33">
                  <c:v>122.5</c:v>
                </c:pt>
                <c:pt idx="34">
                  <c:v>125</c:v>
                </c:pt>
                <c:pt idx="35">
                  <c:v>127.5</c:v>
                </c:pt>
                <c:pt idx="36">
                  <c:v>130</c:v>
                </c:pt>
                <c:pt idx="37">
                  <c:v>132.5</c:v>
                </c:pt>
                <c:pt idx="38">
                  <c:v>135</c:v>
                </c:pt>
                <c:pt idx="39">
                  <c:v>137.5</c:v>
                </c:pt>
                <c:pt idx="40">
                  <c:v>140</c:v>
                </c:pt>
                <c:pt idx="41">
                  <c:v>142.5</c:v>
                </c:pt>
                <c:pt idx="42">
                  <c:v>145</c:v>
                </c:pt>
                <c:pt idx="43">
                  <c:v>147.5</c:v>
                </c:pt>
                <c:pt idx="44">
                  <c:v>150</c:v>
                </c:pt>
                <c:pt idx="45">
                  <c:v>152.5</c:v>
                </c:pt>
                <c:pt idx="46">
                  <c:v>155</c:v>
                </c:pt>
                <c:pt idx="47">
                  <c:v>157.5</c:v>
                </c:pt>
                <c:pt idx="48">
                  <c:v>160</c:v>
                </c:pt>
                <c:pt idx="49">
                  <c:v>162.5</c:v>
                </c:pt>
                <c:pt idx="50">
                  <c:v>165</c:v>
                </c:pt>
                <c:pt idx="51">
                  <c:v>167.5</c:v>
                </c:pt>
                <c:pt idx="52">
                  <c:v>170</c:v>
                </c:pt>
                <c:pt idx="53">
                  <c:v>172.5</c:v>
                </c:pt>
                <c:pt idx="54">
                  <c:v>175</c:v>
                </c:pt>
                <c:pt idx="55">
                  <c:v>177.5</c:v>
                </c:pt>
                <c:pt idx="56">
                  <c:v>180</c:v>
                </c:pt>
                <c:pt idx="57">
                  <c:v>182.5</c:v>
                </c:pt>
                <c:pt idx="58">
                  <c:v>1000</c:v>
                </c:pt>
              </c:numCache>
            </c:numRef>
          </c:cat>
          <c:val>
            <c:numRef>
              <c:f>Sheet1!$B$29:$BH$29</c:f>
              <c:numCache>
                <c:formatCode>General</c:formatCode>
                <c:ptCount val="59"/>
                <c:pt idx="0">
                  <c:v>0.26068450156361922</c:v>
                </c:pt>
                <c:pt idx="1">
                  <c:v>0.25700600054524769</c:v>
                </c:pt>
                <c:pt idx="2">
                  <c:v>0.25352266214648311</c:v>
                </c:pt>
                <c:pt idx="3">
                  <c:v>0.25023460836067812</c:v>
                </c:pt>
                <c:pt idx="4">
                  <c:v>0.25544128589445519</c:v>
                </c:pt>
                <c:pt idx="5">
                  <c:v>0.26285815100701992</c:v>
                </c:pt>
                <c:pt idx="6">
                  <c:v>0.26104914249924949</c:v>
                </c:pt>
                <c:pt idx="7">
                  <c:v>0.25833086707381459</c:v>
                </c:pt>
                <c:pt idx="8">
                  <c:v>0.25561482660367879</c:v>
                </c:pt>
                <c:pt idx="9">
                  <c:v>0.25929566985712471</c:v>
                </c:pt>
                <c:pt idx="10">
                  <c:v>0.25636335101769719</c:v>
                </c:pt>
                <c:pt idx="11">
                  <c:v>0.25306654976555881</c:v>
                </c:pt>
                <c:pt idx="12">
                  <c:v>0.24257078110401961</c:v>
                </c:pt>
                <c:pt idx="13">
                  <c:v>0.22978518452429611</c:v>
                </c:pt>
                <c:pt idx="14">
                  <c:v>0.22683950163626329</c:v>
                </c:pt>
                <c:pt idx="15">
                  <c:v>0.22380629025130899</c:v>
                </c:pt>
                <c:pt idx="16">
                  <c:v>0.22557694236220999</c:v>
                </c:pt>
                <c:pt idx="17">
                  <c:v>0.2314477604351371</c:v>
                </c:pt>
                <c:pt idx="18">
                  <c:v>0.22977368439133389</c:v>
                </c:pt>
                <c:pt idx="19">
                  <c:v>0.22828186806391251</c:v>
                </c:pt>
                <c:pt idx="20">
                  <c:v>0.21658136981821241</c:v>
                </c:pt>
                <c:pt idx="21">
                  <c:v>0.20207491369413341</c:v>
                </c:pt>
                <c:pt idx="22">
                  <c:v>0.20691703905792799</c:v>
                </c:pt>
                <c:pt idx="23">
                  <c:v>0.24060847941679059</c:v>
                </c:pt>
                <c:pt idx="24">
                  <c:v>0.20571123342533809</c:v>
                </c:pt>
                <c:pt idx="25">
                  <c:v>0.1695704760339069</c:v>
                </c:pt>
                <c:pt idx="26">
                  <c:v>0.16919088377963151</c:v>
                </c:pt>
                <c:pt idx="27">
                  <c:v>0.21445580694882341</c:v>
                </c:pt>
                <c:pt idx="28">
                  <c:v>0.28640648660901291</c:v>
                </c:pt>
                <c:pt idx="29">
                  <c:v>0.25720211892472172</c:v>
                </c:pt>
                <c:pt idx="30">
                  <c:v>0.15132528097081491</c:v>
                </c:pt>
                <c:pt idx="31">
                  <c:v>0.12781222226454861</c:v>
                </c:pt>
                <c:pt idx="32">
                  <c:v>0.1729462625776943</c:v>
                </c:pt>
                <c:pt idx="33">
                  <c:v>0.21663219721391169</c:v>
                </c:pt>
                <c:pt idx="34">
                  <c:v>0.20589338654211531</c:v>
                </c:pt>
                <c:pt idx="35">
                  <c:v>0.16818509049818661</c:v>
                </c:pt>
                <c:pt idx="36">
                  <c:v>0.15439498670417709</c:v>
                </c:pt>
                <c:pt idx="37">
                  <c:v>0.15159507257735139</c:v>
                </c:pt>
                <c:pt idx="38">
                  <c:v>0.14928665357536411</c:v>
                </c:pt>
                <c:pt idx="39">
                  <c:v>0.1435905352131838</c:v>
                </c:pt>
                <c:pt idx="40">
                  <c:v>0.1460416991309933</c:v>
                </c:pt>
                <c:pt idx="41">
                  <c:v>0.14596559042607171</c:v>
                </c:pt>
                <c:pt idx="42">
                  <c:v>0.14938396922656491</c:v>
                </c:pt>
                <c:pt idx="43">
                  <c:v>0.16316192664480261</c:v>
                </c:pt>
                <c:pt idx="44">
                  <c:v>0.15803911082124689</c:v>
                </c:pt>
                <c:pt idx="45">
                  <c:v>0.15597168878729251</c:v>
                </c:pt>
                <c:pt idx="46">
                  <c:v>0.1499582514382258</c:v>
                </c:pt>
                <c:pt idx="47">
                  <c:v>0.14290824496663129</c:v>
                </c:pt>
                <c:pt idx="48">
                  <c:v>0.1461526791352068</c:v>
                </c:pt>
                <c:pt idx="49">
                  <c:v>0.14515125270107199</c:v>
                </c:pt>
                <c:pt idx="50">
                  <c:v>0.14760697283546689</c:v>
                </c:pt>
                <c:pt idx="51">
                  <c:v>0.1505208340700698</c:v>
                </c:pt>
                <c:pt idx="52">
                  <c:v>0.15051844031991149</c:v>
                </c:pt>
                <c:pt idx="53">
                  <c:v>0.14833354643816579</c:v>
                </c:pt>
                <c:pt idx="54">
                  <c:v>0.1460803991527562</c:v>
                </c:pt>
                <c:pt idx="55">
                  <c:v>0.14388091645279841</c:v>
                </c:pt>
                <c:pt idx="56">
                  <c:v>6.2313961322529601E-2</c:v>
                </c:pt>
                <c:pt idx="57">
                  <c:v>0.15740504771112171</c:v>
                </c:pt>
                <c:pt idx="58">
                  <c:v>0.2829056021479843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B-DBE2-48CC-8485-F6B125FAE53C}"/>
            </c:ext>
          </c:extLst>
        </c:ser>
        <c:ser>
          <c:idx val="28"/>
          <c:order val="28"/>
          <c:tx>
            <c:strRef>
              <c:f>Sheet1!$A$30</c:f>
              <c:strCache>
                <c:ptCount val="1"/>
                <c:pt idx="0">
                  <c:v>6.5</c:v>
                </c:pt>
              </c:strCache>
            </c:strRef>
          </c:tx>
          <c:spPr>
            <a:gradFill rotWithShape="1">
              <a:gsLst>
                <a:gs pos="0">
                  <a:schemeClr val="accent5">
                    <a:lumMod val="60000"/>
                    <a:lumOff val="40000"/>
                    <a:tint val="50000"/>
                    <a:satMod val="300000"/>
                  </a:schemeClr>
                </a:gs>
                <a:gs pos="35000">
                  <a:schemeClr val="accent5">
                    <a:lumMod val="60000"/>
                    <a:lumOff val="40000"/>
                    <a:tint val="37000"/>
                    <a:satMod val="300000"/>
                  </a:schemeClr>
                </a:gs>
                <a:gs pos="100000">
                  <a:schemeClr val="accent5">
                    <a:lumMod val="60000"/>
                    <a:lumOff val="40000"/>
                    <a:tint val="15000"/>
                    <a:satMod val="350000"/>
                  </a:schemeClr>
                </a:gs>
              </a:gsLst>
              <a:lin ang="16200000" scaled="1"/>
            </a:gradFill>
            <a:ln w="9525" cap="flat" cmpd="sng" algn="ctr">
              <a:solidFill>
                <a:schemeClr val="accent5">
                  <a:lumMod val="60000"/>
                  <a:lumOff val="40000"/>
                  <a:shade val="95000"/>
                </a:schemeClr>
              </a:solidFill>
              <a:round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  <a:sp3d contourW="9525">
              <a:contourClr>
                <a:schemeClr val="accent5">
                  <a:lumMod val="60000"/>
                  <a:lumOff val="40000"/>
                  <a:shade val="95000"/>
                </a:schemeClr>
              </a:contourClr>
            </a:sp3d>
          </c:spPr>
          <c:cat>
            <c:numRef>
              <c:f>Sheet1!$B$1:$BH$1</c:f>
              <c:numCache>
                <c:formatCode>General</c:formatCode>
                <c:ptCount val="59"/>
                <c:pt idx="0">
                  <c:v>40</c:v>
                </c:pt>
                <c:pt idx="1">
                  <c:v>42.5</c:v>
                </c:pt>
                <c:pt idx="2">
                  <c:v>45</c:v>
                </c:pt>
                <c:pt idx="3">
                  <c:v>47.5</c:v>
                </c:pt>
                <c:pt idx="4">
                  <c:v>50</c:v>
                </c:pt>
                <c:pt idx="5">
                  <c:v>52.5</c:v>
                </c:pt>
                <c:pt idx="6">
                  <c:v>55</c:v>
                </c:pt>
                <c:pt idx="7">
                  <c:v>57.5</c:v>
                </c:pt>
                <c:pt idx="8">
                  <c:v>60</c:v>
                </c:pt>
                <c:pt idx="9">
                  <c:v>62.5</c:v>
                </c:pt>
                <c:pt idx="10">
                  <c:v>65</c:v>
                </c:pt>
                <c:pt idx="11">
                  <c:v>67.5</c:v>
                </c:pt>
                <c:pt idx="12">
                  <c:v>70</c:v>
                </c:pt>
                <c:pt idx="13">
                  <c:v>72.5</c:v>
                </c:pt>
                <c:pt idx="14">
                  <c:v>75</c:v>
                </c:pt>
                <c:pt idx="15">
                  <c:v>77.5</c:v>
                </c:pt>
                <c:pt idx="16">
                  <c:v>80</c:v>
                </c:pt>
                <c:pt idx="17">
                  <c:v>82.5</c:v>
                </c:pt>
                <c:pt idx="18">
                  <c:v>85</c:v>
                </c:pt>
                <c:pt idx="19">
                  <c:v>87.5</c:v>
                </c:pt>
                <c:pt idx="20">
                  <c:v>90</c:v>
                </c:pt>
                <c:pt idx="21">
                  <c:v>92.5</c:v>
                </c:pt>
                <c:pt idx="22">
                  <c:v>95</c:v>
                </c:pt>
                <c:pt idx="23">
                  <c:v>97.5</c:v>
                </c:pt>
                <c:pt idx="24">
                  <c:v>100</c:v>
                </c:pt>
                <c:pt idx="25">
                  <c:v>102.5</c:v>
                </c:pt>
                <c:pt idx="26">
                  <c:v>105</c:v>
                </c:pt>
                <c:pt idx="27">
                  <c:v>107.5</c:v>
                </c:pt>
                <c:pt idx="28">
                  <c:v>110</c:v>
                </c:pt>
                <c:pt idx="29">
                  <c:v>112.5</c:v>
                </c:pt>
                <c:pt idx="30">
                  <c:v>115</c:v>
                </c:pt>
                <c:pt idx="31">
                  <c:v>117.5</c:v>
                </c:pt>
                <c:pt idx="32">
                  <c:v>120</c:v>
                </c:pt>
                <c:pt idx="33">
                  <c:v>122.5</c:v>
                </c:pt>
                <c:pt idx="34">
                  <c:v>125</c:v>
                </c:pt>
                <c:pt idx="35">
                  <c:v>127.5</c:v>
                </c:pt>
                <c:pt idx="36">
                  <c:v>130</c:v>
                </c:pt>
                <c:pt idx="37">
                  <c:v>132.5</c:v>
                </c:pt>
                <c:pt idx="38">
                  <c:v>135</c:v>
                </c:pt>
                <c:pt idx="39">
                  <c:v>137.5</c:v>
                </c:pt>
                <c:pt idx="40">
                  <c:v>140</c:v>
                </c:pt>
                <c:pt idx="41">
                  <c:v>142.5</c:v>
                </c:pt>
                <c:pt idx="42">
                  <c:v>145</c:v>
                </c:pt>
                <c:pt idx="43">
                  <c:v>147.5</c:v>
                </c:pt>
                <c:pt idx="44">
                  <c:v>150</c:v>
                </c:pt>
                <c:pt idx="45">
                  <c:v>152.5</c:v>
                </c:pt>
                <c:pt idx="46">
                  <c:v>155</c:v>
                </c:pt>
                <c:pt idx="47">
                  <c:v>157.5</c:v>
                </c:pt>
                <c:pt idx="48">
                  <c:v>160</c:v>
                </c:pt>
                <c:pt idx="49">
                  <c:v>162.5</c:v>
                </c:pt>
                <c:pt idx="50">
                  <c:v>165</c:v>
                </c:pt>
                <c:pt idx="51">
                  <c:v>167.5</c:v>
                </c:pt>
                <c:pt idx="52">
                  <c:v>170</c:v>
                </c:pt>
                <c:pt idx="53">
                  <c:v>172.5</c:v>
                </c:pt>
                <c:pt idx="54">
                  <c:v>175</c:v>
                </c:pt>
                <c:pt idx="55">
                  <c:v>177.5</c:v>
                </c:pt>
                <c:pt idx="56">
                  <c:v>180</c:v>
                </c:pt>
                <c:pt idx="57">
                  <c:v>182.5</c:v>
                </c:pt>
                <c:pt idx="58">
                  <c:v>1000</c:v>
                </c:pt>
              </c:numCache>
            </c:numRef>
          </c:cat>
          <c:val>
            <c:numRef>
              <c:f>Sheet1!$B$30:$BH$30</c:f>
              <c:numCache>
                <c:formatCode>General</c:formatCode>
                <c:ptCount val="59"/>
                <c:pt idx="0">
                  <c:v>0.25867358916124439</c:v>
                </c:pt>
                <c:pt idx="1">
                  <c:v>0.2550811285471003</c:v>
                </c:pt>
                <c:pt idx="2">
                  <c:v>0.25168785568175778</c:v>
                </c:pt>
                <c:pt idx="3">
                  <c:v>0.24849380359307671</c:v>
                </c:pt>
                <c:pt idx="4">
                  <c:v>0.25512267312823178</c:v>
                </c:pt>
                <c:pt idx="5">
                  <c:v>0.26376633984843062</c:v>
                </c:pt>
                <c:pt idx="6">
                  <c:v>0.26213603592315032</c:v>
                </c:pt>
                <c:pt idx="7">
                  <c:v>0.25961191540695239</c:v>
                </c:pt>
                <c:pt idx="8">
                  <c:v>0.2556237997699794</c:v>
                </c:pt>
                <c:pt idx="9">
                  <c:v>0.25617810685575459</c:v>
                </c:pt>
                <c:pt idx="10">
                  <c:v>0.25297039296539992</c:v>
                </c:pt>
                <c:pt idx="11">
                  <c:v>0.24956816444547189</c:v>
                </c:pt>
                <c:pt idx="12">
                  <c:v>0.2403652821706514</c:v>
                </c:pt>
                <c:pt idx="13">
                  <c:v>0.23066897250674409</c:v>
                </c:pt>
                <c:pt idx="14">
                  <c:v>0.22793188491979041</c:v>
                </c:pt>
                <c:pt idx="15">
                  <c:v>0.22497970412242321</c:v>
                </c:pt>
                <c:pt idx="16">
                  <c:v>0.22488011055407811</c:v>
                </c:pt>
                <c:pt idx="17">
                  <c:v>0.22750343858373259</c:v>
                </c:pt>
                <c:pt idx="18">
                  <c:v>0.22604187317817859</c:v>
                </c:pt>
                <c:pt idx="19">
                  <c:v>0.2273325167660708</c:v>
                </c:pt>
                <c:pt idx="20">
                  <c:v>0.2172445996776465</c:v>
                </c:pt>
                <c:pt idx="21">
                  <c:v>0.20180118388266699</c:v>
                </c:pt>
                <c:pt idx="22">
                  <c:v>0.20999039754612431</c:v>
                </c:pt>
                <c:pt idx="23">
                  <c:v>0.2539872244135008</c:v>
                </c:pt>
                <c:pt idx="24">
                  <c:v>0.20740197552830189</c:v>
                </c:pt>
                <c:pt idx="25">
                  <c:v>0.16384343609906091</c:v>
                </c:pt>
                <c:pt idx="26">
                  <c:v>0.1623831890721012</c:v>
                </c:pt>
                <c:pt idx="27">
                  <c:v>0.2137654802046301</c:v>
                </c:pt>
                <c:pt idx="28">
                  <c:v>0.34570461391737273</c:v>
                </c:pt>
                <c:pt idx="29">
                  <c:v>0.30569432586201012</c:v>
                </c:pt>
                <c:pt idx="30">
                  <c:v>0.1493888879575215</c:v>
                </c:pt>
                <c:pt idx="31">
                  <c:v>0.1222037335386279</c:v>
                </c:pt>
                <c:pt idx="32">
                  <c:v>0.171383714431176</c:v>
                </c:pt>
                <c:pt idx="33">
                  <c:v>0.23197296088058469</c:v>
                </c:pt>
                <c:pt idx="34">
                  <c:v>0.21883643389720839</c:v>
                </c:pt>
                <c:pt idx="35">
                  <c:v>0.16971400917410509</c:v>
                </c:pt>
                <c:pt idx="36">
                  <c:v>0.15591427049388351</c:v>
                </c:pt>
                <c:pt idx="37">
                  <c:v>0.15342502380615389</c:v>
                </c:pt>
                <c:pt idx="38">
                  <c:v>0.15075952393278211</c:v>
                </c:pt>
                <c:pt idx="39">
                  <c:v>0.1436659962475694</c:v>
                </c:pt>
                <c:pt idx="40">
                  <c:v>0.14444634173226531</c:v>
                </c:pt>
                <c:pt idx="41">
                  <c:v>0.14406296227190779</c:v>
                </c:pt>
                <c:pt idx="42">
                  <c:v>0.14819900421097429</c:v>
                </c:pt>
                <c:pt idx="43">
                  <c:v>0.1654684336817725</c:v>
                </c:pt>
                <c:pt idx="44">
                  <c:v>0.161781355335233</c:v>
                </c:pt>
                <c:pt idx="45">
                  <c:v>0.1594591189109017</c:v>
                </c:pt>
                <c:pt idx="46">
                  <c:v>0.1518287009411127</c:v>
                </c:pt>
                <c:pt idx="47">
                  <c:v>0.14254989033991469</c:v>
                </c:pt>
                <c:pt idx="48">
                  <c:v>0.1440174180586892</c:v>
                </c:pt>
                <c:pt idx="49">
                  <c:v>0.1428057636544936</c:v>
                </c:pt>
                <c:pt idx="50">
                  <c:v>0.14578557477380219</c:v>
                </c:pt>
                <c:pt idx="51">
                  <c:v>0.1489486220518689</c:v>
                </c:pt>
                <c:pt idx="52">
                  <c:v>0.14809914098370969</c:v>
                </c:pt>
                <c:pt idx="53">
                  <c:v>0.1458601046147214</c:v>
                </c:pt>
                <c:pt idx="54">
                  <c:v>0.1435993857407166</c:v>
                </c:pt>
                <c:pt idx="55">
                  <c:v>0.1413941836089615</c:v>
                </c:pt>
                <c:pt idx="56">
                  <c:v>7.0238958247407765E-2</c:v>
                </c:pt>
                <c:pt idx="57">
                  <c:v>0.1568563583046477</c:v>
                </c:pt>
                <c:pt idx="58">
                  <c:v>0.3162419647403388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C-DBE2-48CC-8485-F6B125FAE53C}"/>
            </c:ext>
          </c:extLst>
        </c:ser>
        <c:ser>
          <c:idx val="29"/>
          <c:order val="29"/>
          <c:tx>
            <c:strRef>
              <c:f>Sheet1!$A$31</c:f>
              <c:strCache>
                <c:ptCount val="1"/>
                <c:pt idx="0">
                  <c:v>6.75</c:v>
                </c:pt>
              </c:strCache>
            </c:strRef>
          </c:tx>
          <c:spPr>
            <a:gradFill rotWithShape="1">
              <a:gsLst>
                <a:gs pos="0">
                  <a:schemeClr val="accent6">
                    <a:lumMod val="60000"/>
                    <a:lumOff val="40000"/>
                    <a:tint val="50000"/>
                    <a:satMod val="300000"/>
                  </a:schemeClr>
                </a:gs>
                <a:gs pos="35000">
                  <a:schemeClr val="accent6">
                    <a:lumMod val="60000"/>
                    <a:lumOff val="40000"/>
                    <a:tint val="37000"/>
                    <a:satMod val="300000"/>
                  </a:schemeClr>
                </a:gs>
                <a:gs pos="100000">
                  <a:schemeClr val="accent6">
                    <a:lumMod val="60000"/>
                    <a:lumOff val="40000"/>
                    <a:tint val="15000"/>
                    <a:satMod val="350000"/>
                  </a:schemeClr>
                </a:gs>
              </a:gsLst>
              <a:lin ang="16200000" scaled="1"/>
            </a:gradFill>
            <a:ln w="9525" cap="flat" cmpd="sng" algn="ctr">
              <a:solidFill>
                <a:schemeClr val="accent6">
                  <a:lumMod val="60000"/>
                  <a:lumOff val="40000"/>
                  <a:shade val="95000"/>
                </a:schemeClr>
              </a:solidFill>
              <a:round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  <a:sp3d contourW="9525">
              <a:contourClr>
                <a:schemeClr val="accent6">
                  <a:lumMod val="60000"/>
                  <a:lumOff val="40000"/>
                  <a:shade val="95000"/>
                </a:schemeClr>
              </a:contourClr>
            </a:sp3d>
          </c:spPr>
          <c:cat>
            <c:numRef>
              <c:f>Sheet1!$B$1:$BH$1</c:f>
              <c:numCache>
                <c:formatCode>General</c:formatCode>
                <c:ptCount val="59"/>
                <c:pt idx="0">
                  <c:v>40</c:v>
                </c:pt>
                <c:pt idx="1">
                  <c:v>42.5</c:v>
                </c:pt>
                <c:pt idx="2">
                  <c:v>45</c:v>
                </c:pt>
                <c:pt idx="3">
                  <c:v>47.5</c:v>
                </c:pt>
                <c:pt idx="4">
                  <c:v>50</c:v>
                </c:pt>
                <c:pt idx="5">
                  <c:v>52.5</c:v>
                </c:pt>
                <c:pt idx="6">
                  <c:v>55</c:v>
                </c:pt>
                <c:pt idx="7">
                  <c:v>57.5</c:v>
                </c:pt>
                <c:pt idx="8">
                  <c:v>60</c:v>
                </c:pt>
                <c:pt idx="9">
                  <c:v>62.5</c:v>
                </c:pt>
                <c:pt idx="10">
                  <c:v>65</c:v>
                </c:pt>
                <c:pt idx="11">
                  <c:v>67.5</c:v>
                </c:pt>
                <c:pt idx="12">
                  <c:v>70</c:v>
                </c:pt>
                <c:pt idx="13">
                  <c:v>72.5</c:v>
                </c:pt>
                <c:pt idx="14">
                  <c:v>75</c:v>
                </c:pt>
                <c:pt idx="15">
                  <c:v>77.5</c:v>
                </c:pt>
                <c:pt idx="16">
                  <c:v>80</c:v>
                </c:pt>
                <c:pt idx="17">
                  <c:v>82.5</c:v>
                </c:pt>
                <c:pt idx="18">
                  <c:v>85</c:v>
                </c:pt>
                <c:pt idx="19">
                  <c:v>87.5</c:v>
                </c:pt>
                <c:pt idx="20">
                  <c:v>90</c:v>
                </c:pt>
                <c:pt idx="21">
                  <c:v>92.5</c:v>
                </c:pt>
                <c:pt idx="22">
                  <c:v>95</c:v>
                </c:pt>
                <c:pt idx="23">
                  <c:v>97.5</c:v>
                </c:pt>
                <c:pt idx="24">
                  <c:v>100</c:v>
                </c:pt>
                <c:pt idx="25">
                  <c:v>102.5</c:v>
                </c:pt>
                <c:pt idx="26">
                  <c:v>105</c:v>
                </c:pt>
                <c:pt idx="27">
                  <c:v>107.5</c:v>
                </c:pt>
                <c:pt idx="28">
                  <c:v>110</c:v>
                </c:pt>
                <c:pt idx="29">
                  <c:v>112.5</c:v>
                </c:pt>
                <c:pt idx="30">
                  <c:v>115</c:v>
                </c:pt>
                <c:pt idx="31">
                  <c:v>117.5</c:v>
                </c:pt>
                <c:pt idx="32">
                  <c:v>120</c:v>
                </c:pt>
                <c:pt idx="33">
                  <c:v>122.5</c:v>
                </c:pt>
                <c:pt idx="34">
                  <c:v>125</c:v>
                </c:pt>
                <c:pt idx="35">
                  <c:v>127.5</c:v>
                </c:pt>
                <c:pt idx="36">
                  <c:v>130</c:v>
                </c:pt>
                <c:pt idx="37">
                  <c:v>132.5</c:v>
                </c:pt>
                <c:pt idx="38">
                  <c:v>135</c:v>
                </c:pt>
                <c:pt idx="39">
                  <c:v>137.5</c:v>
                </c:pt>
                <c:pt idx="40">
                  <c:v>140</c:v>
                </c:pt>
                <c:pt idx="41">
                  <c:v>142.5</c:v>
                </c:pt>
                <c:pt idx="42">
                  <c:v>145</c:v>
                </c:pt>
                <c:pt idx="43">
                  <c:v>147.5</c:v>
                </c:pt>
                <c:pt idx="44">
                  <c:v>150</c:v>
                </c:pt>
                <c:pt idx="45">
                  <c:v>152.5</c:v>
                </c:pt>
                <c:pt idx="46">
                  <c:v>155</c:v>
                </c:pt>
                <c:pt idx="47">
                  <c:v>157.5</c:v>
                </c:pt>
                <c:pt idx="48">
                  <c:v>160</c:v>
                </c:pt>
                <c:pt idx="49">
                  <c:v>162.5</c:v>
                </c:pt>
                <c:pt idx="50">
                  <c:v>165</c:v>
                </c:pt>
                <c:pt idx="51">
                  <c:v>167.5</c:v>
                </c:pt>
                <c:pt idx="52">
                  <c:v>170</c:v>
                </c:pt>
                <c:pt idx="53">
                  <c:v>172.5</c:v>
                </c:pt>
                <c:pt idx="54">
                  <c:v>175</c:v>
                </c:pt>
                <c:pt idx="55">
                  <c:v>177.5</c:v>
                </c:pt>
                <c:pt idx="56">
                  <c:v>180</c:v>
                </c:pt>
                <c:pt idx="57">
                  <c:v>182.5</c:v>
                </c:pt>
                <c:pt idx="58">
                  <c:v>1000</c:v>
                </c:pt>
              </c:numCache>
            </c:numRef>
          </c:cat>
          <c:val>
            <c:numRef>
              <c:f>Sheet1!$B$31:$BH$31</c:f>
              <c:numCache>
                <c:formatCode>General</c:formatCode>
                <c:ptCount val="59"/>
                <c:pt idx="0">
                  <c:v>0.25677511512796469</c:v>
                </c:pt>
                <c:pt idx="1">
                  <c:v>0.25326700879688208</c:v>
                </c:pt>
                <c:pt idx="2">
                  <c:v>0.24996142596507809</c:v>
                </c:pt>
                <c:pt idx="3">
                  <c:v>0.24685836741214881</c:v>
                </c:pt>
                <c:pt idx="4">
                  <c:v>0.25488445188447778</c:v>
                </c:pt>
                <c:pt idx="5">
                  <c:v>0.26476685810062822</c:v>
                </c:pt>
                <c:pt idx="6">
                  <c:v>0.26330709147327092</c:v>
                </c:pt>
                <c:pt idx="7">
                  <c:v>0.26097014859449053</c:v>
                </c:pt>
                <c:pt idx="8">
                  <c:v>0.25567720618427447</c:v>
                </c:pt>
                <c:pt idx="9">
                  <c:v>0.25321020087090179</c:v>
                </c:pt>
                <c:pt idx="10">
                  <c:v>0.24975698780501421</c:v>
                </c:pt>
                <c:pt idx="11">
                  <c:v>0.24626771419962151</c:v>
                </c:pt>
                <c:pt idx="12">
                  <c:v>0.23827998472784639</c:v>
                </c:pt>
                <c:pt idx="13">
                  <c:v>0.23162358856009629</c:v>
                </c:pt>
                <c:pt idx="14">
                  <c:v>0.22909071195896219</c:v>
                </c:pt>
                <c:pt idx="15">
                  <c:v>0.2262122490979048</c:v>
                </c:pt>
                <c:pt idx="16">
                  <c:v>0.2242214250235956</c:v>
                </c:pt>
                <c:pt idx="17">
                  <c:v>0.2237843698353946</c:v>
                </c:pt>
                <c:pt idx="18">
                  <c:v>0.2225231690042028</c:v>
                </c:pt>
                <c:pt idx="19">
                  <c:v>0.2264405480953513</c:v>
                </c:pt>
                <c:pt idx="20">
                  <c:v>0.21795299919637601</c:v>
                </c:pt>
                <c:pt idx="21">
                  <c:v>0.2015539185536592</c:v>
                </c:pt>
                <c:pt idx="22">
                  <c:v>0.2132291750945077</c:v>
                </c:pt>
                <c:pt idx="23">
                  <c:v>0.26990422549164128</c:v>
                </c:pt>
                <c:pt idx="24">
                  <c:v>0.2091358663734641</c:v>
                </c:pt>
                <c:pt idx="25">
                  <c:v>0.15865860698886691</c:v>
                </c:pt>
                <c:pt idx="26">
                  <c:v>0.15633334861728551</c:v>
                </c:pt>
                <c:pt idx="27">
                  <c:v>0.2130735753305657</c:v>
                </c:pt>
                <c:pt idx="28">
                  <c:v>0.46889509139731111</c:v>
                </c:pt>
                <c:pt idx="29">
                  <c:v>0.39862507252510809</c:v>
                </c:pt>
                <c:pt idx="30">
                  <c:v>0.14751926119697989</c:v>
                </c:pt>
                <c:pt idx="31">
                  <c:v>0.11726945034093331</c:v>
                </c:pt>
                <c:pt idx="32">
                  <c:v>0.16981919856167069</c:v>
                </c:pt>
                <c:pt idx="33">
                  <c:v>0.25093232285497519</c:v>
                </c:pt>
                <c:pt idx="34">
                  <c:v>0.23443065508833491</c:v>
                </c:pt>
                <c:pt idx="35">
                  <c:v>0.17124052874540399</c:v>
                </c:pt>
                <c:pt idx="36">
                  <c:v>0.15744477134733961</c:v>
                </c:pt>
                <c:pt idx="37">
                  <c:v>0.1552966853067963</c:v>
                </c:pt>
                <c:pt idx="38">
                  <c:v>0.15226495892523409</c:v>
                </c:pt>
                <c:pt idx="39">
                  <c:v>0.14374477795540511</c:v>
                </c:pt>
                <c:pt idx="40">
                  <c:v>0.14291429854846999</c:v>
                </c:pt>
                <c:pt idx="41">
                  <c:v>0.1422417201963336</c:v>
                </c:pt>
                <c:pt idx="42">
                  <c:v>0.14704453331474071</c:v>
                </c:pt>
                <c:pt idx="43">
                  <c:v>0.16787531848295389</c:v>
                </c:pt>
                <c:pt idx="44">
                  <c:v>0.16582484472829251</c:v>
                </c:pt>
                <c:pt idx="45">
                  <c:v>0.1632562319384484</c:v>
                </c:pt>
                <c:pt idx="46">
                  <c:v>0.1538684071944682</c:v>
                </c:pt>
                <c:pt idx="47">
                  <c:v>0.14230340411262879</c:v>
                </c:pt>
                <c:pt idx="48">
                  <c:v>0.1421017002318459</c:v>
                </c:pt>
                <c:pt idx="49">
                  <c:v>0.14069998834244521</c:v>
                </c:pt>
                <c:pt idx="50">
                  <c:v>0.14417240851322319</c:v>
                </c:pt>
                <c:pt idx="51">
                  <c:v>0.14758621777509009</c:v>
                </c:pt>
                <c:pt idx="52">
                  <c:v>0.14596071252524931</c:v>
                </c:pt>
                <c:pt idx="53">
                  <c:v>0.1436715989702238</c:v>
                </c:pt>
                <c:pt idx="54">
                  <c:v>0.1414025686988411</c:v>
                </c:pt>
                <c:pt idx="55">
                  <c:v>0.13919062791807121</c:v>
                </c:pt>
                <c:pt idx="56">
                  <c:v>8.2272009587007339E-2</c:v>
                </c:pt>
                <c:pt idx="57">
                  <c:v>0.15631336712000671</c:v>
                </c:pt>
                <c:pt idx="58">
                  <c:v>0.3530938264910811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D-DBE2-48CC-8485-F6B125FAE53C}"/>
            </c:ext>
          </c:extLst>
        </c:ser>
        <c:ser>
          <c:idx val="30"/>
          <c:order val="30"/>
          <c:tx>
            <c:strRef>
              <c:f>Sheet1!$A$32</c:f>
              <c:strCache>
                <c:ptCount val="1"/>
                <c:pt idx="0">
                  <c:v>7</c:v>
                </c:pt>
              </c:strCache>
            </c:strRef>
          </c:tx>
          <c:spPr>
            <a:gradFill rotWithShape="1">
              <a:gsLst>
                <a:gs pos="0">
                  <a:schemeClr val="accent1">
                    <a:lumMod val="50000"/>
                    <a:tint val="50000"/>
                    <a:satMod val="300000"/>
                  </a:schemeClr>
                </a:gs>
                <a:gs pos="35000">
                  <a:schemeClr val="accent1">
                    <a:lumMod val="50000"/>
                    <a:tint val="37000"/>
                    <a:satMod val="300000"/>
                  </a:schemeClr>
                </a:gs>
                <a:gs pos="100000">
                  <a:schemeClr val="accent1">
                    <a:lumMod val="50000"/>
                    <a:tint val="15000"/>
                    <a:satMod val="350000"/>
                  </a:schemeClr>
                </a:gs>
              </a:gsLst>
              <a:lin ang="16200000" scaled="1"/>
            </a:gradFill>
            <a:ln w="9525" cap="flat" cmpd="sng" algn="ctr">
              <a:solidFill>
                <a:schemeClr val="accent1">
                  <a:lumMod val="50000"/>
                  <a:shade val="95000"/>
                </a:schemeClr>
              </a:solidFill>
              <a:round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  <a:sp3d contourW="9525">
              <a:contourClr>
                <a:schemeClr val="accent1">
                  <a:lumMod val="50000"/>
                  <a:shade val="95000"/>
                </a:schemeClr>
              </a:contourClr>
            </a:sp3d>
          </c:spPr>
          <c:cat>
            <c:numRef>
              <c:f>Sheet1!$B$1:$BH$1</c:f>
              <c:numCache>
                <c:formatCode>General</c:formatCode>
                <c:ptCount val="59"/>
                <c:pt idx="0">
                  <c:v>40</c:v>
                </c:pt>
                <c:pt idx="1">
                  <c:v>42.5</c:v>
                </c:pt>
                <c:pt idx="2">
                  <c:v>45</c:v>
                </c:pt>
                <c:pt idx="3">
                  <c:v>47.5</c:v>
                </c:pt>
                <c:pt idx="4">
                  <c:v>50</c:v>
                </c:pt>
                <c:pt idx="5">
                  <c:v>52.5</c:v>
                </c:pt>
                <c:pt idx="6">
                  <c:v>55</c:v>
                </c:pt>
                <c:pt idx="7">
                  <c:v>57.5</c:v>
                </c:pt>
                <c:pt idx="8">
                  <c:v>60</c:v>
                </c:pt>
                <c:pt idx="9">
                  <c:v>62.5</c:v>
                </c:pt>
                <c:pt idx="10">
                  <c:v>65</c:v>
                </c:pt>
                <c:pt idx="11">
                  <c:v>67.5</c:v>
                </c:pt>
                <c:pt idx="12">
                  <c:v>70</c:v>
                </c:pt>
                <c:pt idx="13">
                  <c:v>72.5</c:v>
                </c:pt>
                <c:pt idx="14">
                  <c:v>75</c:v>
                </c:pt>
                <c:pt idx="15">
                  <c:v>77.5</c:v>
                </c:pt>
                <c:pt idx="16">
                  <c:v>80</c:v>
                </c:pt>
                <c:pt idx="17">
                  <c:v>82.5</c:v>
                </c:pt>
                <c:pt idx="18">
                  <c:v>85</c:v>
                </c:pt>
                <c:pt idx="19">
                  <c:v>87.5</c:v>
                </c:pt>
                <c:pt idx="20">
                  <c:v>90</c:v>
                </c:pt>
                <c:pt idx="21">
                  <c:v>92.5</c:v>
                </c:pt>
                <c:pt idx="22">
                  <c:v>95</c:v>
                </c:pt>
                <c:pt idx="23">
                  <c:v>97.5</c:v>
                </c:pt>
                <c:pt idx="24">
                  <c:v>100</c:v>
                </c:pt>
                <c:pt idx="25">
                  <c:v>102.5</c:v>
                </c:pt>
                <c:pt idx="26">
                  <c:v>105</c:v>
                </c:pt>
                <c:pt idx="27">
                  <c:v>107.5</c:v>
                </c:pt>
                <c:pt idx="28">
                  <c:v>110</c:v>
                </c:pt>
                <c:pt idx="29">
                  <c:v>112.5</c:v>
                </c:pt>
                <c:pt idx="30">
                  <c:v>115</c:v>
                </c:pt>
                <c:pt idx="31">
                  <c:v>117.5</c:v>
                </c:pt>
                <c:pt idx="32">
                  <c:v>120</c:v>
                </c:pt>
                <c:pt idx="33">
                  <c:v>122.5</c:v>
                </c:pt>
                <c:pt idx="34">
                  <c:v>125</c:v>
                </c:pt>
                <c:pt idx="35">
                  <c:v>127.5</c:v>
                </c:pt>
                <c:pt idx="36">
                  <c:v>130</c:v>
                </c:pt>
                <c:pt idx="37">
                  <c:v>132.5</c:v>
                </c:pt>
                <c:pt idx="38">
                  <c:v>135</c:v>
                </c:pt>
                <c:pt idx="39">
                  <c:v>137.5</c:v>
                </c:pt>
                <c:pt idx="40">
                  <c:v>140</c:v>
                </c:pt>
                <c:pt idx="41">
                  <c:v>142.5</c:v>
                </c:pt>
                <c:pt idx="42">
                  <c:v>145</c:v>
                </c:pt>
                <c:pt idx="43">
                  <c:v>147.5</c:v>
                </c:pt>
                <c:pt idx="44">
                  <c:v>150</c:v>
                </c:pt>
                <c:pt idx="45">
                  <c:v>152.5</c:v>
                </c:pt>
                <c:pt idx="46">
                  <c:v>155</c:v>
                </c:pt>
                <c:pt idx="47">
                  <c:v>157.5</c:v>
                </c:pt>
                <c:pt idx="48">
                  <c:v>160</c:v>
                </c:pt>
                <c:pt idx="49">
                  <c:v>162.5</c:v>
                </c:pt>
                <c:pt idx="50">
                  <c:v>165</c:v>
                </c:pt>
                <c:pt idx="51">
                  <c:v>167.5</c:v>
                </c:pt>
                <c:pt idx="52">
                  <c:v>170</c:v>
                </c:pt>
                <c:pt idx="53">
                  <c:v>172.5</c:v>
                </c:pt>
                <c:pt idx="54">
                  <c:v>175</c:v>
                </c:pt>
                <c:pt idx="55">
                  <c:v>177.5</c:v>
                </c:pt>
                <c:pt idx="56">
                  <c:v>180</c:v>
                </c:pt>
                <c:pt idx="57">
                  <c:v>182.5</c:v>
                </c:pt>
                <c:pt idx="58">
                  <c:v>1000</c:v>
                </c:pt>
              </c:numCache>
            </c:numRef>
          </c:cat>
          <c:val>
            <c:numRef>
              <c:f>Sheet1!$B$32:$BH$32</c:f>
              <c:numCache>
                <c:formatCode>General</c:formatCode>
                <c:ptCount val="59"/>
                <c:pt idx="0">
                  <c:v>0.28008590198792122</c:v>
                </c:pt>
                <c:pt idx="1">
                  <c:v>0.27698569474006002</c:v>
                </c:pt>
                <c:pt idx="2">
                  <c:v>0.27363456830693472</c:v>
                </c:pt>
                <c:pt idx="3">
                  <c:v>0.2701298410365951</c:v>
                </c:pt>
                <c:pt idx="4">
                  <c:v>0.27996849089674009</c:v>
                </c:pt>
                <c:pt idx="5">
                  <c:v>0.29132572702906201</c:v>
                </c:pt>
                <c:pt idx="6">
                  <c:v>0.28911351307607669</c:v>
                </c:pt>
                <c:pt idx="7">
                  <c:v>0.28650986841970649</c:v>
                </c:pt>
                <c:pt idx="8">
                  <c:v>0.27947122053971662</c:v>
                </c:pt>
                <c:pt idx="9">
                  <c:v>0.27425057274484488</c:v>
                </c:pt>
                <c:pt idx="10">
                  <c:v>0.27118056863145168</c:v>
                </c:pt>
                <c:pt idx="11">
                  <c:v>0.26782243041229409</c:v>
                </c:pt>
                <c:pt idx="12">
                  <c:v>0.26044786764272643</c:v>
                </c:pt>
                <c:pt idx="13">
                  <c:v>0.25606988407369852</c:v>
                </c:pt>
                <c:pt idx="14">
                  <c:v>0.25264592519053719</c:v>
                </c:pt>
                <c:pt idx="15">
                  <c:v>0.2487726846158187</c:v>
                </c:pt>
                <c:pt idx="16">
                  <c:v>0.24379783115994549</c:v>
                </c:pt>
                <c:pt idx="17">
                  <c:v>0.23988155380743881</c:v>
                </c:pt>
                <c:pt idx="18">
                  <c:v>0.23865120606672249</c:v>
                </c:pt>
                <c:pt idx="19">
                  <c:v>0.24527472319252849</c:v>
                </c:pt>
                <c:pt idx="20">
                  <c:v>0.2369607663025097</c:v>
                </c:pt>
                <c:pt idx="21">
                  <c:v>0.2174154828755038</c:v>
                </c:pt>
                <c:pt idx="22">
                  <c:v>0.23416839090899619</c:v>
                </c:pt>
                <c:pt idx="23">
                  <c:v>0.31355839427098858</c:v>
                </c:pt>
                <c:pt idx="24">
                  <c:v>0.2288529872824428</c:v>
                </c:pt>
                <c:pt idx="25">
                  <c:v>0.16771252930507149</c:v>
                </c:pt>
                <c:pt idx="26">
                  <c:v>0.165172458431811</c:v>
                </c:pt>
                <c:pt idx="27">
                  <c:v>0.23135169112147161</c:v>
                </c:pt>
                <c:pt idx="28">
                  <c:v>1.2551549232518291</c:v>
                </c:pt>
                <c:pt idx="29">
                  <c:v>0.77281548808269807</c:v>
                </c:pt>
                <c:pt idx="30">
                  <c:v>0.15535149928794331</c:v>
                </c:pt>
                <c:pt idx="31">
                  <c:v>0.1221987458520546</c:v>
                </c:pt>
                <c:pt idx="32">
                  <c:v>0.18378909456409331</c:v>
                </c:pt>
                <c:pt idx="33">
                  <c:v>0.29815961734718122</c:v>
                </c:pt>
                <c:pt idx="34">
                  <c:v>0.27203895794302241</c:v>
                </c:pt>
                <c:pt idx="35">
                  <c:v>0.18441243370339169</c:v>
                </c:pt>
                <c:pt idx="36">
                  <c:v>0.16999354014877019</c:v>
                </c:pt>
                <c:pt idx="37">
                  <c:v>0.16853418766960671</c:v>
                </c:pt>
                <c:pt idx="38">
                  <c:v>0.16541019166759771</c:v>
                </c:pt>
                <c:pt idx="39">
                  <c:v>0.15533846590960429</c:v>
                </c:pt>
                <c:pt idx="40">
                  <c:v>0.15358730201109649</c:v>
                </c:pt>
                <c:pt idx="41">
                  <c:v>0.1533344434205155</c:v>
                </c:pt>
                <c:pt idx="42">
                  <c:v>0.15978251565641449</c:v>
                </c:pt>
                <c:pt idx="43">
                  <c:v>0.18689364170352249</c:v>
                </c:pt>
                <c:pt idx="44">
                  <c:v>0.18698266884688811</c:v>
                </c:pt>
                <c:pt idx="45">
                  <c:v>0.18471758758269219</c:v>
                </c:pt>
                <c:pt idx="46">
                  <c:v>0.17366958764288121</c:v>
                </c:pt>
                <c:pt idx="47">
                  <c:v>0.15986342737945489</c:v>
                </c:pt>
                <c:pt idx="48">
                  <c:v>0.15963888340661531</c:v>
                </c:pt>
                <c:pt idx="49">
                  <c:v>0.1594743527002109</c:v>
                </c:pt>
                <c:pt idx="50">
                  <c:v>0.16538825899822199</c:v>
                </c:pt>
                <c:pt idx="51">
                  <c:v>0.17090560002116101</c:v>
                </c:pt>
                <c:pt idx="52">
                  <c:v>0.1694174976452924</c:v>
                </c:pt>
                <c:pt idx="53">
                  <c:v>0.16798262154115159</c:v>
                </c:pt>
                <c:pt idx="54">
                  <c:v>0.1665991739897679</c:v>
                </c:pt>
                <c:pt idx="55">
                  <c:v>0.16526544318595621</c:v>
                </c:pt>
                <c:pt idx="56">
                  <c:v>0.12611910277251681</c:v>
                </c:pt>
                <c:pt idx="57">
                  <c:v>0.1906771894472882</c:v>
                </c:pt>
                <c:pt idx="58">
                  <c:v>0.5099914063765659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E-DBE2-48CC-8485-F6B125FAE53C}"/>
            </c:ext>
          </c:extLst>
        </c:ser>
        <c:ser>
          <c:idx val="31"/>
          <c:order val="31"/>
          <c:tx>
            <c:strRef>
              <c:f>Sheet1!$A$33</c:f>
              <c:strCache>
                <c:ptCount val="1"/>
                <c:pt idx="0">
                  <c:v>7.25</c:v>
                </c:pt>
              </c:strCache>
            </c:strRef>
          </c:tx>
          <c:spPr>
            <a:gradFill rotWithShape="1">
              <a:gsLst>
                <a:gs pos="0">
                  <a:schemeClr val="accent2">
                    <a:lumMod val="50000"/>
                    <a:tint val="50000"/>
                    <a:satMod val="300000"/>
                  </a:schemeClr>
                </a:gs>
                <a:gs pos="35000">
                  <a:schemeClr val="accent2">
                    <a:lumMod val="50000"/>
                    <a:tint val="37000"/>
                    <a:satMod val="300000"/>
                  </a:schemeClr>
                </a:gs>
                <a:gs pos="100000">
                  <a:schemeClr val="accent2">
                    <a:lumMod val="50000"/>
                    <a:tint val="15000"/>
                    <a:satMod val="350000"/>
                  </a:schemeClr>
                </a:gs>
              </a:gsLst>
              <a:lin ang="16200000" scaled="1"/>
            </a:gradFill>
            <a:ln w="9525" cap="flat" cmpd="sng" algn="ctr">
              <a:solidFill>
                <a:schemeClr val="accent2">
                  <a:lumMod val="50000"/>
                  <a:shade val="95000"/>
                </a:schemeClr>
              </a:solidFill>
              <a:round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  <a:sp3d contourW="9525">
              <a:contourClr>
                <a:schemeClr val="accent2">
                  <a:lumMod val="50000"/>
                  <a:shade val="95000"/>
                </a:schemeClr>
              </a:contourClr>
            </a:sp3d>
          </c:spPr>
          <c:cat>
            <c:numRef>
              <c:f>Sheet1!$B$1:$BH$1</c:f>
              <c:numCache>
                <c:formatCode>General</c:formatCode>
                <c:ptCount val="59"/>
                <c:pt idx="0">
                  <c:v>40</c:v>
                </c:pt>
                <c:pt idx="1">
                  <c:v>42.5</c:v>
                </c:pt>
                <c:pt idx="2">
                  <c:v>45</c:v>
                </c:pt>
                <c:pt idx="3">
                  <c:v>47.5</c:v>
                </c:pt>
                <c:pt idx="4">
                  <c:v>50</c:v>
                </c:pt>
                <c:pt idx="5">
                  <c:v>52.5</c:v>
                </c:pt>
                <c:pt idx="6">
                  <c:v>55</c:v>
                </c:pt>
                <c:pt idx="7">
                  <c:v>57.5</c:v>
                </c:pt>
                <c:pt idx="8">
                  <c:v>60</c:v>
                </c:pt>
                <c:pt idx="9">
                  <c:v>62.5</c:v>
                </c:pt>
                <c:pt idx="10">
                  <c:v>65</c:v>
                </c:pt>
                <c:pt idx="11">
                  <c:v>67.5</c:v>
                </c:pt>
                <c:pt idx="12">
                  <c:v>70</c:v>
                </c:pt>
                <c:pt idx="13">
                  <c:v>72.5</c:v>
                </c:pt>
                <c:pt idx="14">
                  <c:v>75</c:v>
                </c:pt>
                <c:pt idx="15">
                  <c:v>77.5</c:v>
                </c:pt>
                <c:pt idx="16">
                  <c:v>80</c:v>
                </c:pt>
                <c:pt idx="17">
                  <c:v>82.5</c:v>
                </c:pt>
                <c:pt idx="18">
                  <c:v>85</c:v>
                </c:pt>
                <c:pt idx="19">
                  <c:v>87.5</c:v>
                </c:pt>
                <c:pt idx="20">
                  <c:v>90</c:v>
                </c:pt>
                <c:pt idx="21">
                  <c:v>92.5</c:v>
                </c:pt>
                <c:pt idx="22">
                  <c:v>95</c:v>
                </c:pt>
                <c:pt idx="23">
                  <c:v>97.5</c:v>
                </c:pt>
                <c:pt idx="24">
                  <c:v>100</c:v>
                </c:pt>
                <c:pt idx="25">
                  <c:v>102.5</c:v>
                </c:pt>
                <c:pt idx="26">
                  <c:v>105</c:v>
                </c:pt>
                <c:pt idx="27">
                  <c:v>107.5</c:v>
                </c:pt>
                <c:pt idx="28">
                  <c:v>110</c:v>
                </c:pt>
                <c:pt idx="29">
                  <c:v>112.5</c:v>
                </c:pt>
                <c:pt idx="30">
                  <c:v>115</c:v>
                </c:pt>
                <c:pt idx="31">
                  <c:v>117.5</c:v>
                </c:pt>
                <c:pt idx="32">
                  <c:v>120</c:v>
                </c:pt>
                <c:pt idx="33">
                  <c:v>122.5</c:v>
                </c:pt>
                <c:pt idx="34">
                  <c:v>125</c:v>
                </c:pt>
                <c:pt idx="35">
                  <c:v>127.5</c:v>
                </c:pt>
                <c:pt idx="36">
                  <c:v>130</c:v>
                </c:pt>
                <c:pt idx="37">
                  <c:v>132.5</c:v>
                </c:pt>
                <c:pt idx="38">
                  <c:v>135</c:v>
                </c:pt>
                <c:pt idx="39">
                  <c:v>137.5</c:v>
                </c:pt>
                <c:pt idx="40">
                  <c:v>140</c:v>
                </c:pt>
                <c:pt idx="41">
                  <c:v>142.5</c:v>
                </c:pt>
                <c:pt idx="42">
                  <c:v>145</c:v>
                </c:pt>
                <c:pt idx="43">
                  <c:v>147.5</c:v>
                </c:pt>
                <c:pt idx="44">
                  <c:v>150</c:v>
                </c:pt>
                <c:pt idx="45">
                  <c:v>152.5</c:v>
                </c:pt>
                <c:pt idx="46">
                  <c:v>155</c:v>
                </c:pt>
                <c:pt idx="47">
                  <c:v>157.5</c:v>
                </c:pt>
                <c:pt idx="48">
                  <c:v>160</c:v>
                </c:pt>
                <c:pt idx="49">
                  <c:v>162.5</c:v>
                </c:pt>
                <c:pt idx="50">
                  <c:v>165</c:v>
                </c:pt>
                <c:pt idx="51">
                  <c:v>167.5</c:v>
                </c:pt>
                <c:pt idx="52">
                  <c:v>170</c:v>
                </c:pt>
                <c:pt idx="53">
                  <c:v>172.5</c:v>
                </c:pt>
                <c:pt idx="54">
                  <c:v>175</c:v>
                </c:pt>
                <c:pt idx="55">
                  <c:v>177.5</c:v>
                </c:pt>
                <c:pt idx="56">
                  <c:v>180</c:v>
                </c:pt>
                <c:pt idx="57">
                  <c:v>182.5</c:v>
                </c:pt>
                <c:pt idx="58">
                  <c:v>1000</c:v>
                </c:pt>
              </c:numCache>
            </c:numRef>
          </c:cat>
          <c:val>
            <c:numRef>
              <c:f>Sheet1!$B$33:$BH$33</c:f>
              <c:numCache>
                <c:formatCode>General</c:formatCode>
                <c:ptCount val="59"/>
                <c:pt idx="0">
                  <c:v>0.27864818860959017</c:v>
                </c:pt>
                <c:pt idx="1">
                  <c:v>0.27575630841043719</c:v>
                </c:pt>
                <c:pt idx="2">
                  <c:v>0.27260570934379358</c:v>
                </c:pt>
                <c:pt idx="3">
                  <c:v>0.2694869858128458</c:v>
                </c:pt>
                <c:pt idx="4">
                  <c:v>0.27990637240820349</c:v>
                </c:pt>
                <c:pt idx="5">
                  <c:v>0.2905913591001355</c:v>
                </c:pt>
                <c:pt idx="6">
                  <c:v>0.2884699056734828</c:v>
                </c:pt>
                <c:pt idx="7">
                  <c:v>0.2854729076808592</c:v>
                </c:pt>
                <c:pt idx="8">
                  <c:v>0.27746835536058773</c:v>
                </c:pt>
                <c:pt idx="9">
                  <c:v>0.27238871468071052</c:v>
                </c:pt>
                <c:pt idx="10">
                  <c:v>0.26935173662123207</c:v>
                </c:pt>
                <c:pt idx="11">
                  <c:v>0.26714133587107469</c:v>
                </c:pt>
                <c:pt idx="12">
                  <c:v>0.26159120004641973</c:v>
                </c:pt>
                <c:pt idx="13">
                  <c:v>0.25742781778590351</c:v>
                </c:pt>
                <c:pt idx="14">
                  <c:v>0.25404413276446858</c:v>
                </c:pt>
                <c:pt idx="15">
                  <c:v>0.2475296855228975</c:v>
                </c:pt>
                <c:pt idx="16">
                  <c:v>0.24131635640837279</c:v>
                </c:pt>
                <c:pt idx="17">
                  <c:v>0.2376353854842406</c:v>
                </c:pt>
                <c:pt idx="18">
                  <c:v>0.23856036823652871</c:v>
                </c:pt>
                <c:pt idx="19">
                  <c:v>0.24419276926877201</c:v>
                </c:pt>
                <c:pt idx="20">
                  <c:v>0.22925968836865521</c:v>
                </c:pt>
                <c:pt idx="21">
                  <c:v>0.21362987446727219</c:v>
                </c:pt>
                <c:pt idx="22">
                  <c:v>0.2430950121362237</c:v>
                </c:pt>
                <c:pt idx="23">
                  <c:v>0.32279437298086672</c:v>
                </c:pt>
                <c:pt idx="24">
                  <c:v>0.2297498750760314</c:v>
                </c:pt>
                <c:pt idx="25">
                  <c:v>0.17112890515267459</c:v>
                </c:pt>
                <c:pt idx="26">
                  <c:v>0.16734149174846011</c:v>
                </c:pt>
                <c:pt idx="27">
                  <c:v>0.22325093209494781</c:v>
                </c:pt>
                <c:pt idx="28">
                  <c:v>0.52732797978689472</c:v>
                </c:pt>
                <c:pt idx="29">
                  <c:v>0.5284069694487874</c:v>
                </c:pt>
                <c:pt idx="30">
                  <c:v>0.15961332991448629</c:v>
                </c:pt>
                <c:pt idx="31">
                  <c:v>0.12586663662933351</c:v>
                </c:pt>
                <c:pt idx="32">
                  <c:v>0.1851826467434971</c:v>
                </c:pt>
                <c:pt idx="33">
                  <c:v>0.28373316526712861</c:v>
                </c:pt>
                <c:pt idx="34">
                  <c:v>0.26038686862039051</c:v>
                </c:pt>
                <c:pt idx="35">
                  <c:v>0.1844236383556131</c:v>
                </c:pt>
                <c:pt idx="36">
                  <c:v>0.17098214047982979</c:v>
                </c:pt>
                <c:pt idx="37">
                  <c:v>0.1693538567411757</c:v>
                </c:pt>
                <c:pt idx="38">
                  <c:v>0.1658029454694909</c:v>
                </c:pt>
                <c:pt idx="39">
                  <c:v>0.15632387992307969</c:v>
                </c:pt>
                <c:pt idx="40">
                  <c:v>0.15459521900791379</c:v>
                </c:pt>
                <c:pt idx="41">
                  <c:v>0.15374549049572159</c:v>
                </c:pt>
                <c:pt idx="42">
                  <c:v>0.1587194085067701</c:v>
                </c:pt>
                <c:pt idx="43">
                  <c:v>0.1824377660962293</c:v>
                </c:pt>
                <c:pt idx="44">
                  <c:v>0.1827218383310579</c:v>
                </c:pt>
                <c:pt idx="45">
                  <c:v>0.18573674196803219</c:v>
                </c:pt>
                <c:pt idx="46">
                  <c:v>0.17788653009625061</c:v>
                </c:pt>
                <c:pt idx="47">
                  <c:v>0.16399705887750521</c:v>
                </c:pt>
                <c:pt idx="48">
                  <c:v>0.16325267541539701</c:v>
                </c:pt>
                <c:pt idx="49">
                  <c:v>0.16069113941468871</c:v>
                </c:pt>
                <c:pt idx="50">
                  <c:v>0.16542058198231699</c:v>
                </c:pt>
                <c:pt idx="51">
                  <c:v>0.17029080444362379</c:v>
                </c:pt>
                <c:pt idx="52">
                  <c:v>0.16880177282384121</c:v>
                </c:pt>
                <c:pt idx="53">
                  <c:v>0.16736594451141271</c:v>
                </c:pt>
                <c:pt idx="54">
                  <c:v>0.16598153076469499</c:v>
                </c:pt>
                <c:pt idx="55">
                  <c:v>0.16464682798808961</c:v>
                </c:pt>
                <c:pt idx="56">
                  <c:v>0.1228996897179942</c:v>
                </c:pt>
                <c:pt idx="57">
                  <c:v>0.1902924918773731</c:v>
                </c:pt>
                <c:pt idx="58">
                  <c:v>0.5158930728072783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F-DBE2-48CC-8485-F6B125FAE53C}"/>
            </c:ext>
          </c:extLst>
        </c:ser>
        <c:ser>
          <c:idx val="32"/>
          <c:order val="32"/>
          <c:tx>
            <c:strRef>
              <c:f>Sheet1!$A$34</c:f>
              <c:strCache>
                <c:ptCount val="1"/>
                <c:pt idx="0">
                  <c:v>7.5</c:v>
                </c:pt>
              </c:strCache>
            </c:strRef>
          </c:tx>
          <c:spPr>
            <a:gradFill rotWithShape="1">
              <a:gsLst>
                <a:gs pos="0">
                  <a:schemeClr val="accent3">
                    <a:lumMod val="50000"/>
                    <a:tint val="50000"/>
                    <a:satMod val="300000"/>
                  </a:schemeClr>
                </a:gs>
                <a:gs pos="35000">
                  <a:schemeClr val="accent3">
                    <a:lumMod val="50000"/>
                    <a:tint val="37000"/>
                    <a:satMod val="300000"/>
                  </a:schemeClr>
                </a:gs>
                <a:gs pos="100000">
                  <a:schemeClr val="accent3">
                    <a:lumMod val="50000"/>
                    <a:tint val="15000"/>
                    <a:satMod val="350000"/>
                  </a:schemeClr>
                </a:gs>
              </a:gsLst>
              <a:lin ang="16200000" scaled="1"/>
            </a:gradFill>
            <a:ln w="9525" cap="flat" cmpd="sng" algn="ctr">
              <a:solidFill>
                <a:schemeClr val="accent3">
                  <a:lumMod val="50000"/>
                  <a:shade val="95000"/>
                </a:schemeClr>
              </a:solidFill>
              <a:round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  <a:sp3d contourW="9525">
              <a:contourClr>
                <a:schemeClr val="accent3">
                  <a:lumMod val="50000"/>
                  <a:shade val="95000"/>
                </a:schemeClr>
              </a:contourClr>
            </a:sp3d>
          </c:spPr>
          <c:cat>
            <c:numRef>
              <c:f>Sheet1!$B$1:$BH$1</c:f>
              <c:numCache>
                <c:formatCode>General</c:formatCode>
                <c:ptCount val="59"/>
                <c:pt idx="0">
                  <c:v>40</c:v>
                </c:pt>
                <c:pt idx="1">
                  <c:v>42.5</c:v>
                </c:pt>
                <c:pt idx="2">
                  <c:v>45</c:v>
                </c:pt>
                <c:pt idx="3">
                  <c:v>47.5</c:v>
                </c:pt>
                <c:pt idx="4">
                  <c:v>50</c:v>
                </c:pt>
                <c:pt idx="5">
                  <c:v>52.5</c:v>
                </c:pt>
                <c:pt idx="6">
                  <c:v>55</c:v>
                </c:pt>
                <c:pt idx="7">
                  <c:v>57.5</c:v>
                </c:pt>
                <c:pt idx="8">
                  <c:v>60</c:v>
                </c:pt>
                <c:pt idx="9">
                  <c:v>62.5</c:v>
                </c:pt>
                <c:pt idx="10">
                  <c:v>65</c:v>
                </c:pt>
                <c:pt idx="11">
                  <c:v>67.5</c:v>
                </c:pt>
                <c:pt idx="12">
                  <c:v>70</c:v>
                </c:pt>
                <c:pt idx="13">
                  <c:v>72.5</c:v>
                </c:pt>
                <c:pt idx="14">
                  <c:v>75</c:v>
                </c:pt>
                <c:pt idx="15">
                  <c:v>77.5</c:v>
                </c:pt>
                <c:pt idx="16">
                  <c:v>80</c:v>
                </c:pt>
                <c:pt idx="17">
                  <c:v>82.5</c:v>
                </c:pt>
                <c:pt idx="18">
                  <c:v>85</c:v>
                </c:pt>
                <c:pt idx="19">
                  <c:v>87.5</c:v>
                </c:pt>
                <c:pt idx="20">
                  <c:v>90</c:v>
                </c:pt>
                <c:pt idx="21">
                  <c:v>92.5</c:v>
                </c:pt>
                <c:pt idx="22">
                  <c:v>95</c:v>
                </c:pt>
                <c:pt idx="23">
                  <c:v>97.5</c:v>
                </c:pt>
                <c:pt idx="24">
                  <c:v>100</c:v>
                </c:pt>
                <c:pt idx="25">
                  <c:v>102.5</c:v>
                </c:pt>
                <c:pt idx="26">
                  <c:v>105</c:v>
                </c:pt>
                <c:pt idx="27">
                  <c:v>107.5</c:v>
                </c:pt>
                <c:pt idx="28">
                  <c:v>110</c:v>
                </c:pt>
                <c:pt idx="29">
                  <c:v>112.5</c:v>
                </c:pt>
                <c:pt idx="30">
                  <c:v>115</c:v>
                </c:pt>
                <c:pt idx="31">
                  <c:v>117.5</c:v>
                </c:pt>
                <c:pt idx="32">
                  <c:v>120</c:v>
                </c:pt>
                <c:pt idx="33">
                  <c:v>122.5</c:v>
                </c:pt>
                <c:pt idx="34">
                  <c:v>125</c:v>
                </c:pt>
                <c:pt idx="35">
                  <c:v>127.5</c:v>
                </c:pt>
                <c:pt idx="36">
                  <c:v>130</c:v>
                </c:pt>
                <c:pt idx="37">
                  <c:v>132.5</c:v>
                </c:pt>
                <c:pt idx="38">
                  <c:v>135</c:v>
                </c:pt>
                <c:pt idx="39">
                  <c:v>137.5</c:v>
                </c:pt>
                <c:pt idx="40">
                  <c:v>140</c:v>
                </c:pt>
                <c:pt idx="41">
                  <c:v>142.5</c:v>
                </c:pt>
                <c:pt idx="42">
                  <c:v>145</c:v>
                </c:pt>
                <c:pt idx="43">
                  <c:v>147.5</c:v>
                </c:pt>
                <c:pt idx="44">
                  <c:v>150</c:v>
                </c:pt>
                <c:pt idx="45">
                  <c:v>152.5</c:v>
                </c:pt>
                <c:pt idx="46">
                  <c:v>155</c:v>
                </c:pt>
                <c:pt idx="47">
                  <c:v>157.5</c:v>
                </c:pt>
                <c:pt idx="48">
                  <c:v>160</c:v>
                </c:pt>
                <c:pt idx="49">
                  <c:v>162.5</c:v>
                </c:pt>
                <c:pt idx="50">
                  <c:v>165</c:v>
                </c:pt>
                <c:pt idx="51">
                  <c:v>167.5</c:v>
                </c:pt>
                <c:pt idx="52">
                  <c:v>170</c:v>
                </c:pt>
                <c:pt idx="53">
                  <c:v>172.5</c:v>
                </c:pt>
                <c:pt idx="54">
                  <c:v>175</c:v>
                </c:pt>
                <c:pt idx="55">
                  <c:v>177.5</c:v>
                </c:pt>
                <c:pt idx="56">
                  <c:v>180</c:v>
                </c:pt>
                <c:pt idx="57">
                  <c:v>182.5</c:v>
                </c:pt>
                <c:pt idx="58">
                  <c:v>1000</c:v>
                </c:pt>
              </c:numCache>
            </c:numRef>
          </c:cat>
          <c:val>
            <c:numRef>
              <c:f>Sheet1!$B$34:$BH$34</c:f>
              <c:numCache>
                <c:formatCode>General</c:formatCode>
                <c:ptCount val="59"/>
                <c:pt idx="0">
                  <c:v>0.27733263620636861</c:v>
                </c:pt>
                <c:pt idx="1">
                  <c:v>0.27463978394082261</c:v>
                </c:pt>
                <c:pt idx="2">
                  <c:v>0.27167971009289082</c:v>
                </c:pt>
                <c:pt idx="3">
                  <c:v>0.26893387856306838</c:v>
                </c:pt>
                <c:pt idx="4">
                  <c:v>0.27993389232179389</c:v>
                </c:pt>
                <c:pt idx="5">
                  <c:v>0.28995295023937923</c:v>
                </c:pt>
                <c:pt idx="6">
                  <c:v>0.28791687364218249</c:v>
                </c:pt>
                <c:pt idx="7">
                  <c:v>0.28452822555284152</c:v>
                </c:pt>
                <c:pt idx="8">
                  <c:v>0.27558186388573619</c:v>
                </c:pt>
                <c:pt idx="9">
                  <c:v>0.27063882928030603</c:v>
                </c:pt>
                <c:pt idx="10">
                  <c:v>0.26763511231743808</c:v>
                </c:pt>
                <c:pt idx="11">
                  <c:v>0.26654350933194582</c:v>
                </c:pt>
                <c:pt idx="12">
                  <c:v>0.26282270590007922</c:v>
                </c:pt>
                <c:pt idx="13">
                  <c:v>0.25886763496476739</c:v>
                </c:pt>
                <c:pt idx="14">
                  <c:v>0.25551385983893932</c:v>
                </c:pt>
                <c:pt idx="15">
                  <c:v>0.246340050120811</c:v>
                </c:pt>
                <c:pt idx="16">
                  <c:v>0.23894141313041009</c:v>
                </c:pt>
                <c:pt idx="17">
                  <c:v>0.2354855607514591</c:v>
                </c:pt>
                <c:pt idx="18">
                  <c:v>0.23850790267177821</c:v>
                </c:pt>
                <c:pt idx="19">
                  <c:v>0.24316149255826899</c:v>
                </c:pt>
                <c:pt idx="20">
                  <c:v>0.22229085481065511</c:v>
                </c:pt>
                <c:pt idx="21">
                  <c:v>0.21006905259091521</c:v>
                </c:pt>
                <c:pt idx="22">
                  <c:v>0.25319194799413708</c:v>
                </c:pt>
                <c:pt idx="23">
                  <c:v>0.33297237524301487</c:v>
                </c:pt>
                <c:pt idx="24">
                  <c:v>0.2306744342898632</c:v>
                </c:pt>
                <c:pt idx="25">
                  <c:v>0.17476714705842711</c:v>
                </c:pt>
                <c:pt idx="26">
                  <c:v>0.16959723068548729</c:v>
                </c:pt>
                <c:pt idx="27">
                  <c:v>0.21594585549227599</c:v>
                </c:pt>
                <c:pt idx="28">
                  <c:v>0.39045824255082262</c:v>
                </c:pt>
                <c:pt idx="29">
                  <c:v>0.42668339716938619</c:v>
                </c:pt>
                <c:pt idx="30">
                  <c:v>0.16423392408897439</c:v>
                </c:pt>
                <c:pt idx="31">
                  <c:v>0.1298753871051426</c:v>
                </c:pt>
                <c:pt idx="32">
                  <c:v>0.18660002548953741</c:v>
                </c:pt>
                <c:pt idx="33">
                  <c:v>0.27120764790595497</c:v>
                </c:pt>
                <c:pt idx="34">
                  <c:v>0.2500571979266793</c:v>
                </c:pt>
                <c:pt idx="35">
                  <c:v>0.1843876286570566</c:v>
                </c:pt>
                <c:pt idx="36">
                  <c:v>0.171942640255594</c:v>
                </c:pt>
                <c:pt idx="37">
                  <c:v>0.17013973691358911</c:v>
                </c:pt>
                <c:pt idx="38">
                  <c:v>0.16615466541304191</c:v>
                </c:pt>
                <c:pt idx="39">
                  <c:v>0.157289790818916</c:v>
                </c:pt>
                <c:pt idx="40">
                  <c:v>0.1555916740912712</c:v>
                </c:pt>
                <c:pt idx="41">
                  <c:v>0.15413795467253821</c:v>
                </c:pt>
                <c:pt idx="42">
                  <c:v>0.1576620161806315</c:v>
                </c:pt>
                <c:pt idx="43">
                  <c:v>0.17826067603017681</c:v>
                </c:pt>
                <c:pt idx="44">
                  <c:v>0.17867990943831211</c:v>
                </c:pt>
                <c:pt idx="45">
                  <c:v>0.1866590295201809</c:v>
                </c:pt>
                <c:pt idx="46">
                  <c:v>0.18230770979182359</c:v>
                </c:pt>
                <c:pt idx="47">
                  <c:v>0.16839210070704769</c:v>
                </c:pt>
                <c:pt idx="48">
                  <c:v>0.16708438093032449</c:v>
                </c:pt>
                <c:pt idx="49">
                  <c:v>0.1619360308288815</c:v>
                </c:pt>
                <c:pt idx="50">
                  <c:v>0.16547391951970589</c:v>
                </c:pt>
                <c:pt idx="51">
                  <c:v>0.16971481491862461</c:v>
                </c:pt>
                <c:pt idx="52">
                  <c:v>0.16822547047195341</c:v>
                </c:pt>
                <c:pt idx="53">
                  <c:v>0.1667892761639973</c:v>
                </c:pt>
                <c:pt idx="54">
                  <c:v>0.1654044530409555</c:v>
                </c:pt>
                <c:pt idx="55">
                  <c:v>0.1640693064946343</c:v>
                </c:pt>
                <c:pt idx="56">
                  <c:v>0.1199287156854828</c:v>
                </c:pt>
                <c:pt idx="57">
                  <c:v>0.18989979267360671</c:v>
                </c:pt>
                <c:pt idx="58">
                  <c:v>0.5204723967436948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0-DBE2-48CC-8485-F6B125FAE53C}"/>
            </c:ext>
          </c:extLst>
        </c:ser>
        <c:ser>
          <c:idx val="33"/>
          <c:order val="33"/>
          <c:tx>
            <c:strRef>
              <c:f>Sheet1!$A$35</c:f>
              <c:strCache>
                <c:ptCount val="1"/>
                <c:pt idx="0">
                  <c:v>7.75</c:v>
                </c:pt>
              </c:strCache>
            </c:strRef>
          </c:tx>
          <c:spPr>
            <a:gradFill rotWithShape="1">
              <a:gsLst>
                <a:gs pos="0">
                  <a:schemeClr val="accent4">
                    <a:lumMod val="50000"/>
                    <a:tint val="50000"/>
                    <a:satMod val="300000"/>
                  </a:schemeClr>
                </a:gs>
                <a:gs pos="35000">
                  <a:schemeClr val="accent4">
                    <a:lumMod val="50000"/>
                    <a:tint val="37000"/>
                    <a:satMod val="300000"/>
                  </a:schemeClr>
                </a:gs>
                <a:gs pos="100000">
                  <a:schemeClr val="accent4">
                    <a:lumMod val="50000"/>
                    <a:tint val="15000"/>
                    <a:satMod val="350000"/>
                  </a:schemeClr>
                </a:gs>
              </a:gsLst>
              <a:lin ang="16200000" scaled="1"/>
            </a:gradFill>
            <a:ln w="9525" cap="flat" cmpd="sng" algn="ctr">
              <a:solidFill>
                <a:schemeClr val="accent4">
                  <a:lumMod val="50000"/>
                  <a:shade val="95000"/>
                </a:schemeClr>
              </a:solidFill>
              <a:round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  <a:sp3d contourW="9525">
              <a:contourClr>
                <a:schemeClr val="accent4">
                  <a:lumMod val="50000"/>
                  <a:shade val="95000"/>
                </a:schemeClr>
              </a:contourClr>
            </a:sp3d>
          </c:spPr>
          <c:cat>
            <c:numRef>
              <c:f>Sheet1!$B$1:$BH$1</c:f>
              <c:numCache>
                <c:formatCode>General</c:formatCode>
                <c:ptCount val="59"/>
                <c:pt idx="0">
                  <c:v>40</c:v>
                </c:pt>
                <c:pt idx="1">
                  <c:v>42.5</c:v>
                </c:pt>
                <c:pt idx="2">
                  <c:v>45</c:v>
                </c:pt>
                <c:pt idx="3">
                  <c:v>47.5</c:v>
                </c:pt>
                <c:pt idx="4">
                  <c:v>50</c:v>
                </c:pt>
                <c:pt idx="5">
                  <c:v>52.5</c:v>
                </c:pt>
                <c:pt idx="6">
                  <c:v>55</c:v>
                </c:pt>
                <c:pt idx="7">
                  <c:v>57.5</c:v>
                </c:pt>
                <c:pt idx="8">
                  <c:v>60</c:v>
                </c:pt>
                <c:pt idx="9">
                  <c:v>62.5</c:v>
                </c:pt>
                <c:pt idx="10">
                  <c:v>65</c:v>
                </c:pt>
                <c:pt idx="11">
                  <c:v>67.5</c:v>
                </c:pt>
                <c:pt idx="12">
                  <c:v>70</c:v>
                </c:pt>
                <c:pt idx="13">
                  <c:v>72.5</c:v>
                </c:pt>
                <c:pt idx="14">
                  <c:v>75</c:v>
                </c:pt>
                <c:pt idx="15">
                  <c:v>77.5</c:v>
                </c:pt>
                <c:pt idx="16">
                  <c:v>80</c:v>
                </c:pt>
                <c:pt idx="17">
                  <c:v>82.5</c:v>
                </c:pt>
                <c:pt idx="18">
                  <c:v>85</c:v>
                </c:pt>
                <c:pt idx="19">
                  <c:v>87.5</c:v>
                </c:pt>
                <c:pt idx="20">
                  <c:v>90</c:v>
                </c:pt>
                <c:pt idx="21">
                  <c:v>92.5</c:v>
                </c:pt>
                <c:pt idx="22">
                  <c:v>95</c:v>
                </c:pt>
                <c:pt idx="23">
                  <c:v>97.5</c:v>
                </c:pt>
                <c:pt idx="24">
                  <c:v>100</c:v>
                </c:pt>
                <c:pt idx="25">
                  <c:v>102.5</c:v>
                </c:pt>
                <c:pt idx="26">
                  <c:v>105</c:v>
                </c:pt>
                <c:pt idx="27">
                  <c:v>107.5</c:v>
                </c:pt>
                <c:pt idx="28">
                  <c:v>110</c:v>
                </c:pt>
                <c:pt idx="29">
                  <c:v>112.5</c:v>
                </c:pt>
                <c:pt idx="30">
                  <c:v>115</c:v>
                </c:pt>
                <c:pt idx="31">
                  <c:v>117.5</c:v>
                </c:pt>
                <c:pt idx="32">
                  <c:v>120</c:v>
                </c:pt>
                <c:pt idx="33">
                  <c:v>122.5</c:v>
                </c:pt>
                <c:pt idx="34">
                  <c:v>125</c:v>
                </c:pt>
                <c:pt idx="35">
                  <c:v>127.5</c:v>
                </c:pt>
                <c:pt idx="36">
                  <c:v>130</c:v>
                </c:pt>
                <c:pt idx="37">
                  <c:v>132.5</c:v>
                </c:pt>
                <c:pt idx="38">
                  <c:v>135</c:v>
                </c:pt>
                <c:pt idx="39">
                  <c:v>137.5</c:v>
                </c:pt>
                <c:pt idx="40">
                  <c:v>140</c:v>
                </c:pt>
                <c:pt idx="41">
                  <c:v>142.5</c:v>
                </c:pt>
                <c:pt idx="42">
                  <c:v>145</c:v>
                </c:pt>
                <c:pt idx="43">
                  <c:v>147.5</c:v>
                </c:pt>
                <c:pt idx="44">
                  <c:v>150</c:v>
                </c:pt>
                <c:pt idx="45">
                  <c:v>152.5</c:v>
                </c:pt>
                <c:pt idx="46">
                  <c:v>155</c:v>
                </c:pt>
                <c:pt idx="47">
                  <c:v>157.5</c:v>
                </c:pt>
                <c:pt idx="48">
                  <c:v>160</c:v>
                </c:pt>
                <c:pt idx="49">
                  <c:v>162.5</c:v>
                </c:pt>
                <c:pt idx="50">
                  <c:v>165</c:v>
                </c:pt>
                <c:pt idx="51">
                  <c:v>167.5</c:v>
                </c:pt>
                <c:pt idx="52">
                  <c:v>170</c:v>
                </c:pt>
                <c:pt idx="53">
                  <c:v>172.5</c:v>
                </c:pt>
                <c:pt idx="54">
                  <c:v>175</c:v>
                </c:pt>
                <c:pt idx="55">
                  <c:v>177.5</c:v>
                </c:pt>
                <c:pt idx="56">
                  <c:v>180</c:v>
                </c:pt>
                <c:pt idx="57">
                  <c:v>182.5</c:v>
                </c:pt>
                <c:pt idx="58">
                  <c:v>1000</c:v>
                </c:pt>
              </c:numCache>
            </c:numRef>
          </c:cat>
          <c:val>
            <c:numRef>
              <c:f>Sheet1!$B$35:$BH$35</c:f>
              <c:numCache>
                <c:formatCode>General</c:formatCode>
                <c:ptCount val="59"/>
                <c:pt idx="0">
                  <c:v>0.27612927893162242</c:v>
                </c:pt>
                <c:pt idx="1">
                  <c:v>0.27362672593669579</c:v>
                </c:pt>
                <c:pt idx="2">
                  <c:v>0.27084788363055851</c:v>
                </c:pt>
                <c:pt idx="3">
                  <c:v>0.26846318770818972</c:v>
                </c:pt>
                <c:pt idx="4">
                  <c:v>0.28004472008890707</c:v>
                </c:pt>
                <c:pt idx="5">
                  <c:v>0.28940191566601658</c:v>
                </c:pt>
                <c:pt idx="6">
                  <c:v>0.28744624082829279</c:v>
                </c:pt>
                <c:pt idx="7">
                  <c:v>0.28366682233431612</c:v>
                </c:pt>
                <c:pt idx="8">
                  <c:v>0.27379990500895529</c:v>
                </c:pt>
                <c:pt idx="9">
                  <c:v>0.2689893325567323</c:v>
                </c:pt>
                <c:pt idx="10">
                  <c:v>0.26601887780425232</c:v>
                </c:pt>
                <c:pt idx="11">
                  <c:v>0.2660205201002861</c:v>
                </c:pt>
                <c:pt idx="12">
                  <c:v>0.26413919029896832</c:v>
                </c:pt>
                <c:pt idx="13">
                  <c:v>0.2603873386394101</c:v>
                </c:pt>
                <c:pt idx="14">
                  <c:v>0.25705367667715462</c:v>
                </c:pt>
                <c:pt idx="15">
                  <c:v>0.2451985160633863</c:v>
                </c:pt>
                <c:pt idx="16">
                  <c:v>0.2366635223655516</c:v>
                </c:pt>
                <c:pt idx="17">
                  <c:v>0.23342321945359029</c:v>
                </c:pt>
                <c:pt idx="18">
                  <c:v>0.23848985251262739</c:v>
                </c:pt>
                <c:pt idx="19">
                  <c:v>0.24217549128670879</c:v>
                </c:pt>
                <c:pt idx="20">
                  <c:v>0.2159434263516159</c:v>
                </c:pt>
                <c:pt idx="21">
                  <c:v>0.20670920569447351</c:v>
                </c:pt>
                <c:pt idx="22">
                  <c:v>0.26472747732823881</c:v>
                </c:pt>
                <c:pt idx="23">
                  <c:v>0.34425129680158473</c:v>
                </c:pt>
                <c:pt idx="24">
                  <c:v>0.2316255222172578</c:v>
                </c:pt>
                <c:pt idx="25">
                  <c:v>0.17865173606604451</c:v>
                </c:pt>
                <c:pt idx="26">
                  <c:v>0.17194578769475291</c:v>
                </c:pt>
                <c:pt idx="27">
                  <c:v>0.20931427140482031</c:v>
                </c:pt>
                <c:pt idx="28">
                  <c:v>0.32403926851362858</c:v>
                </c:pt>
                <c:pt idx="29">
                  <c:v>0.36741917187558609</c:v>
                </c:pt>
                <c:pt idx="30">
                  <c:v>0.16926889113194449</c:v>
                </c:pt>
                <c:pt idx="31">
                  <c:v>0.1342831865879732</c:v>
                </c:pt>
                <c:pt idx="32">
                  <c:v>0.18804307172845319</c:v>
                </c:pt>
                <c:pt idx="33">
                  <c:v>0.26020007632658371</c:v>
                </c:pt>
                <c:pt idx="34">
                  <c:v>0.2408226378400751</c:v>
                </c:pt>
                <c:pt idx="35">
                  <c:v>0.18431091431812549</c:v>
                </c:pt>
                <c:pt idx="36">
                  <c:v>0.1728796181971427</c:v>
                </c:pt>
                <c:pt idx="37">
                  <c:v>0.1708966763903344</c:v>
                </c:pt>
                <c:pt idx="38">
                  <c:v>0.16647075623579491</c:v>
                </c:pt>
                <c:pt idx="39">
                  <c:v>0.15824020546873099</c:v>
                </c:pt>
                <c:pt idx="40">
                  <c:v>0.15658006273951661</c:v>
                </c:pt>
                <c:pt idx="41">
                  <c:v>0.15451452013033701</c:v>
                </c:pt>
                <c:pt idx="42">
                  <c:v>0.15661268461489999</c:v>
                </c:pt>
                <c:pt idx="43">
                  <c:v>0.1743375601354025</c:v>
                </c:pt>
                <c:pt idx="44">
                  <c:v>0.17484704134149431</c:v>
                </c:pt>
                <c:pt idx="45">
                  <c:v>0.1874968908821214</c:v>
                </c:pt>
                <c:pt idx="46">
                  <c:v>0.18696708168902729</c:v>
                </c:pt>
                <c:pt idx="47">
                  <c:v>0.17308969389867579</c:v>
                </c:pt>
                <c:pt idx="48">
                  <c:v>0.17116334569982311</c:v>
                </c:pt>
                <c:pt idx="49">
                  <c:v>0.16321017742127589</c:v>
                </c:pt>
                <c:pt idx="50">
                  <c:v>0.16554533768274099</c:v>
                </c:pt>
                <c:pt idx="51">
                  <c:v>0.1691720132376385</c:v>
                </c:pt>
                <c:pt idx="52">
                  <c:v>0.16768287819926531</c:v>
                </c:pt>
                <c:pt idx="53">
                  <c:v>0.1662468152513818</c:v>
                </c:pt>
                <c:pt idx="54">
                  <c:v>0.16486205585801039</c:v>
                </c:pt>
                <c:pt idx="55">
                  <c:v>0.16352691500514921</c:v>
                </c:pt>
                <c:pt idx="56">
                  <c:v>0.1171743854277888</c:v>
                </c:pt>
                <c:pt idx="57">
                  <c:v>0.18950951467251859</c:v>
                </c:pt>
                <c:pt idx="58">
                  <c:v>0.5238904870460049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1-DBE2-48CC-8485-F6B125FAE53C}"/>
            </c:ext>
          </c:extLst>
        </c:ser>
        <c:ser>
          <c:idx val="34"/>
          <c:order val="34"/>
          <c:tx>
            <c:strRef>
              <c:f>Sheet1!$A$36</c:f>
              <c:strCache>
                <c:ptCount val="1"/>
                <c:pt idx="0">
                  <c:v>8</c:v>
                </c:pt>
              </c:strCache>
            </c:strRef>
          </c:tx>
          <c:spPr>
            <a:gradFill rotWithShape="1">
              <a:gsLst>
                <a:gs pos="0">
                  <a:schemeClr val="accent5">
                    <a:lumMod val="50000"/>
                    <a:tint val="50000"/>
                    <a:satMod val="300000"/>
                  </a:schemeClr>
                </a:gs>
                <a:gs pos="35000">
                  <a:schemeClr val="accent5">
                    <a:lumMod val="50000"/>
                    <a:tint val="37000"/>
                    <a:satMod val="300000"/>
                  </a:schemeClr>
                </a:gs>
                <a:gs pos="100000">
                  <a:schemeClr val="accent5">
                    <a:lumMod val="50000"/>
                    <a:tint val="15000"/>
                    <a:satMod val="350000"/>
                  </a:schemeClr>
                </a:gs>
              </a:gsLst>
              <a:lin ang="16200000" scaled="1"/>
            </a:gradFill>
            <a:ln w="9525" cap="flat" cmpd="sng" algn="ctr">
              <a:solidFill>
                <a:schemeClr val="accent5">
                  <a:lumMod val="50000"/>
                  <a:shade val="95000"/>
                </a:schemeClr>
              </a:solidFill>
              <a:round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  <a:sp3d contourW="9525">
              <a:contourClr>
                <a:schemeClr val="accent5">
                  <a:lumMod val="50000"/>
                  <a:shade val="95000"/>
                </a:schemeClr>
              </a:contourClr>
            </a:sp3d>
          </c:spPr>
          <c:cat>
            <c:numRef>
              <c:f>Sheet1!$B$1:$BH$1</c:f>
              <c:numCache>
                <c:formatCode>General</c:formatCode>
                <c:ptCount val="59"/>
                <c:pt idx="0">
                  <c:v>40</c:v>
                </c:pt>
                <c:pt idx="1">
                  <c:v>42.5</c:v>
                </c:pt>
                <c:pt idx="2">
                  <c:v>45</c:v>
                </c:pt>
                <c:pt idx="3">
                  <c:v>47.5</c:v>
                </c:pt>
                <c:pt idx="4">
                  <c:v>50</c:v>
                </c:pt>
                <c:pt idx="5">
                  <c:v>52.5</c:v>
                </c:pt>
                <c:pt idx="6">
                  <c:v>55</c:v>
                </c:pt>
                <c:pt idx="7">
                  <c:v>57.5</c:v>
                </c:pt>
                <c:pt idx="8">
                  <c:v>60</c:v>
                </c:pt>
                <c:pt idx="9">
                  <c:v>62.5</c:v>
                </c:pt>
                <c:pt idx="10">
                  <c:v>65</c:v>
                </c:pt>
                <c:pt idx="11">
                  <c:v>67.5</c:v>
                </c:pt>
                <c:pt idx="12">
                  <c:v>70</c:v>
                </c:pt>
                <c:pt idx="13">
                  <c:v>72.5</c:v>
                </c:pt>
                <c:pt idx="14">
                  <c:v>75</c:v>
                </c:pt>
                <c:pt idx="15">
                  <c:v>77.5</c:v>
                </c:pt>
                <c:pt idx="16">
                  <c:v>80</c:v>
                </c:pt>
                <c:pt idx="17">
                  <c:v>82.5</c:v>
                </c:pt>
                <c:pt idx="18">
                  <c:v>85</c:v>
                </c:pt>
                <c:pt idx="19">
                  <c:v>87.5</c:v>
                </c:pt>
                <c:pt idx="20">
                  <c:v>90</c:v>
                </c:pt>
                <c:pt idx="21">
                  <c:v>92.5</c:v>
                </c:pt>
                <c:pt idx="22">
                  <c:v>95</c:v>
                </c:pt>
                <c:pt idx="23">
                  <c:v>97.5</c:v>
                </c:pt>
                <c:pt idx="24">
                  <c:v>100</c:v>
                </c:pt>
                <c:pt idx="25">
                  <c:v>102.5</c:v>
                </c:pt>
                <c:pt idx="26">
                  <c:v>105</c:v>
                </c:pt>
                <c:pt idx="27">
                  <c:v>107.5</c:v>
                </c:pt>
                <c:pt idx="28">
                  <c:v>110</c:v>
                </c:pt>
                <c:pt idx="29">
                  <c:v>112.5</c:v>
                </c:pt>
                <c:pt idx="30">
                  <c:v>115</c:v>
                </c:pt>
                <c:pt idx="31">
                  <c:v>117.5</c:v>
                </c:pt>
                <c:pt idx="32">
                  <c:v>120</c:v>
                </c:pt>
                <c:pt idx="33">
                  <c:v>122.5</c:v>
                </c:pt>
                <c:pt idx="34">
                  <c:v>125</c:v>
                </c:pt>
                <c:pt idx="35">
                  <c:v>127.5</c:v>
                </c:pt>
                <c:pt idx="36">
                  <c:v>130</c:v>
                </c:pt>
                <c:pt idx="37">
                  <c:v>132.5</c:v>
                </c:pt>
                <c:pt idx="38">
                  <c:v>135</c:v>
                </c:pt>
                <c:pt idx="39">
                  <c:v>137.5</c:v>
                </c:pt>
                <c:pt idx="40">
                  <c:v>140</c:v>
                </c:pt>
                <c:pt idx="41">
                  <c:v>142.5</c:v>
                </c:pt>
                <c:pt idx="42">
                  <c:v>145</c:v>
                </c:pt>
                <c:pt idx="43">
                  <c:v>147.5</c:v>
                </c:pt>
                <c:pt idx="44">
                  <c:v>150</c:v>
                </c:pt>
                <c:pt idx="45">
                  <c:v>152.5</c:v>
                </c:pt>
                <c:pt idx="46">
                  <c:v>155</c:v>
                </c:pt>
                <c:pt idx="47">
                  <c:v>157.5</c:v>
                </c:pt>
                <c:pt idx="48">
                  <c:v>160</c:v>
                </c:pt>
                <c:pt idx="49">
                  <c:v>162.5</c:v>
                </c:pt>
                <c:pt idx="50">
                  <c:v>165</c:v>
                </c:pt>
                <c:pt idx="51">
                  <c:v>167.5</c:v>
                </c:pt>
                <c:pt idx="52">
                  <c:v>170</c:v>
                </c:pt>
                <c:pt idx="53">
                  <c:v>172.5</c:v>
                </c:pt>
                <c:pt idx="54">
                  <c:v>175</c:v>
                </c:pt>
                <c:pt idx="55">
                  <c:v>177.5</c:v>
                </c:pt>
                <c:pt idx="56">
                  <c:v>180</c:v>
                </c:pt>
                <c:pt idx="57">
                  <c:v>182.5</c:v>
                </c:pt>
                <c:pt idx="58">
                  <c:v>1000</c:v>
                </c:pt>
              </c:numCache>
            </c:numRef>
          </c:cat>
          <c:val>
            <c:numRef>
              <c:f>Sheet1!$B$36:$BH$36</c:f>
              <c:numCache>
                <c:formatCode>General</c:formatCode>
                <c:ptCount val="59"/>
                <c:pt idx="0">
                  <c:v>0.27502924709368942</c:v>
                </c:pt>
                <c:pt idx="1">
                  <c:v>0.27270880078577392</c:v>
                </c:pt>
                <c:pt idx="2">
                  <c:v>0.27010254564483671</c:v>
                </c:pt>
                <c:pt idx="3">
                  <c:v>0.26806844081435321</c:v>
                </c:pt>
                <c:pt idx="4">
                  <c:v>0.28023331917481031</c:v>
                </c:pt>
                <c:pt idx="5">
                  <c:v>0.28893073614589199</c:v>
                </c:pt>
                <c:pt idx="6">
                  <c:v>0.28705085748265668</c:v>
                </c:pt>
                <c:pt idx="7">
                  <c:v>0.28288084783647849</c:v>
                </c:pt>
                <c:pt idx="8">
                  <c:v>0.2721122167367912</c:v>
                </c:pt>
                <c:pt idx="9">
                  <c:v>0.26743020429895842</c:v>
                </c:pt>
                <c:pt idx="10">
                  <c:v>0.26449283745100283</c:v>
                </c:pt>
                <c:pt idx="11">
                  <c:v>0.26556507751626479</c:v>
                </c:pt>
                <c:pt idx="12">
                  <c:v>0.26553817062196999</c:v>
                </c:pt>
                <c:pt idx="13">
                  <c:v>0.26198553326483948</c:v>
                </c:pt>
                <c:pt idx="14">
                  <c:v>0.25866264692361718</c:v>
                </c:pt>
                <c:pt idx="15">
                  <c:v>0.244100537194367</c:v>
                </c:pt>
                <c:pt idx="16">
                  <c:v>0.2344744624307506</c:v>
                </c:pt>
                <c:pt idx="17">
                  <c:v>0.23144070854772511</c:v>
                </c:pt>
                <c:pt idx="18">
                  <c:v>0.23850282122174071</c:v>
                </c:pt>
                <c:pt idx="19">
                  <c:v>0.24123014127411471</c:v>
                </c:pt>
                <c:pt idx="20">
                  <c:v>0.21012884455659361</c:v>
                </c:pt>
                <c:pt idx="21">
                  <c:v>0.2035301000249615</c:v>
                </c:pt>
                <c:pt idx="22">
                  <c:v>0.27806690031399728</c:v>
                </c:pt>
                <c:pt idx="23">
                  <c:v>0.35683254625433791</c:v>
                </c:pt>
                <c:pt idx="24">
                  <c:v>0.23260223557109849</c:v>
                </c:pt>
                <c:pt idx="25">
                  <c:v>0.18281121629399119</c:v>
                </c:pt>
                <c:pt idx="26">
                  <c:v>0.1743938652072651</c:v>
                </c:pt>
                <c:pt idx="27">
                  <c:v>0.20325873683414489</c:v>
                </c:pt>
                <c:pt idx="28">
                  <c:v>0.28296253197137472</c:v>
                </c:pt>
                <c:pt idx="29">
                  <c:v>0.32746282939928772</c:v>
                </c:pt>
                <c:pt idx="30">
                  <c:v>0.1747862166030629</c:v>
                </c:pt>
                <c:pt idx="31">
                  <c:v>0.13916275452709409</c:v>
                </c:pt>
                <c:pt idx="32">
                  <c:v>0.18951356347309189</c:v>
                </c:pt>
                <c:pt idx="33">
                  <c:v>0.25042737243946739</c:v>
                </c:pt>
                <c:pt idx="34">
                  <c:v>0.23250639037482251</c:v>
                </c:pt>
                <c:pt idx="35">
                  <c:v>0.18419895036176309</c:v>
                </c:pt>
                <c:pt idx="36">
                  <c:v>0.1737969159218927</c:v>
                </c:pt>
                <c:pt idx="37">
                  <c:v>0.17162872138680549</c:v>
                </c:pt>
                <c:pt idx="38">
                  <c:v>0.166755717034548</c:v>
                </c:pt>
                <c:pt idx="39">
                  <c:v>0.15917848209106589</c:v>
                </c:pt>
                <c:pt idx="40">
                  <c:v>0.1575632499439987</c:v>
                </c:pt>
                <c:pt idx="41">
                  <c:v>0.1548774029357855</c:v>
                </c:pt>
                <c:pt idx="42">
                  <c:v>0.15557319965210159</c:v>
                </c:pt>
                <c:pt idx="43">
                  <c:v>0.17064603895810551</c:v>
                </c:pt>
                <c:pt idx="44">
                  <c:v>0.1712120127773416</c:v>
                </c:pt>
                <c:pt idx="45">
                  <c:v>0.18826072571517091</c:v>
                </c:pt>
                <c:pt idx="46">
                  <c:v>0.19190225649777359</c:v>
                </c:pt>
                <c:pt idx="47">
                  <c:v>0.17813751648074139</c:v>
                </c:pt>
                <c:pt idx="48">
                  <c:v>0.17552321231081819</c:v>
                </c:pt>
                <c:pt idx="49">
                  <c:v>0.1645147864120074</c:v>
                </c:pt>
                <c:pt idx="50">
                  <c:v>0.16563245645368391</c:v>
                </c:pt>
                <c:pt idx="51">
                  <c:v>0.16865784970132761</c:v>
                </c:pt>
                <c:pt idx="52">
                  <c:v>0.167169368969802</c:v>
                </c:pt>
                <c:pt idx="53">
                  <c:v>0.16573386166318921</c:v>
                </c:pt>
                <c:pt idx="54">
                  <c:v>0.16434957015195001</c:v>
                </c:pt>
                <c:pt idx="55">
                  <c:v>0.16301481948848301</c:v>
                </c:pt>
                <c:pt idx="56">
                  <c:v>0.11461050297441359</c:v>
                </c:pt>
                <c:pt idx="57">
                  <c:v>0.1891216330960436</c:v>
                </c:pt>
                <c:pt idx="58">
                  <c:v>0.5262941060558006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2-DBE2-48CC-8485-F6B125FAE53C}"/>
            </c:ext>
          </c:extLst>
        </c:ser>
        <c:ser>
          <c:idx val="35"/>
          <c:order val="35"/>
          <c:tx>
            <c:strRef>
              <c:f>Sheet1!$A$37</c:f>
              <c:strCache>
                <c:ptCount val="1"/>
                <c:pt idx="0">
                  <c:v>8.25</c:v>
                </c:pt>
              </c:strCache>
            </c:strRef>
          </c:tx>
          <c:spPr>
            <a:gradFill rotWithShape="1">
              <a:gsLst>
                <a:gs pos="0">
                  <a:schemeClr val="accent6">
                    <a:lumMod val="50000"/>
                    <a:tint val="50000"/>
                    <a:satMod val="300000"/>
                  </a:schemeClr>
                </a:gs>
                <a:gs pos="35000">
                  <a:schemeClr val="accent6">
                    <a:lumMod val="50000"/>
                    <a:tint val="37000"/>
                    <a:satMod val="300000"/>
                  </a:schemeClr>
                </a:gs>
                <a:gs pos="100000">
                  <a:schemeClr val="accent6">
                    <a:lumMod val="50000"/>
                    <a:tint val="15000"/>
                    <a:satMod val="350000"/>
                  </a:schemeClr>
                </a:gs>
              </a:gsLst>
              <a:lin ang="16200000" scaled="1"/>
            </a:gradFill>
            <a:ln w="9525" cap="flat" cmpd="sng" algn="ctr">
              <a:solidFill>
                <a:schemeClr val="accent6">
                  <a:lumMod val="50000"/>
                  <a:shade val="95000"/>
                </a:schemeClr>
              </a:solidFill>
              <a:round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  <a:sp3d contourW="9525">
              <a:contourClr>
                <a:schemeClr val="accent6">
                  <a:lumMod val="50000"/>
                  <a:shade val="95000"/>
                </a:schemeClr>
              </a:contourClr>
            </a:sp3d>
          </c:spPr>
          <c:cat>
            <c:numRef>
              <c:f>Sheet1!$B$1:$BH$1</c:f>
              <c:numCache>
                <c:formatCode>General</c:formatCode>
                <c:ptCount val="59"/>
                <c:pt idx="0">
                  <c:v>40</c:v>
                </c:pt>
                <c:pt idx="1">
                  <c:v>42.5</c:v>
                </c:pt>
                <c:pt idx="2">
                  <c:v>45</c:v>
                </c:pt>
                <c:pt idx="3">
                  <c:v>47.5</c:v>
                </c:pt>
                <c:pt idx="4">
                  <c:v>50</c:v>
                </c:pt>
                <c:pt idx="5">
                  <c:v>52.5</c:v>
                </c:pt>
                <c:pt idx="6">
                  <c:v>55</c:v>
                </c:pt>
                <c:pt idx="7">
                  <c:v>57.5</c:v>
                </c:pt>
                <c:pt idx="8">
                  <c:v>60</c:v>
                </c:pt>
                <c:pt idx="9">
                  <c:v>62.5</c:v>
                </c:pt>
                <c:pt idx="10">
                  <c:v>65</c:v>
                </c:pt>
                <c:pt idx="11">
                  <c:v>67.5</c:v>
                </c:pt>
                <c:pt idx="12">
                  <c:v>70</c:v>
                </c:pt>
                <c:pt idx="13">
                  <c:v>72.5</c:v>
                </c:pt>
                <c:pt idx="14">
                  <c:v>75</c:v>
                </c:pt>
                <c:pt idx="15">
                  <c:v>77.5</c:v>
                </c:pt>
                <c:pt idx="16">
                  <c:v>80</c:v>
                </c:pt>
                <c:pt idx="17">
                  <c:v>82.5</c:v>
                </c:pt>
                <c:pt idx="18">
                  <c:v>85</c:v>
                </c:pt>
                <c:pt idx="19">
                  <c:v>87.5</c:v>
                </c:pt>
                <c:pt idx="20">
                  <c:v>90</c:v>
                </c:pt>
                <c:pt idx="21">
                  <c:v>92.5</c:v>
                </c:pt>
                <c:pt idx="22">
                  <c:v>95</c:v>
                </c:pt>
                <c:pt idx="23">
                  <c:v>97.5</c:v>
                </c:pt>
                <c:pt idx="24">
                  <c:v>100</c:v>
                </c:pt>
                <c:pt idx="25">
                  <c:v>102.5</c:v>
                </c:pt>
                <c:pt idx="26">
                  <c:v>105</c:v>
                </c:pt>
                <c:pt idx="27">
                  <c:v>107.5</c:v>
                </c:pt>
                <c:pt idx="28">
                  <c:v>110</c:v>
                </c:pt>
                <c:pt idx="29">
                  <c:v>112.5</c:v>
                </c:pt>
                <c:pt idx="30">
                  <c:v>115</c:v>
                </c:pt>
                <c:pt idx="31">
                  <c:v>117.5</c:v>
                </c:pt>
                <c:pt idx="32">
                  <c:v>120</c:v>
                </c:pt>
                <c:pt idx="33">
                  <c:v>122.5</c:v>
                </c:pt>
                <c:pt idx="34">
                  <c:v>125</c:v>
                </c:pt>
                <c:pt idx="35">
                  <c:v>127.5</c:v>
                </c:pt>
                <c:pt idx="36">
                  <c:v>130</c:v>
                </c:pt>
                <c:pt idx="37">
                  <c:v>132.5</c:v>
                </c:pt>
                <c:pt idx="38">
                  <c:v>135</c:v>
                </c:pt>
                <c:pt idx="39">
                  <c:v>137.5</c:v>
                </c:pt>
                <c:pt idx="40">
                  <c:v>140</c:v>
                </c:pt>
                <c:pt idx="41">
                  <c:v>142.5</c:v>
                </c:pt>
                <c:pt idx="42">
                  <c:v>145</c:v>
                </c:pt>
                <c:pt idx="43">
                  <c:v>147.5</c:v>
                </c:pt>
                <c:pt idx="44">
                  <c:v>150</c:v>
                </c:pt>
                <c:pt idx="45">
                  <c:v>152.5</c:v>
                </c:pt>
                <c:pt idx="46">
                  <c:v>155</c:v>
                </c:pt>
                <c:pt idx="47">
                  <c:v>157.5</c:v>
                </c:pt>
                <c:pt idx="48">
                  <c:v>160</c:v>
                </c:pt>
                <c:pt idx="49">
                  <c:v>162.5</c:v>
                </c:pt>
                <c:pt idx="50">
                  <c:v>165</c:v>
                </c:pt>
                <c:pt idx="51">
                  <c:v>167.5</c:v>
                </c:pt>
                <c:pt idx="52">
                  <c:v>170</c:v>
                </c:pt>
                <c:pt idx="53">
                  <c:v>172.5</c:v>
                </c:pt>
                <c:pt idx="54">
                  <c:v>175</c:v>
                </c:pt>
                <c:pt idx="55">
                  <c:v>177.5</c:v>
                </c:pt>
                <c:pt idx="56">
                  <c:v>180</c:v>
                </c:pt>
                <c:pt idx="57">
                  <c:v>182.5</c:v>
                </c:pt>
                <c:pt idx="58">
                  <c:v>1000</c:v>
                </c:pt>
              </c:numCache>
            </c:numRef>
          </c:cat>
          <c:val>
            <c:numRef>
              <c:f>Sheet1!$B$37:$BH$37</c:f>
              <c:numCache>
                <c:formatCode>General</c:formatCode>
                <c:ptCount val="59"/>
                <c:pt idx="0">
                  <c:v>0.27402462323860838</c:v>
                </c:pt>
                <c:pt idx="1">
                  <c:v>0.27187859306201823</c:v>
                </c:pt>
                <c:pt idx="2">
                  <c:v>0.26943687577724029</c:v>
                </c:pt>
                <c:pt idx="3">
                  <c:v>0.26774390514851898</c:v>
                </c:pt>
                <c:pt idx="4">
                  <c:v>0.28049483697532263</c:v>
                </c:pt>
                <c:pt idx="5">
                  <c:v>0.2885327992539613</c:v>
                </c:pt>
                <c:pt idx="6">
                  <c:v>0.28672444566470112</c:v>
                </c:pt>
                <c:pt idx="7">
                  <c:v>0.28216342357736229</c:v>
                </c:pt>
                <c:pt idx="8">
                  <c:v>0.27050986072642041</c:v>
                </c:pt>
                <c:pt idx="9">
                  <c:v>0.26595273223887428</c:v>
                </c:pt>
                <c:pt idx="10">
                  <c:v>0.26304814818725092</c:v>
                </c:pt>
                <c:pt idx="11">
                  <c:v>0.26517084503113492</c:v>
                </c:pt>
                <c:pt idx="12">
                  <c:v>0.26701778344580629</c:v>
                </c:pt>
                <c:pt idx="13">
                  <c:v>0.26366135295071541</c:v>
                </c:pt>
                <c:pt idx="14">
                  <c:v>0.26034026945607852</c:v>
                </c:pt>
                <c:pt idx="15">
                  <c:v>0.2430421647032657</c:v>
                </c:pt>
                <c:pt idx="16">
                  <c:v>0.23236705704835869</c:v>
                </c:pt>
                <c:pt idx="17">
                  <c:v>0.2295313750509497</c:v>
                </c:pt>
                <c:pt idx="18">
                  <c:v>0.2385438772812459</c:v>
                </c:pt>
                <c:pt idx="19">
                  <c:v>0.24032146022696341</c:v>
                </c:pt>
                <c:pt idx="20">
                  <c:v>0.20477537485097599</c:v>
                </c:pt>
                <c:pt idx="21">
                  <c:v>0.20051440122294559</c:v>
                </c:pt>
                <c:pt idx="22">
                  <c:v>0.29372235597096719</c:v>
                </c:pt>
                <c:pt idx="23">
                  <c:v>0.37097536444815671</c:v>
                </c:pt>
                <c:pt idx="24">
                  <c:v>0.23360386954170159</c:v>
                </c:pt>
                <c:pt idx="25">
                  <c:v>0.1872790829576671</c:v>
                </c:pt>
                <c:pt idx="26">
                  <c:v>0.17694883694953131</c:v>
                </c:pt>
                <c:pt idx="27">
                  <c:v>0.19770046425052851</c:v>
                </c:pt>
                <c:pt idx="28">
                  <c:v>0.25435937876680792</c:v>
                </c:pt>
                <c:pt idx="29">
                  <c:v>0.29819053562470788</c:v>
                </c:pt>
                <c:pt idx="30">
                  <c:v>0.18087016332149239</c:v>
                </c:pt>
                <c:pt idx="31">
                  <c:v>0.14460646142211961</c:v>
                </c:pt>
                <c:pt idx="32">
                  <c:v>0.19101324407186701</c:v>
                </c:pt>
                <c:pt idx="33">
                  <c:v>0.2416751857875459</c:v>
                </c:pt>
                <c:pt idx="34">
                  <c:v>0.22496870761557641</c:v>
                </c:pt>
                <c:pt idx="35">
                  <c:v>0.1840563404734222</c:v>
                </c:pt>
                <c:pt idx="36">
                  <c:v>0.1746977849385439</c:v>
                </c:pt>
                <c:pt idx="37">
                  <c:v>0.17233927667649551</c:v>
                </c:pt>
                <c:pt idx="38">
                  <c:v>0.167013323207407</c:v>
                </c:pt>
                <c:pt idx="39">
                  <c:v>0.1601074650039494</c:v>
                </c:pt>
                <c:pt idx="40">
                  <c:v>0.15854368307630401</c:v>
                </c:pt>
                <c:pt idx="41">
                  <c:v>0.15522844909159389</c:v>
                </c:pt>
                <c:pt idx="42">
                  <c:v>0.154544913469714</c:v>
                </c:pt>
                <c:pt idx="43">
                  <c:v>0.1671660043466871</c:v>
                </c:pt>
                <c:pt idx="44">
                  <c:v>0.16776308352407979</c:v>
                </c:pt>
                <c:pt idx="45">
                  <c:v>0.1889592945678307</c:v>
                </c:pt>
                <c:pt idx="46">
                  <c:v>0.19715577712794541</c:v>
                </c:pt>
                <c:pt idx="47">
                  <c:v>0.18359181546040951</c:v>
                </c:pt>
                <c:pt idx="48">
                  <c:v>0.1802030942448436</c:v>
                </c:pt>
                <c:pt idx="49">
                  <c:v>0.16585112769061919</c:v>
                </c:pt>
                <c:pt idx="50">
                  <c:v>0.1657333253511889</c:v>
                </c:pt>
                <c:pt idx="51">
                  <c:v>0.16816860019762159</c:v>
                </c:pt>
                <c:pt idx="52">
                  <c:v>0.16668115461380731</c:v>
                </c:pt>
                <c:pt idx="53">
                  <c:v>0.16524656662158721</c:v>
                </c:pt>
                <c:pt idx="54">
                  <c:v>0.16386308987368059</c:v>
                </c:pt>
                <c:pt idx="55">
                  <c:v>0.1625290598541817</c:v>
                </c:pt>
                <c:pt idx="56">
                  <c:v>0.11221523770871721</c:v>
                </c:pt>
                <c:pt idx="57">
                  <c:v>0.18873612351949701</c:v>
                </c:pt>
                <c:pt idx="58">
                  <c:v>0.5278156369289085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3-DBE2-48CC-8485-F6B125FAE53C}"/>
            </c:ext>
          </c:extLst>
        </c:ser>
        <c:ser>
          <c:idx val="36"/>
          <c:order val="36"/>
          <c:tx>
            <c:strRef>
              <c:f>Sheet1!$A$38</c:f>
              <c:strCache>
                <c:ptCount val="1"/>
                <c:pt idx="0">
                  <c:v>8.5</c:v>
                </c:pt>
              </c:strCache>
            </c:strRef>
          </c:tx>
          <c:spPr>
            <a:gradFill rotWithShape="1">
              <a:gsLst>
                <a:gs pos="0">
                  <a:schemeClr val="accent1">
                    <a:lumMod val="70000"/>
                    <a:lumOff val="30000"/>
                    <a:tint val="50000"/>
                    <a:satMod val="300000"/>
                  </a:schemeClr>
                </a:gs>
                <a:gs pos="35000">
                  <a:schemeClr val="accent1">
                    <a:lumMod val="70000"/>
                    <a:lumOff val="30000"/>
                    <a:tint val="37000"/>
                    <a:satMod val="300000"/>
                  </a:schemeClr>
                </a:gs>
                <a:gs pos="100000">
                  <a:schemeClr val="accent1">
                    <a:lumMod val="70000"/>
                    <a:lumOff val="30000"/>
                    <a:tint val="15000"/>
                    <a:satMod val="350000"/>
                  </a:schemeClr>
                </a:gs>
              </a:gsLst>
              <a:lin ang="16200000" scaled="1"/>
            </a:gradFill>
            <a:ln w="9525" cap="flat" cmpd="sng" algn="ctr">
              <a:solidFill>
                <a:schemeClr val="accent1">
                  <a:lumMod val="70000"/>
                  <a:lumOff val="30000"/>
                  <a:shade val="95000"/>
                </a:schemeClr>
              </a:solidFill>
              <a:round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  <a:sp3d contourW="9525">
              <a:contourClr>
                <a:schemeClr val="accent1">
                  <a:lumMod val="70000"/>
                  <a:lumOff val="30000"/>
                  <a:shade val="95000"/>
                </a:schemeClr>
              </a:contourClr>
            </a:sp3d>
          </c:spPr>
          <c:cat>
            <c:numRef>
              <c:f>Sheet1!$B$1:$BH$1</c:f>
              <c:numCache>
                <c:formatCode>General</c:formatCode>
                <c:ptCount val="59"/>
                <c:pt idx="0">
                  <c:v>40</c:v>
                </c:pt>
                <c:pt idx="1">
                  <c:v>42.5</c:v>
                </c:pt>
                <c:pt idx="2">
                  <c:v>45</c:v>
                </c:pt>
                <c:pt idx="3">
                  <c:v>47.5</c:v>
                </c:pt>
                <c:pt idx="4">
                  <c:v>50</c:v>
                </c:pt>
                <c:pt idx="5">
                  <c:v>52.5</c:v>
                </c:pt>
                <c:pt idx="6">
                  <c:v>55</c:v>
                </c:pt>
                <c:pt idx="7">
                  <c:v>57.5</c:v>
                </c:pt>
                <c:pt idx="8">
                  <c:v>60</c:v>
                </c:pt>
                <c:pt idx="9">
                  <c:v>62.5</c:v>
                </c:pt>
                <c:pt idx="10">
                  <c:v>65</c:v>
                </c:pt>
                <c:pt idx="11">
                  <c:v>67.5</c:v>
                </c:pt>
                <c:pt idx="12">
                  <c:v>70</c:v>
                </c:pt>
                <c:pt idx="13">
                  <c:v>72.5</c:v>
                </c:pt>
                <c:pt idx="14">
                  <c:v>75</c:v>
                </c:pt>
                <c:pt idx="15">
                  <c:v>77.5</c:v>
                </c:pt>
                <c:pt idx="16">
                  <c:v>80</c:v>
                </c:pt>
                <c:pt idx="17">
                  <c:v>82.5</c:v>
                </c:pt>
                <c:pt idx="18">
                  <c:v>85</c:v>
                </c:pt>
                <c:pt idx="19">
                  <c:v>87.5</c:v>
                </c:pt>
                <c:pt idx="20">
                  <c:v>90</c:v>
                </c:pt>
                <c:pt idx="21">
                  <c:v>92.5</c:v>
                </c:pt>
                <c:pt idx="22">
                  <c:v>95</c:v>
                </c:pt>
                <c:pt idx="23">
                  <c:v>97.5</c:v>
                </c:pt>
                <c:pt idx="24">
                  <c:v>100</c:v>
                </c:pt>
                <c:pt idx="25">
                  <c:v>102.5</c:v>
                </c:pt>
                <c:pt idx="26">
                  <c:v>105</c:v>
                </c:pt>
                <c:pt idx="27">
                  <c:v>107.5</c:v>
                </c:pt>
                <c:pt idx="28">
                  <c:v>110</c:v>
                </c:pt>
                <c:pt idx="29">
                  <c:v>112.5</c:v>
                </c:pt>
                <c:pt idx="30">
                  <c:v>115</c:v>
                </c:pt>
                <c:pt idx="31">
                  <c:v>117.5</c:v>
                </c:pt>
                <c:pt idx="32">
                  <c:v>120</c:v>
                </c:pt>
                <c:pt idx="33">
                  <c:v>122.5</c:v>
                </c:pt>
                <c:pt idx="34">
                  <c:v>125</c:v>
                </c:pt>
                <c:pt idx="35">
                  <c:v>127.5</c:v>
                </c:pt>
                <c:pt idx="36">
                  <c:v>130</c:v>
                </c:pt>
                <c:pt idx="37">
                  <c:v>132.5</c:v>
                </c:pt>
                <c:pt idx="38">
                  <c:v>135</c:v>
                </c:pt>
                <c:pt idx="39">
                  <c:v>137.5</c:v>
                </c:pt>
                <c:pt idx="40">
                  <c:v>140</c:v>
                </c:pt>
                <c:pt idx="41">
                  <c:v>142.5</c:v>
                </c:pt>
                <c:pt idx="42">
                  <c:v>145</c:v>
                </c:pt>
                <c:pt idx="43">
                  <c:v>147.5</c:v>
                </c:pt>
                <c:pt idx="44">
                  <c:v>150</c:v>
                </c:pt>
                <c:pt idx="45">
                  <c:v>152.5</c:v>
                </c:pt>
                <c:pt idx="46">
                  <c:v>155</c:v>
                </c:pt>
                <c:pt idx="47">
                  <c:v>157.5</c:v>
                </c:pt>
                <c:pt idx="48">
                  <c:v>160</c:v>
                </c:pt>
                <c:pt idx="49">
                  <c:v>162.5</c:v>
                </c:pt>
                <c:pt idx="50">
                  <c:v>165</c:v>
                </c:pt>
                <c:pt idx="51">
                  <c:v>167.5</c:v>
                </c:pt>
                <c:pt idx="52">
                  <c:v>170</c:v>
                </c:pt>
                <c:pt idx="53">
                  <c:v>172.5</c:v>
                </c:pt>
                <c:pt idx="54">
                  <c:v>175</c:v>
                </c:pt>
                <c:pt idx="55">
                  <c:v>177.5</c:v>
                </c:pt>
                <c:pt idx="56">
                  <c:v>180</c:v>
                </c:pt>
                <c:pt idx="57">
                  <c:v>182.5</c:v>
                </c:pt>
                <c:pt idx="58">
                  <c:v>1000</c:v>
                </c:pt>
              </c:numCache>
            </c:numRef>
          </c:cat>
          <c:val>
            <c:numRef>
              <c:f>Sheet1!$B$38:$BH$38</c:f>
              <c:numCache>
                <c:formatCode>General</c:formatCode>
                <c:ptCount val="59"/>
                <c:pt idx="0">
                  <c:v>0.27310832009487002</c:v>
                </c:pt>
                <c:pt idx="1">
                  <c:v>0.27112948447625568</c:v>
                </c:pt>
                <c:pt idx="2">
                  <c:v>0.26884480127348098</c:v>
                </c:pt>
                <c:pt idx="3">
                  <c:v>0.26748448761469962</c:v>
                </c:pt>
                <c:pt idx="4">
                  <c:v>0.2808250129656904</c:v>
                </c:pt>
                <c:pt idx="5">
                  <c:v>0.28820226823127582</c:v>
                </c:pt>
                <c:pt idx="6">
                  <c:v>0.28646147181264081</c:v>
                </c:pt>
                <c:pt idx="7">
                  <c:v>0.28150849700953068</c:v>
                </c:pt>
                <c:pt idx="8">
                  <c:v>0.26898501493963473</c:v>
                </c:pt>
                <c:pt idx="9">
                  <c:v>0.26454930492201578</c:v>
                </c:pt>
                <c:pt idx="10">
                  <c:v>0.26167710193582411</c:v>
                </c:pt>
                <c:pt idx="11">
                  <c:v>0.26483228954999721</c:v>
                </c:pt>
                <c:pt idx="12">
                  <c:v>0.26857671029786379</c:v>
                </c:pt>
                <c:pt idx="13">
                  <c:v>0.26541440509662378</c:v>
                </c:pt>
                <c:pt idx="14">
                  <c:v>0.26208643283703748</c:v>
                </c:pt>
                <c:pt idx="15">
                  <c:v>0.24201995121805281</c:v>
                </c:pt>
                <c:pt idx="16">
                  <c:v>0.23033500561670001</c:v>
                </c:pt>
                <c:pt idx="17">
                  <c:v>0.22768940069886179</c:v>
                </c:pt>
                <c:pt idx="18">
                  <c:v>0.23861047771513141</c:v>
                </c:pt>
                <c:pt idx="19">
                  <c:v>0.23944599951557949</c:v>
                </c:pt>
                <c:pt idx="20">
                  <c:v>0.19982419953612551</c:v>
                </c:pt>
                <c:pt idx="21">
                  <c:v>0.1976471480491496</c:v>
                </c:pt>
                <c:pt idx="22">
                  <c:v>0.31243808931131251</c:v>
                </c:pt>
                <c:pt idx="23">
                  <c:v>0.38701960879856312</c:v>
                </c:pt>
                <c:pt idx="24">
                  <c:v>0.2346298856438333</c:v>
                </c:pt>
                <c:pt idx="25">
                  <c:v>0.19209492493481931</c:v>
                </c:pt>
                <c:pt idx="26">
                  <c:v>0.17961884195771649</c:v>
                </c:pt>
                <c:pt idx="27">
                  <c:v>0.19257496779568881</c:v>
                </c:pt>
                <c:pt idx="28">
                  <c:v>0.2329737458856222</c:v>
                </c:pt>
                <c:pt idx="29">
                  <c:v>0.27555822574486938</c:v>
                </c:pt>
                <c:pt idx="30">
                  <c:v>0.18762675496579781</c:v>
                </c:pt>
                <c:pt idx="31">
                  <c:v>0.15073381633837901</c:v>
                </c:pt>
                <c:pt idx="32">
                  <c:v>0.19254384527113</c:v>
                </c:pt>
                <c:pt idx="33">
                  <c:v>0.23377783519426851</c:v>
                </c:pt>
                <c:pt idx="34">
                  <c:v>0.2180975494225777</c:v>
                </c:pt>
                <c:pt idx="35">
                  <c:v>0.1838869951256133</c:v>
                </c:pt>
                <c:pt idx="36">
                  <c:v>0.17558500000944691</c:v>
                </c:pt>
                <c:pt idx="37">
                  <c:v>0.17303122911884841</c:v>
                </c:pt>
                <c:pt idx="38">
                  <c:v>0.16724676625426019</c:v>
                </c:pt>
                <c:pt idx="39">
                  <c:v>0.1610295875464163</c:v>
                </c:pt>
                <c:pt idx="40">
                  <c:v>0.15952347785839879</c:v>
                </c:pt>
                <c:pt idx="41">
                  <c:v>0.15556920893991649</c:v>
                </c:pt>
                <c:pt idx="42">
                  <c:v>0.1535288398836627</c:v>
                </c:pt>
                <c:pt idx="43">
                  <c:v>0.1638794223973627</c:v>
                </c:pt>
                <c:pt idx="44">
                  <c:v>0.1644885307242859</c:v>
                </c:pt>
                <c:pt idx="45">
                  <c:v>0.18960002942881721</c:v>
                </c:pt>
                <c:pt idx="46">
                  <c:v>0.20277664975543469</c:v>
                </c:pt>
                <c:pt idx="47">
                  <c:v>0.18952004469352551</c:v>
                </c:pt>
                <c:pt idx="48">
                  <c:v>0.1852490553337133</c:v>
                </c:pt>
                <c:pt idx="49">
                  <c:v>0.16722053982554549</c:v>
                </c:pt>
                <c:pt idx="50">
                  <c:v>0.16584633113486369</c:v>
                </c:pt>
                <c:pt idx="51">
                  <c:v>0.1677011866774808</c:v>
                </c:pt>
                <c:pt idx="52">
                  <c:v>0.1662151036023313</c:v>
                </c:pt>
                <c:pt idx="53">
                  <c:v>0.16478174793641409</c:v>
                </c:pt>
                <c:pt idx="54">
                  <c:v>0.16339938490034939</c:v>
                </c:pt>
                <c:pt idx="55">
                  <c:v>0.1620663606893511</c:v>
                </c:pt>
                <c:pt idx="56">
                  <c:v>0.1099702118012746</c:v>
                </c:pt>
                <c:pt idx="57">
                  <c:v>0.18835296186528391</c:v>
                </c:pt>
                <c:pt idx="58">
                  <c:v>0.5285735244690434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4-DBE2-48CC-8485-F6B125FAE53C}"/>
            </c:ext>
          </c:extLst>
        </c:ser>
        <c:ser>
          <c:idx val="37"/>
          <c:order val="37"/>
          <c:tx>
            <c:strRef>
              <c:f>Sheet1!$A$39</c:f>
              <c:strCache>
                <c:ptCount val="1"/>
                <c:pt idx="0">
                  <c:v>8.75</c:v>
                </c:pt>
              </c:strCache>
            </c:strRef>
          </c:tx>
          <c:spPr>
            <a:gradFill rotWithShape="1">
              <a:gsLst>
                <a:gs pos="0">
                  <a:schemeClr val="accent2">
                    <a:lumMod val="70000"/>
                    <a:lumOff val="30000"/>
                    <a:tint val="50000"/>
                    <a:satMod val="300000"/>
                  </a:schemeClr>
                </a:gs>
                <a:gs pos="35000">
                  <a:schemeClr val="accent2">
                    <a:lumMod val="70000"/>
                    <a:lumOff val="30000"/>
                    <a:tint val="37000"/>
                    <a:satMod val="300000"/>
                  </a:schemeClr>
                </a:gs>
                <a:gs pos="100000">
                  <a:schemeClr val="accent2">
                    <a:lumMod val="70000"/>
                    <a:lumOff val="30000"/>
                    <a:tint val="15000"/>
                    <a:satMod val="350000"/>
                  </a:schemeClr>
                </a:gs>
              </a:gsLst>
              <a:lin ang="16200000" scaled="1"/>
            </a:gradFill>
            <a:ln w="9525" cap="flat" cmpd="sng" algn="ctr">
              <a:solidFill>
                <a:schemeClr val="accent2">
                  <a:lumMod val="70000"/>
                  <a:lumOff val="30000"/>
                  <a:shade val="95000"/>
                </a:schemeClr>
              </a:solidFill>
              <a:round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  <a:sp3d contourW="9525">
              <a:contourClr>
                <a:schemeClr val="accent2">
                  <a:lumMod val="70000"/>
                  <a:lumOff val="30000"/>
                  <a:shade val="95000"/>
                </a:schemeClr>
              </a:contourClr>
            </a:sp3d>
          </c:spPr>
          <c:cat>
            <c:numRef>
              <c:f>Sheet1!$B$1:$BH$1</c:f>
              <c:numCache>
                <c:formatCode>General</c:formatCode>
                <c:ptCount val="59"/>
                <c:pt idx="0">
                  <c:v>40</c:v>
                </c:pt>
                <c:pt idx="1">
                  <c:v>42.5</c:v>
                </c:pt>
                <c:pt idx="2">
                  <c:v>45</c:v>
                </c:pt>
                <c:pt idx="3">
                  <c:v>47.5</c:v>
                </c:pt>
                <c:pt idx="4">
                  <c:v>50</c:v>
                </c:pt>
                <c:pt idx="5">
                  <c:v>52.5</c:v>
                </c:pt>
                <c:pt idx="6">
                  <c:v>55</c:v>
                </c:pt>
                <c:pt idx="7">
                  <c:v>57.5</c:v>
                </c:pt>
                <c:pt idx="8">
                  <c:v>60</c:v>
                </c:pt>
                <c:pt idx="9">
                  <c:v>62.5</c:v>
                </c:pt>
                <c:pt idx="10">
                  <c:v>65</c:v>
                </c:pt>
                <c:pt idx="11">
                  <c:v>67.5</c:v>
                </c:pt>
                <c:pt idx="12">
                  <c:v>70</c:v>
                </c:pt>
                <c:pt idx="13">
                  <c:v>72.5</c:v>
                </c:pt>
                <c:pt idx="14">
                  <c:v>75</c:v>
                </c:pt>
                <c:pt idx="15">
                  <c:v>77.5</c:v>
                </c:pt>
                <c:pt idx="16">
                  <c:v>80</c:v>
                </c:pt>
                <c:pt idx="17">
                  <c:v>82.5</c:v>
                </c:pt>
                <c:pt idx="18">
                  <c:v>85</c:v>
                </c:pt>
                <c:pt idx="19">
                  <c:v>87.5</c:v>
                </c:pt>
                <c:pt idx="20">
                  <c:v>90</c:v>
                </c:pt>
                <c:pt idx="21">
                  <c:v>92.5</c:v>
                </c:pt>
                <c:pt idx="22">
                  <c:v>95</c:v>
                </c:pt>
                <c:pt idx="23">
                  <c:v>97.5</c:v>
                </c:pt>
                <c:pt idx="24">
                  <c:v>100</c:v>
                </c:pt>
                <c:pt idx="25">
                  <c:v>102.5</c:v>
                </c:pt>
                <c:pt idx="26">
                  <c:v>105</c:v>
                </c:pt>
                <c:pt idx="27">
                  <c:v>107.5</c:v>
                </c:pt>
                <c:pt idx="28">
                  <c:v>110</c:v>
                </c:pt>
                <c:pt idx="29">
                  <c:v>112.5</c:v>
                </c:pt>
                <c:pt idx="30">
                  <c:v>115</c:v>
                </c:pt>
                <c:pt idx="31">
                  <c:v>117.5</c:v>
                </c:pt>
                <c:pt idx="32">
                  <c:v>120</c:v>
                </c:pt>
                <c:pt idx="33">
                  <c:v>122.5</c:v>
                </c:pt>
                <c:pt idx="34">
                  <c:v>125</c:v>
                </c:pt>
                <c:pt idx="35">
                  <c:v>127.5</c:v>
                </c:pt>
                <c:pt idx="36">
                  <c:v>130</c:v>
                </c:pt>
                <c:pt idx="37">
                  <c:v>132.5</c:v>
                </c:pt>
                <c:pt idx="38">
                  <c:v>135</c:v>
                </c:pt>
                <c:pt idx="39">
                  <c:v>137.5</c:v>
                </c:pt>
                <c:pt idx="40">
                  <c:v>140</c:v>
                </c:pt>
                <c:pt idx="41">
                  <c:v>142.5</c:v>
                </c:pt>
                <c:pt idx="42">
                  <c:v>145</c:v>
                </c:pt>
                <c:pt idx="43">
                  <c:v>147.5</c:v>
                </c:pt>
                <c:pt idx="44">
                  <c:v>150</c:v>
                </c:pt>
                <c:pt idx="45">
                  <c:v>152.5</c:v>
                </c:pt>
                <c:pt idx="46">
                  <c:v>155</c:v>
                </c:pt>
                <c:pt idx="47">
                  <c:v>157.5</c:v>
                </c:pt>
                <c:pt idx="48">
                  <c:v>160</c:v>
                </c:pt>
                <c:pt idx="49">
                  <c:v>162.5</c:v>
                </c:pt>
                <c:pt idx="50">
                  <c:v>165</c:v>
                </c:pt>
                <c:pt idx="51">
                  <c:v>167.5</c:v>
                </c:pt>
                <c:pt idx="52">
                  <c:v>170</c:v>
                </c:pt>
                <c:pt idx="53">
                  <c:v>172.5</c:v>
                </c:pt>
                <c:pt idx="54">
                  <c:v>175</c:v>
                </c:pt>
                <c:pt idx="55">
                  <c:v>177.5</c:v>
                </c:pt>
                <c:pt idx="56">
                  <c:v>180</c:v>
                </c:pt>
                <c:pt idx="57">
                  <c:v>182.5</c:v>
                </c:pt>
                <c:pt idx="58">
                  <c:v>1000</c:v>
                </c:pt>
              </c:numCache>
            </c:numRef>
          </c:cat>
          <c:val>
            <c:numRef>
              <c:f>Sheet1!$B$39:$BH$39</c:f>
              <c:numCache>
                <c:formatCode>General</c:formatCode>
                <c:ptCount val="59"/>
                <c:pt idx="0">
                  <c:v>0.27227397665129383</c:v>
                </c:pt>
                <c:pt idx="1">
                  <c:v>0.27045555138229571</c:v>
                </c:pt>
                <c:pt idx="2">
                  <c:v>0.26832089888725291</c:v>
                </c:pt>
                <c:pt idx="3">
                  <c:v>0.26728565051609582</c:v>
                </c:pt>
                <c:pt idx="4">
                  <c:v>0.28122010169021339</c:v>
                </c:pt>
                <c:pt idx="5">
                  <c:v>0.28793397299975709</c:v>
                </c:pt>
                <c:pt idx="6">
                  <c:v>0.28625704107016792</c:v>
                </c:pt>
                <c:pt idx="7">
                  <c:v>0.28091072124072891</c:v>
                </c:pt>
                <c:pt idx="8">
                  <c:v>0.2675308041477234</c:v>
                </c:pt>
                <c:pt idx="9">
                  <c:v>0.26321324278430441</c:v>
                </c:pt>
                <c:pt idx="10">
                  <c:v>0.26037294878940431</c:v>
                </c:pt>
                <c:pt idx="11">
                  <c:v>0.26454455847254871</c:v>
                </c:pt>
                <c:pt idx="12">
                  <c:v>0.27021411848978771</c:v>
                </c:pt>
                <c:pt idx="13">
                  <c:v>0.26724472643503377</c:v>
                </c:pt>
                <c:pt idx="14">
                  <c:v>0.26390137989686901</c:v>
                </c:pt>
                <c:pt idx="15">
                  <c:v>0.24103087282894109</c:v>
                </c:pt>
                <c:pt idx="16">
                  <c:v>0.22837274610042479</c:v>
                </c:pt>
                <c:pt idx="17">
                  <c:v>0.225909668791792</c:v>
                </c:pt>
                <c:pt idx="18">
                  <c:v>0.2387004062361022</c:v>
                </c:pt>
                <c:pt idx="19">
                  <c:v>0.23860075715165041</c:v>
                </c:pt>
                <c:pt idx="20">
                  <c:v>0.19522656606659761</c:v>
                </c:pt>
                <c:pt idx="21">
                  <c:v>0.1949153394299333</c:v>
                </c:pt>
                <c:pt idx="22">
                  <c:v>0.33534539701696142</c:v>
                </c:pt>
                <c:pt idx="23">
                  <c:v>0.40542068333495818</c:v>
                </c:pt>
                <c:pt idx="24">
                  <c:v>0.23567988626937089</c:v>
                </c:pt>
                <c:pt idx="25">
                  <c:v>0.19730591145038759</c:v>
                </c:pt>
                <c:pt idx="26">
                  <c:v>0.18241289405486491</c:v>
                </c:pt>
                <c:pt idx="27">
                  <c:v>0.18782889017278989</c:v>
                </c:pt>
                <c:pt idx="28">
                  <c:v>0.2162052948163169</c:v>
                </c:pt>
                <c:pt idx="29">
                  <c:v>0.25738454077576561</c:v>
                </c:pt>
                <c:pt idx="30">
                  <c:v>0.1951916721550585</c:v>
                </c:pt>
                <c:pt idx="31">
                  <c:v>0.15770274132502471</c:v>
                </c:pt>
                <c:pt idx="32">
                  <c:v>0.1941071065538926</c:v>
                </c:pt>
                <c:pt idx="33">
                  <c:v>0.2266049698352422</c:v>
                </c:pt>
                <c:pt idx="34">
                  <c:v>0.2118019532174161</c:v>
                </c:pt>
                <c:pt idx="35">
                  <c:v>0.18369425578453691</c:v>
                </c:pt>
                <c:pt idx="36">
                  <c:v>0.17646094752776401</c:v>
                </c:pt>
                <c:pt idx="37">
                  <c:v>0.1737070437527376</c:v>
                </c:pt>
                <c:pt idx="38">
                  <c:v>0.1674587623936109</c:v>
                </c:pt>
                <c:pt idx="39">
                  <c:v>0.16194695162480721</c:v>
                </c:pt>
                <c:pt idx="40">
                  <c:v>0.16050448466872669</c:v>
                </c:pt>
                <c:pt idx="41">
                  <c:v>0.1559009943151842</c:v>
                </c:pt>
                <c:pt idx="42">
                  <c:v>0.15252572698471839</c:v>
                </c:pt>
                <c:pt idx="43">
                  <c:v>0.16077012804826751</c:v>
                </c:pt>
                <c:pt idx="44">
                  <c:v>0.1613769734317804</c:v>
                </c:pt>
                <c:pt idx="45">
                  <c:v>0.1901892762793761</c:v>
                </c:pt>
                <c:pt idx="46">
                  <c:v>0.20882225520217809</c:v>
                </c:pt>
                <c:pt idx="47">
                  <c:v>0.19600439353012281</c:v>
                </c:pt>
                <c:pt idx="48">
                  <c:v>0.19071602304807561</c:v>
                </c:pt>
                <c:pt idx="49">
                  <c:v>0.16862443629768131</c:v>
                </c:pt>
                <c:pt idx="50">
                  <c:v>0.16597012833308811</c:v>
                </c:pt>
                <c:pt idx="51">
                  <c:v>0.16725304253021259</c:v>
                </c:pt>
                <c:pt idx="52">
                  <c:v>0.16576860435120519</c:v>
                </c:pt>
                <c:pt idx="53">
                  <c:v>0.16433675137389131</c:v>
                </c:pt>
                <c:pt idx="54">
                  <c:v>0.16295576059913139</c:v>
                </c:pt>
                <c:pt idx="55">
                  <c:v>0.16162398914323389</c:v>
                </c:pt>
                <c:pt idx="56">
                  <c:v>0.1078598137242698</c:v>
                </c:pt>
                <c:pt idx="57">
                  <c:v>0.18797212439674771</c:v>
                </c:pt>
                <c:pt idx="58">
                  <c:v>0.5286730321098467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5-DBE2-48CC-8485-F6B125FAE53C}"/>
            </c:ext>
          </c:extLst>
        </c:ser>
        <c:ser>
          <c:idx val="38"/>
          <c:order val="38"/>
          <c:tx>
            <c:strRef>
              <c:f>Sheet1!$A$40</c:f>
              <c:strCache>
                <c:ptCount val="1"/>
                <c:pt idx="0">
                  <c:v>9</c:v>
                </c:pt>
              </c:strCache>
            </c:strRef>
          </c:tx>
          <c:spPr>
            <a:gradFill rotWithShape="1">
              <a:gsLst>
                <a:gs pos="0">
                  <a:schemeClr val="accent3">
                    <a:lumMod val="70000"/>
                    <a:lumOff val="30000"/>
                    <a:tint val="50000"/>
                    <a:satMod val="300000"/>
                  </a:schemeClr>
                </a:gs>
                <a:gs pos="35000">
                  <a:schemeClr val="accent3">
                    <a:lumMod val="70000"/>
                    <a:lumOff val="30000"/>
                    <a:tint val="37000"/>
                    <a:satMod val="300000"/>
                  </a:schemeClr>
                </a:gs>
                <a:gs pos="100000">
                  <a:schemeClr val="accent3">
                    <a:lumMod val="70000"/>
                    <a:lumOff val="30000"/>
                    <a:tint val="15000"/>
                    <a:satMod val="350000"/>
                  </a:schemeClr>
                </a:gs>
              </a:gsLst>
              <a:lin ang="16200000" scaled="1"/>
            </a:gradFill>
            <a:ln w="9525" cap="flat" cmpd="sng" algn="ctr">
              <a:solidFill>
                <a:schemeClr val="accent3">
                  <a:lumMod val="70000"/>
                  <a:lumOff val="30000"/>
                  <a:shade val="95000"/>
                </a:schemeClr>
              </a:solidFill>
              <a:round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  <a:sp3d contourW="9525">
              <a:contourClr>
                <a:schemeClr val="accent3">
                  <a:lumMod val="70000"/>
                  <a:lumOff val="30000"/>
                  <a:shade val="95000"/>
                </a:schemeClr>
              </a:contourClr>
            </a:sp3d>
          </c:spPr>
          <c:cat>
            <c:numRef>
              <c:f>Sheet1!$B$1:$BH$1</c:f>
              <c:numCache>
                <c:formatCode>General</c:formatCode>
                <c:ptCount val="59"/>
                <c:pt idx="0">
                  <c:v>40</c:v>
                </c:pt>
                <c:pt idx="1">
                  <c:v>42.5</c:v>
                </c:pt>
                <c:pt idx="2">
                  <c:v>45</c:v>
                </c:pt>
                <c:pt idx="3">
                  <c:v>47.5</c:v>
                </c:pt>
                <c:pt idx="4">
                  <c:v>50</c:v>
                </c:pt>
                <c:pt idx="5">
                  <c:v>52.5</c:v>
                </c:pt>
                <c:pt idx="6">
                  <c:v>55</c:v>
                </c:pt>
                <c:pt idx="7">
                  <c:v>57.5</c:v>
                </c:pt>
                <c:pt idx="8">
                  <c:v>60</c:v>
                </c:pt>
                <c:pt idx="9">
                  <c:v>62.5</c:v>
                </c:pt>
                <c:pt idx="10">
                  <c:v>65</c:v>
                </c:pt>
                <c:pt idx="11">
                  <c:v>67.5</c:v>
                </c:pt>
                <c:pt idx="12">
                  <c:v>70</c:v>
                </c:pt>
                <c:pt idx="13">
                  <c:v>72.5</c:v>
                </c:pt>
                <c:pt idx="14">
                  <c:v>75</c:v>
                </c:pt>
                <c:pt idx="15">
                  <c:v>77.5</c:v>
                </c:pt>
                <c:pt idx="16">
                  <c:v>80</c:v>
                </c:pt>
                <c:pt idx="17">
                  <c:v>82.5</c:v>
                </c:pt>
                <c:pt idx="18">
                  <c:v>85</c:v>
                </c:pt>
                <c:pt idx="19">
                  <c:v>87.5</c:v>
                </c:pt>
                <c:pt idx="20">
                  <c:v>90</c:v>
                </c:pt>
                <c:pt idx="21">
                  <c:v>92.5</c:v>
                </c:pt>
                <c:pt idx="22">
                  <c:v>95</c:v>
                </c:pt>
                <c:pt idx="23">
                  <c:v>97.5</c:v>
                </c:pt>
                <c:pt idx="24">
                  <c:v>100</c:v>
                </c:pt>
                <c:pt idx="25">
                  <c:v>102.5</c:v>
                </c:pt>
                <c:pt idx="26">
                  <c:v>105</c:v>
                </c:pt>
                <c:pt idx="27">
                  <c:v>107.5</c:v>
                </c:pt>
                <c:pt idx="28">
                  <c:v>110</c:v>
                </c:pt>
                <c:pt idx="29">
                  <c:v>112.5</c:v>
                </c:pt>
                <c:pt idx="30">
                  <c:v>115</c:v>
                </c:pt>
                <c:pt idx="31">
                  <c:v>117.5</c:v>
                </c:pt>
                <c:pt idx="32">
                  <c:v>120</c:v>
                </c:pt>
                <c:pt idx="33">
                  <c:v>122.5</c:v>
                </c:pt>
                <c:pt idx="34">
                  <c:v>125</c:v>
                </c:pt>
                <c:pt idx="35">
                  <c:v>127.5</c:v>
                </c:pt>
                <c:pt idx="36">
                  <c:v>130</c:v>
                </c:pt>
                <c:pt idx="37">
                  <c:v>132.5</c:v>
                </c:pt>
                <c:pt idx="38">
                  <c:v>135</c:v>
                </c:pt>
                <c:pt idx="39">
                  <c:v>137.5</c:v>
                </c:pt>
                <c:pt idx="40">
                  <c:v>140</c:v>
                </c:pt>
                <c:pt idx="41">
                  <c:v>142.5</c:v>
                </c:pt>
                <c:pt idx="42">
                  <c:v>145</c:v>
                </c:pt>
                <c:pt idx="43">
                  <c:v>147.5</c:v>
                </c:pt>
                <c:pt idx="44">
                  <c:v>150</c:v>
                </c:pt>
                <c:pt idx="45">
                  <c:v>152.5</c:v>
                </c:pt>
                <c:pt idx="46">
                  <c:v>155</c:v>
                </c:pt>
                <c:pt idx="47">
                  <c:v>157.5</c:v>
                </c:pt>
                <c:pt idx="48">
                  <c:v>160</c:v>
                </c:pt>
                <c:pt idx="49">
                  <c:v>162.5</c:v>
                </c:pt>
                <c:pt idx="50">
                  <c:v>165</c:v>
                </c:pt>
                <c:pt idx="51">
                  <c:v>167.5</c:v>
                </c:pt>
                <c:pt idx="52">
                  <c:v>170</c:v>
                </c:pt>
                <c:pt idx="53">
                  <c:v>172.5</c:v>
                </c:pt>
                <c:pt idx="54">
                  <c:v>175</c:v>
                </c:pt>
                <c:pt idx="55">
                  <c:v>177.5</c:v>
                </c:pt>
                <c:pt idx="56">
                  <c:v>180</c:v>
                </c:pt>
                <c:pt idx="57">
                  <c:v>182.5</c:v>
                </c:pt>
                <c:pt idx="58">
                  <c:v>1000</c:v>
                </c:pt>
              </c:numCache>
            </c:numRef>
          </c:cat>
          <c:val>
            <c:numRef>
              <c:f>Sheet1!$B$40:$BH$40</c:f>
              <c:numCache>
                <c:formatCode>General</c:formatCode>
                <c:ptCount val="59"/>
                <c:pt idx="0">
                  <c:v>0.27151586933851218</c:v>
                </c:pt>
                <c:pt idx="1">
                  <c:v>0.26985147762774858</c:v>
                </c:pt>
                <c:pt idx="2">
                  <c:v>0.26786031179819197</c:v>
                </c:pt>
                <c:pt idx="3">
                  <c:v>0.26714334031196679</c:v>
                </c:pt>
                <c:pt idx="4">
                  <c:v>0.28167680790320598</c:v>
                </c:pt>
                <c:pt idx="5">
                  <c:v>0.28772331908818549</c:v>
                </c:pt>
                <c:pt idx="6">
                  <c:v>0.28610680915704101</c:v>
                </c:pt>
                <c:pt idx="7">
                  <c:v>0.2803653551912958</c:v>
                </c:pt>
                <c:pt idx="8">
                  <c:v>0.26614116045349651</c:v>
                </c:pt>
                <c:pt idx="9">
                  <c:v>0.26193865944837202</c:v>
                </c:pt>
                <c:pt idx="10">
                  <c:v>0.25912975228802981</c:v>
                </c:pt>
                <c:pt idx="11">
                  <c:v>0.26430337866491171</c:v>
                </c:pt>
                <c:pt idx="12">
                  <c:v>0.27192961416405859</c:v>
                </c:pt>
                <c:pt idx="13">
                  <c:v>0.26915274920897331</c:v>
                </c:pt>
                <c:pt idx="14">
                  <c:v>0.26578568057924989</c:v>
                </c:pt>
                <c:pt idx="15">
                  <c:v>0.24007226524832129</c:v>
                </c:pt>
                <c:pt idx="16">
                  <c:v>0.2264753434061747</c:v>
                </c:pt>
                <c:pt idx="17">
                  <c:v>0.22418765611559499</c:v>
                </c:pt>
                <c:pt idx="18">
                  <c:v>0.23881172285467089</c:v>
                </c:pt>
                <c:pt idx="19">
                  <c:v>0.2377831072720685</c:v>
                </c:pt>
                <c:pt idx="20">
                  <c:v>0.19094166949494989</c:v>
                </c:pt>
                <c:pt idx="21">
                  <c:v>0.19230760699595739</c:v>
                </c:pt>
                <c:pt idx="22">
                  <c:v>0.36426633686328741</c:v>
                </c:pt>
                <c:pt idx="23">
                  <c:v>0.426805057237511</c:v>
                </c:pt>
                <c:pt idx="24">
                  <c:v>0.2367535944106674</c:v>
                </c:pt>
                <c:pt idx="25">
                  <c:v>0.2029687513281791</c:v>
                </c:pt>
                <c:pt idx="26">
                  <c:v>0.18534101016772361</c:v>
                </c:pt>
                <c:pt idx="27">
                  <c:v>0.18341764958373771</c:v>
                </c:pt>
                <c:pt idx="28">
                  <c:v>0.2026008405284723</c:v>
                </c:pt>
                <c:pt idx="29">
                  <c:v>0.2423754172087593</c:v>
                </c:pt>
                <c:pt idx="30">
                  <c:v>0.20374193362742621</c:v>
                </c:pt>
                <c:pt idx="31">
                  <c:v>0.16572713397992259</c:v>
                </c:pt>
                <c:pt idx="32">
                  <c:v>0.19570479181709349</c:v>
                </c:pt>
                <c:pt idx="33">
                  <c:v>0.2200524419489456</c:v>
                </c:pt>
                <c:pt idx="34">
                  <c:v>0.20600723510766469</c:v>
                </c:pt>
                <c:pt idx="35">
                  <c:v>0.18348099338842719</c:v>
                </c:pt>
                <c:pt idx="36">
                  <c:v>0.17732769510795809</c:v>
                </c:pt>
                <c:pt idx="37">
                  <c:v>0.17436883930658509</c:v>
                </c:pt>
                <c:pt idx="38">
                  <c:v>0.16765163781587239</c:v>
                </c:pt>
                <c:pt idx="39">
                  <c:v>0.16286138986869009</c:v>
                </c:pt>
                <c:pt idx="40">
                  <c:v>0.1614883402805693</c:v>
                </c:pt>
                <c:pt idx="41">
                  <c:v>0.15622492293832149</c:v>
                </c:pt>
                <c:pt idx="42">
                  <c:v>0.15153611305005321</c:v>
                </c:pt>
                <c:pt idx="43">
                  <c:v>0.15782362622109289</c:v>
                </c:pt>
                <c:pt idx="44">
                  <c:v>0.15841755949585801</c:v>
                </c:pt>
                <c:pt idx="45">
                  <c:v>0.19073248639842749</c:v>
                </c:pt>
                <c:pt idx="46">
                  <c:v>0.21536081141054769</c:v>
                </c:pt>
                <c:pt idx="47">
                  <c:v>0.20314663360256091</c:v>
                </c:pt>
                <c:pt idx="48">
                  <c:v>0.19667031841678359</c:v>
                </c:pt>
                <c:pt idx="49">
                  <c:v>0.1700643120751201</c:v>
                </c:pt>
                <c:pt idx="50">
                  <c:v>0.16610358627104799</c:v>
                </c:pt>
                <c:pt idx="51">
                  <c:v>0.16682201028065369</c:v>
                </c:pt>
                <c:pt idx="52">
                  <c:v>0.16533946131350061</c:v>
                </c:pt>
                <c:pt idx="53">
                  <c:v>0.16390934524618789</c:v>
                </c:pt>
                <c:pt idx="54">
                  <c:v>0.16252995101257689</c:v>
                </c:pt>
                <c:pt idx="55">
                  <c:v>0.16119964680323789</c:v>
                </c:pt>
                <c:pt idx="56">
                  <c:v>0.1058706739101014</c:v>
                </c:pt>
                <c:pt idx="57">
                  <c:v>0.18759358771156981</c:v>
                </c:pt>
                <c:pt idx="58">
                  <c:v>0.5282071901506547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6-DBE2-48CC-8485-F6B125FAE53C}"/>
            </c:ext>
          </c:extLst>
        </c:ser>
        <c:ser>
          <c:idx val="39"/>
          <c:order val="39"/>
          <c:tx>
            <c:strRef>
              <c:f>Sheet1!$A$41</c:f>
              <c:strCache>
                <c:ptCount val="1"/>
                <c:pt idx="0">
                  <c:v>9.25</c:v>
                </c:pt>
              </c:strCache>
            </c:strRef>
          </c:tx>
          <c:spPr>
            <a:gradFill rotWithShape="1">
              <a:gsLst>
                <a:gs pos="0">
                  <a:schemeClr val="accent4">
                    <a:lumMod val="70000"/>
                    <a:lumOff val="30000"/>
                    <a:tint val="50000"/>
                    <a:satMod val="300000"/>
                  </a:schemeClr>
                </a:gs>
                <a:gs pos="35000">
                  <a:schemeClr val="accent4">
                    <a:lumMod val="70000"/>
                    <a:lumOff val="30000"/>
                    <a:tint val="37000"/>
                    <a:satMod val="300000"/>
                  </a:schemeClr>
                </a:gs>
                <a:gs pos="100000">
                  <a:schemeClr val="accent4">
                    <a:lumMod val="70000"/>
                    <a:lumOff val="30000"/>
                    <a:tint val="15000"/>
                    <a:satMod val="350000"/>
                  </a:schemeClr>
                </a:gs>
              </a:gsLst>
              <a:lin ang="16200000" scaled="1"/>
            </a:gradFill>
            <a:ln w="9525" cap="flat" cmpd="sng" algn="ctr">
              <a:solidFill>
                <a:schemeClr val="accent4">
                  <a:lumMod val="70000"/>
                  <a:lumOff val="30000"/>
                  <a:shade val="95000"/>
                </a:schemeClr>
              </a:solidFill>
              <a:round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  <a:sp3d contourW="9525">
              <a:contourClr>
                <a:schemeClr val="accent4">
                  <a:lumMod val="70000"/>
                  <a:lumOff val="30000"/>
                  <a:shade val="95000"/>
                </a:schemeClr>
              </a:contourClr>
            </a:sp3d>
          </c:spPr>
          <c:cat>
            <c:numRef>
              <c:f>Sheet1!$B$1:$BH$1</c:f>
              <c:numCache>
                <c:formatCode>General</c:formatCode>
                <c:ptCount val="59"/>
                <c:pt idx="0">
                  <c:v>40</c:v>
                </c:pt>
                <c:pt idx="1">
                  <c:v>42.5</c:v>
                </c:pt>
                <c:pt idx="2">
                  <c:v>45</c:v>
                </c:pt>
                <c:pt idx="3">
                  <c:v>47.5</c:v>
                </c:pt>
                <c:pt idx="4">
                  <c:v>50</c:v>
                </c:pt>
                <c:pt idx="5">
                  <c:v>52.5</c:v>
                </c:pt>
                <c:pt idx="6">
                  <c:v>55</c:v>
                </c:pt>
                <c:pt idx="7">
                  <c:v>57.5</c:v>
                </c:pt>
                <c:pt idx="8">
                  <c:v>60</c:v>
                </c:pt>
                <c:pt idx="9">
                  <c:v>62.5</c:v>
                </c:pt>
                <c:pt idx="10">
                  <c:v>65</c:v>
                </c:pt>
                <c:pt idx="11">
                  <c:v>67.5</c:v>
                </c:pt>
                <c:pt idx="12">
                  <c:v>70</c:v>
                </c:pt>
                <c:pt idx="13">
                  <c:v>72.5</c:v>
                </c:pt>
                <c:pt idx="14">
                  <c:v>75</c:v>
                </c:pt>
                <c:pt idx="15">
                  <c:v>77.5</c:v>
                </c:pt>
                <c:pt idx="16">
                  <c:v>80</c:v>
                </c:pt>
                <c:pt idx="17">
                  <c:v>82.5</c:v>
                </c:pt>
                <c:pt idx="18">
                  <c:v>85</c:v>
                </c:pt>
                <c:pt idx="19">
                  <c:v>87.5</c:v>
                </c:pt>
                <c:pt idx="20">
                  <c:v>90</c:v>
                </c:pt>
                <c:pt idx="21">
                  <c:v>92.5</c:v>
                </c:pt>
                <c:pt idx="22">
                  <c:v>95</c:v>
                </c:pt>
                <c:pt idx="23">
                  <c:v>97.5</c:v>
                </c:pt>
                <c:pt idx="24">
                  <c:v>100</c:v>
                </c:pt>
                <c:pt idx="25">
                  <c:v>102.5</c:v>
                </c:pt>
                <c:pt idx="26">
                  <c:v>105</c:v>
                </c:pt>
                <c:pt idx="27">
                  <c:v>107.5</c:v>
                </c:pt>
                <c:pt idx="28">
                  <c:v>110</c:v>
                </c:pt>
                <c:pt idx="29">
                  <c:v>112.5</c:v>
                </c:pt>
                <c:pt idx="30">
                  <c:v>115</c:v>
                </c:pt>
                <c:pt idx="31">
                  <c:v>117.5</c:v>
                </c:pt>
                <c:pt idx="32">
                  <c:v>120</c:v>
                </c:pt>
                <c:pt idx="33">
                  <c:v>122.5</c:v>
                </c:pt>
                <c:pt idx="34">
                  <c:v>125</c:v>
                </c:pt>
                <c:pt idx="35">
                  <c:v>127.5</c:v>
                </c:pt>
                <c:pt idx="36">
                  <c:v>130</c:v>
                </c:pt>
                <c:pt idx="37">
                  <c:v>132.5</c:v>
                </c:pt>
                <c:pt idx="38">
                  <c:v>135</c:v>
                </c:pt>
                <c:pt idx="39">
                  <c:v>137.5</c:v>
                </c:pt>
                <c:pt idx="40">
                  <c:v>140</c:v>
                </c:pt>
                <c:pt idx="41">
                  <c:v>142.5</c:v>
                </c:pt>
                <c:pt idx="42">
                  <c:v>145</c:v>
                </c:pt>
                <c:pt idx="43">
                  <c:v>147.5</c:v>
                </c:pt>
                <c:pt idx="44">
                  <c:v>150</c:v>
                </c:pt>
                <c:pt idx="45">
                  <c:v>152.5</c:v>
                </c:pt>
                <c:pt idx="46">
                  <c:v>155</c:v>
                </c:pt>
                <c:pt idx="47">
                  <c:v>157.5</c:v>
                </c:pt>
                <c:pt idx="48">
                  <c:v>160</c:v>
                </c:pt>
                <c:pt idx="49">
                  <c:v>162.5</c:v>
                </c:pt>
                <c:pt idx="50">
                  <c:v>165</c:v>
                </c:pt>
                <c:pt idx="51">
                  <c:v>167.5</c:v>
                </c:pt>
                <c:pt idx="52">
                  <c:v>170</c:v>
                </c:pt>
                <c:pt idx="53">
                  <c:v>172.5</c:v>
                </c:pt>
                <c:pt idx="54">
                  <c:v>175</c:v>
                </c:pt>
                <c:pt idx="55">
                  <c:v>177.5</c:v>
                </c:pt>
                <c:pt idx="56">
                  <c:v>180</c:v>
                </c:pt>
                <c:pt idx="57">
                  <c:v>182.5</c:v>
                </c:pt>
                <c:pt idx="58">
                  <c:v>1000</c:v>
                </c:pt>
              </c:numCache>
            </c:numRef>
          </c:cat>
          <c:val>
            <c:numRef>
              <c:f>Sheet1!$B$41:$BH$41</c:f>
              <c:numCache>
                <c:formatCode>General</c:formatCode>
                <c:ptCount val="59"/>
                <c:pt idx="0">
                  <c:v>0.27082883584187117</c:v>
                </c:pt>
                <c:pt idx="1">
                  <c:v>0.26931248015398818</c:v>
                </c:pt>
                <c:pt idx="2">
                  <c:v>0.2674586789425818</c:v>
                </c:pt>
                <c:pt idx="3">
                  <c:v>0.2670539271000763</c:v>
                </c:pt>
                <c:pt idx="4">
                  <c:v>0.28219223171532082</c:v>
                </c:pt>
                <c:pt idx="5">
                  <c:v>0.28756621112857728</c:v>
                </c:pt>
                <c:pt idx="6">
                  <c:v>0.28600690847820032</c:v>
                </c:pt>
                <c:pt idx="7">
                  <c:v>0.27986818024669857</c:v>
                </c:pt>
                <c:pt idx="8">
                  <c:v>0.26481070779889582</c:v>
                </c:pt>
                <c:pt idx="9">
                  <c:v>0.26072034710797692</c:v>
                </c:pt>
                <c:pt idx="10">
                  <c:v>0.25794227019057958</c:v>
                </c:pt>
                <c:pt idx="11">
                  <c:v>0.26410497292882129</c:v>
                </c:pt>
                <c:pt idx="12">
                  <c:v>0.27372320535420358</c:v>
                </c:pt>
                <c:pt idx="13">
                  <c:v>0.27113927575594071</c:v>
                </c:pt>
                <c:pt idx="14">
                  <c:v>0.2677402116289711</c:v>
                </c:pt>
                <c:pt idx="15">
                  <c:v>0.23914177120342911</c:v>
                </c:pt>
                <c:pt idx="16">
                  <c:v>0.22463839784285539</c:v>
                </c:pt>
                <c:pt idx="17">
                  <c:v>0.22251934456889991</c:v>
                </c:pt>
                <c:pt idx="18">
                  <c:v>0.23894272254610549</c:v>
                </c:pt>
                <c:pt idx="19">
                  <c:v>0.23699074258697581</c:v>
                </c:pt>
                <c:pt idx="20">
                  <c:v>0.1869350556639798</c:v>
                </c:pt>
                <c:pt idx="21">
                  <c:v>0.18981395288432529</c:v>
                </c:pt>
                <c:pt idx="22">
                  <c:v>0.4023710022413054</c:v>
                </c:pt>
                <c:pt idx="23">
                  <c:v>0.45206241226855087</c:v>
                </c:pt>
                <c:pt idx="24">
                  <c:v>0.2378508374114274</c:v>
                </c:pt>
                <c:pt idx="25">
                  <c:v>0.2091523122874662</c:v>
                </c:pt>
                <c:pt idx="26">
                  <c:v>0.18841436165939851</c:v>
                </c:pt>
                <c:pt idx="27">
                  <c:v>0.17930366748187709</c:v>
                </c:pt>
                <c:pt idx="28">
                  <c:v>0.19127621718954349</c:v>
                </c:pt>
                <c:pt idx="29">
                  <c:v>0.22970814751334451</c:v>
                </c:pt>
                <c:pt idx="30">
                  <c:v>0.21351372005890251</c:v>
                </c:pt>
                <c:pt idx="31">
                  <c:v>0.17510533976067841</c:v>
                </c:pt>
                <c:pt idx="32">
                  <c:v>0.19733870417442981</c:v>
                </c:pt>
                <c:pt idx="33">
                  <c:v>0.2140359048324586</c:v>
                </c:pt>
                <c:pt idx="34">
                  <c:v>0.20065145518896571</c:v>
                </c:pt>
                <c:pt idx="35">
                  <c:v>0.18324968710332551</c:v>
                </c:pt>
                <c:pt idx="36">
                  <c:v>0.178187046892825</c:v>
                </c:pt>
                <c:pt idx="37">
                  <c:v>0.17501844808941799</c:v>
                </c:pt>
                <c:pt idx="38">
                  <c:v>0.16782739623042589</c:v>
                </c:pt>
                <c:pt idx="39">
                  <c:v>0.1637745146942117</c:v>
                </c:pt>
                <c:pt idx="40">
                  <c:v>0.16247650867703189</c:v>
                </c:pt>
                <c:pt idx="41">
                  <c:v>0.15654195325570611</c:v>
                </c:pt>
                <c:pt idx="42">
                  <c:v>0.1505603699662367</c:v>
                </c:pt>
                <c:pt idx="43">
                  <c:v>0.15502690684649559</c:v>
                </c:pt>
                <c:pt idx="44">
                  <c:v>0.1556000634025744</c:v>
                </c:pt>
                <c:pt idx="45">
                  <c:v>0.19123436861852011</c:v>
                </c:pt>
                <c:pt idx="46">
                  <c:v>0.2224746305787676</c:v>
                </c:pt>
                <c:pt idx="47">
                  <c:v>0.21107494855551989</c:v>
                </c:pt>
                <c:pt idx="48">
                  <c:v>0.203193071515827</c:v>
                </c:pt>
                <c:pt idx="49">
                  <c:v>0.1715417506342774</c:v>
                </c:pt>
                <c:pt idx="50">
                  <c:v>0.166245748200821</c:v>
                </c:pt>
                <c:pt idx="51">
                  <c:v>0.16640626290326549</c:v>
                </c:pt>
                <c:pt idx="52">
                  <c:v>0.1649258150372365</c:v>
                </c:pt>
                <c:pt idx="53">
                  <c:v>0.16349763929085959</c:v>
                </c:pt>
                <c:pt idx="54">
                  <c:v>0.162120036634814</c:v>
                </c:pt>
                <c:pt idx="55">
                  <c:v>0.1607913864403229</c:v>
                </c:pt>
                <c:pt idx="56">
                  <c:v>0.1039912587291239</c:v>
                </c:pt>
                <c:pt idx="57">
                  <c:v>0.18721688349447491</c:v>
                </c:pt>
                <c:pt idx="58">
                  <c:v>0.5272578405357573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7-DBE2-48CC-8485-F6B125FAE53C}"/>
            </c:ext>
          </c:extLst>
        </c:ser>
        <c:ser>
          <c:idx val="40"/>
          <c:order val="40"/>
          <c:tx>
            <c:strRef>
              <c:f>Sheet1!$A$42</c:f>
              <c:strCache>
                <c:ptCount val="1"/>
                <c:pt idx="0">
                  <c:v>9.5</c:v>
                </c:pt>
              </c:strCache>
            </c:strRef>
          </c:tx>
          <c:spPr>
            <a:gradFill rotWithShape="1">
              <a:gsLst>
                <a:gs pos="0">
                  <a:schemeClr val="accent5">
                    <a:lumMod val="70000"/>
                    <a:lumOff val="30000"/>
                    <a:tint val="50000"/>
                    <a:satMod val="300000"/>
                  </a:schemeClr>
                </a:gs>
                <a:gs pos="35000">
                  <a:schemeClr val="accent5">
                    <a:lumMod val="70000"/>
                    <a:lumOff val="30000"/>
                    <a:tint val="37000"/>
                    <a:satMod val="300000"/>
                  </a:schemeClr>
                </a:gs>
                <a:gs pos="100000">
                  <a:schemeClr val="accent5">
                    <a:lumMod val="70000"/>
                    <a:lumOff val="30000"/>
                    <a:tint val="15000"/>
                    <a:satMod val="350000"/>
                  </a:schemeClr>
                </a:gs>
              </a:gsLst>
              <a:lin ang="16200000" scaled="1"/>
            </a:gradFill>
            <a:ln w="9525" cap="flat" cmpd="sng" algn="ctr">
              <a:solidFill>
                <a:schemeClr val="accent5">
                  <a:lumMod val="70000"/>
                  <a:lumOff val="30000"/>
                  <a:shade val="95000"/>
                </a:schemeClr>
              </a:solidFill>
              <a:round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  <a:sp3d contourW="9525">
              <a:contourClr>
                <a:schemeClr val="accent5">
                  <a:lumMod val="70000"/>
                  <a:lumOff val="30000"/>
                  <a:shade val="95000"/>
                </a:schemeClr>
              </a:contourClr>
            </a:sp3d>
          </c:spPr>
          <c:cat>
            <c:numRef>
              <c:f>Sheet1!$B$1:$BH$1</c:f>
              <c:numCache>
                <c:formatCode>General</c:formatCode>
                <c:ptCount val="59"/>
                <c:pt idx="0">
                  <c:v>40</c:v>
                </c:pt>
                <c:pt idx="1">
                  <c:v>42.5</c:v>
                </c:pt>
                <c:pt idx="2">
                  <c:v>45</c:v>
                </c:pt>
                <c:pt idx="3">
                  <c:v>47.5</c:v>
                </c:pt>
                <c:pt idx="4">
                  <c:v>50</c:v>
                </c:pt>
                <c:pt idx="5">
                  <c:v>52.5</c:v>
                </c:pt>
                <c:pt idx="6">
                  <c:v>55</c:v>
                </c:pt>
                <c:pt idx="7">
                  <c:v>57.5</c:v>
                </c:pt>
                <c:pt idx="8">
                  <c:v>60</c:v>
                </c:pt>
                <c:pt idx="9">
                  <c:v>62.5</c:v>
                </c:pt>
                <c:pt idx="10">
                  <c:v>65</c:v>
                </c:pt>
                <c:pt idx="11">
                  <c:v>67.5</c:v>
                </c:pt>
                <c:pt idx="12">
                  <c:v>70</c:v>
                </c:pt>
                <c:pt idx="13">
                  <c:v>72.5</c:v>
                </c:pt>
                <c:pt idx="14">
                  <c:v>75</c:v>
                </c:pt>
                <c:pt idx="15">
                  <c:v>77.5</c:v>
                </c:pt>
                <c:pt idx="16">
                  <c:v>80</c:v>
                </c:pt>
                <c:pt idx="17">
                  <c:v>82.5</c:v>
                </c:pt>
                <c:pt idx="18">
                  <c:v>85</c:v>
                </c:pt>
                <c:pt idx="19">
                  <c:v>87.5</c:v>
                </c:pt>
                <c:pt idx="20">
                  <c:v>90</c:v>
                </c:pt>
                <c:pt idx="21">
                  <c:v>92.5</c:v>
                </c:pt>
                <c:pt idx="22">
                  <c:v>95</c:v>
                </c:pt>
                <c:pt idx="23">
                  <c:v>97.5</c:v>
                </c:pt>
                <c:pt idx="24">
                  <c:v>100</c:v>
                </c:pt>
                <c:pt idx="25">
                  <c:v>102.5</c:v>
                </c:pt>
                <c:pt idx="26">
                  <c:v>105</c:v>
                </c:pt>
                <c:pt idx="27">
                  <c:v>107.5</c:v>
                </c:pt>
                <c:pt idx="28">
                  <c:v>110</c:v>
                </c:pt>
                <c:pt idx="29">
                  <c:v>112.5</c:v>
                </c:pt>
                <c:pt idx="30">
                  <c:v>115</c:v>
                </c:pt>
                <c:pt idx="31">
                  <c:v>117.5</c:v>
                </c:pt>
                <c:pt idx="32">
                  <c:v>120</c:v>
                </c:pt>
                <c:pt idx="33">
                  <c:v>122.5</c:v>
                </c:pt>
                <c:pt idx="34">
                  <c:v>125</c:v>
                </c:pt>
                <c:pt idx="35">
                  <c:v>127.5</c:v>
                </c:pt>
                <c:pt idx="36">
                  <c:v>130</c:v>
                </c:pt>
                <c:pt idx="37">
                  <c:v>132.5</c:v>
                </c:pt>
                <c:pt idx="38">
                  <c:v>135</c:v>
                </c:pt>
                <c:pt idx="39">
                  <c:v>137.5</c:v>
                </c:pt>
                <c:pt idx="40">
                  <c:v>140</c:v>
                </c:pt>
                <c:pt idx="41">
                  <c:v>142.5</c:v>
                </c:pt>
                <c:pt idx="42">
                  <c:v>145</c:v>
                </c:pt>
                <c:pt idx="43">
                  <c:v>147.5</c:v>
                </c:pt>
                <c:pt idx="44">
                  <c:v>150</c:v>
                </c:pt>
                <c:pt idx="45">
                  <c:v>152.5</c:v>
                </c:pt>
                <c:pt idx="46">
                  <c:v>155</c:v>
                </c:pt>
                <c:pt idx="47">
                  <c:v>157.5</c:v>
                </c:pt>
                <c:pt idx="48">
                  <c:v>160</c:v>
                </c:pt>
                <c:pt idx="49">
                  <c:v>162.5</c:v>
                </c:pt>
                <c:pt idx="50">
                  <c:v>165</c:v>
                </c:pt>
                <c:pt idx="51">
                  <c:v>167.5</c:v>
                </c:pt>
                <c:pt idx="52">
                  <c:v>170</c:v>
                </c:pt>
                <c:pt idx="53">
                  <c:v>172.5</c:v>
                </c:pt>
                <c:pt idx="54">
                  <c:v>175</c:v>
                </c:pt>
                <c:pt idx="55">
                  <c:v>177.5</c:v>
                </c:pt>
                <c:pt idx="56">
                  <c:v>180</c:v>
                </c:pt>
                <c:pt idx="57">
                  <c:v>182.5</c:v>
                </c:pt>
                <c:pt idx="58">
                  <c:v>1000</c:v>
                </c:pt>
              </c:numCache>
            </c:numRef>
          </c:cat>
          <c:val>
            <c:numRef>
              <c:f>Sheet1!$B$42:$BH$42</c:f>
              <c:numCache>
                <c:formatCode>General</c:formatCode>
                <c:ptCount val="59"/>
                <c:pt idx="0">
                  <c:v>0.27020820952040508</c:v>
                </c:pt>
                <c:pt idx="1">
                  <c:v>0.26883424523570099</c:v>
                </c:pt>
                <c:pt idx="2">
                  <c:v>0.26711207465577819</c:v>
                </c:pt>
                <c:pt idx="3">
                  <c:v>0.26701415299601539</c:v>
                </c:pt>
                <c:pt idx="4">
                  <c:v>0.28276382202295858</c:v>
                </c:pt>
                <c:pt idx="5">
                  <c:v>0.28745898827529859</c:v>
                </c:pt>
                <c:pt idx="6">
                  <c:v>0.28595388585935472</c:v>
                </c:pt>
                <c:pt idx="7">
                  <c:v>0.27941543030956562</c:v>
                </c:pt>
                <c:pt idx="8">
                  <c:v>0.26353466577436652</c:v>
                </c:pt>
                <c:pt idx="9">
                  <c:v>0.25955368125215361</c:v>
                </c:pt>
                <c:pt idx="10">
                  <c:v>0.2568058556445047</c:v>
                </c:pt>
                <c:pt idx="11">
                  <c:v>0.26394599053086709</c:v>
                </c:pt>
                <c:pt idx="12">
                  <c:v>0.27559527336531481</c:v>
                </c:pt>
                <c:pt idx="13">
                  <c:v>0.27320546018582281</c:v>
                </c:pt>
                <c:pt idx="14">
                  <c:v>0.26976614204297927</c:v>
                </c:pt>
                <c:pt idx="15">
                  <c:v>0.23823729682035161</c:v>
                </c:pt>
                <c:pt idx="16">
                  <c:v>0.22285796953959139</c:v>
                </c:pt>
                <c:pt idx="17">
                  <c:v>0.2209011484053261</c:v>
                </c:pt>
                <c:pt idx="18">
                  <c:v>0.2390919011309349</c:v>
                </c:pt>
                <c:pt idx="19">
                  <c:v>0.23622162709283659</c:v>
                </c:pt>
                <c:pt idx="20">
                  <c:v>0.18317740023918219</c:v>
                </c:pt>
                <c:pt idx="21">
                  <c:v>0.18742553790497449</c:v>
                </c:pt>
                <c:pt idx="22">
                  <c:v>0.45580706338021743</c:v>
                </c:pt>
                <c:pt idx="23">
                  <c:v>0.48250686484953809</c:v>
                </c:pt>
                <c:pt idx="24">
                  <c:v>0.238971533885069</c:v>
                </c:pt>
                <c:pt idx="25">
                  <c:v>0.21594117944682681</c:v>
                </c:pt>
                <c:pt idx="26">
                  <c:v>0.1916454538993401</c:v>
                </c:pt>
                <c:pt idx="27">
                  <c:v>0.1754550149808336</c:v>
                </c:pt>
                <c:pt idx="28">
                  <c:v>0.18165852234598009</c:v>
                </c:pt>
                <c:pt idx="29">
                  <c:v>0.21883135537359169</c:v>
                </c:pt>
                <c:pt idx="30">
                  <c:v>0.2248305702330497</c:v>
                </c:pt>
                <c:pt idx="31">
                  <c:v>0.18626857525316709</c:v>
                </c:pt>
                <c:pt idx="32">
                  <c:v>0.19901069948163391</c:v>
                </c:pt>
                <c:pt idx="33">
                  <c:v>0.20848622391945729</c:v>
                </c:pt>
                <c:pt idx="34">
                  <c:v>0.19568277283802629</c:v>
                </c:pt>
                <c:pt idx="35">
                  <c:v>0.18300248781273051</c:v>
                </c:pt>
                <c:pt idx="36">
                  <c:v>0.17904058788804031</c:v>
                </c:pt>
                <c:pt idx="37">
                  <c:v>0.1756574639053568</c:v>
                </c:pt>
                <c:pt idx="38">
                  <c:v>0.16798777285126371</c:v>
                </c:pt>
                <c:pt idx="39">
                  <c:v>0.16468775740200889</c:v>
                </c:pt>
                <c:pt idx="40">
                  <c:v>0.16347031358460101</c:v>
                </c:pt>
                <c:pt idx="41">
                  <c:v>0.15685291203882909</c:v>
                </c:pt>
                <c:pt idx="42">
                  <c:v>0.14959873722493161</c:v>
                </c:pt>
                <c:pt idx="43">
                  <c:v>0.15236827681695619</c:v>
                </c:pt>
                <c:pt idx="44">
                  <c:v>0.1529149270581168</c:v>
                </c:pt>
                <c:pt idx="45">
                  <c:v>0.19169901152314339</c:v>
                </c:pt>
                <c:pt idx="46">
                  <c:v>0.23026453129475391</c:v>
                </c:pt>
                <c:pt idx="47">
                  <c:v>0.2199538169293993</c:v>
                </c:pt>
                <c:pt idx="48">
                  <c:v>0.2103849298189002</c:v>
                </c:pt>
                <c:pt idx="49">
                  <c:v>0.1730584315260392</c:v>
                </c:pt>
                <c:pt idx="50">
                  <c:v>0.1663957994264896</c:v>
                </c:pt>
                <c:pt idx="51">
                  <c:v>0.16600424262782301</c:v>
                </c:pt>
                <c:pt idx="52">
                  <c:v>0.1645260799783867</c:v>
                </c:pt>
                <c:pt idx="53">
                  <c:v>0.16310002155144421</c:v>
                </c:pt>
                <c:pt idx="54">
                  <c:v>0.16172438041768869</c:v>
                </c:pt>
                <c:pt idx="55">
                  <c:v>0.16039754719691471</c:v>
                </c:pt>
                <c:pt idx="56">
                  <c:v>0.10221155216661711</c:v>
                </c:pt>
                <c:pt idx="57">
                  <c:v>0.18684299027827209</c:v>
                </c:pt>
                <c:pt idx="58">
                  <c:v>0.5258967094597231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8-DBE2-48CC-8485-F6B125FAE53C}"/>
            </c:ext>
          </c:extLst>
        </c:ser>
        <c:ser>
          <c:idx val="41"/>
          <c:order val="41"/>
          <c:tx>
            <c:strRef>
              <c:f>Sheet1!$A$43</c:f>
              <c:strCache>
                <c:ptCount val="1"/>
                <c:pt idx="0">
                  <c:v>9.75</c:v>
                </c:pt>
              </c:strCache>
            </c:strRef>
          </c:tx>
          <c:spPr>
            <a:gradFill rotWithShape="1">
              <a:gsLst>
                <a:gs pos="0">
                  <a:schemeClr val="accent6">
                    <a:lumMod val="70000"/>
                    <a:lumOff val="30000"/>
                    <a:tint val="50000"/>
                    <a:satMod val="300000"/>
                  </a:schemeClr>
                </a:gs>
                <a:gs pos="35000">
                  <a:schemeClr val="accent6">
                    <a:lumMod val="70000"/>
                    <a:lumOff val="30000"/>
                    <a:tint val="37000"/>
                    <a:satMod val="300000"/>
                  </a:schemeClr>
                </a:gs>
                <a:gs pos="100000">
                  <a:schemeClr val="accent6">
                    <a:lumMod val="70000"/>
                    <a:lumOff val="30000"/>
                    <a:tint val="15000"/>
                    <a:satMod val="350000"/>
                  </a:schemeClr>
                </a:gs>
              </a:gsLst>
              <a:lin ang="16200000" scaled="1"/>
            </a:gradFill>
            <a:ln w="9525" cap="flat" cmpd="sng" algn="ctr">
              <a:solidFill>
                <a:schemeClr val="accent6">
                  <a:lumMod val="70000"/>
                  <a:lumOff val="30000"/>
                  <a:shade val="95000"/>
                </a:schemeClr>
              </a:solidFill>
              <a:round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  <a:sp3d contourW="9525">
              <a:contourClr>
                <a:schemeClr val="accent6">
                  <a:lumMod val="70000"/>
                  <a:lumOff val="30000"/>
                  <a:shade val="95000"/>
                </a:schemeClr>
              </a:contourClr>
            </a:sp3d>
          </c:spPr>
          <c:cat>
            <c:numRef>
              <c:f>Sheet1!$B$1:$BH$1</c:f>
              <c:numCache>
                <c:formatCode>General</c:formatCode>
                <c:ptCount val="59"/>
                <c:pt idx="0">
                  <c:v>40</c:v>
                </c:pt>
                <c:pt idx="1">
                  <c:v>42.5</c:v>
                </c:pt>
                <c:pt idx="2">
                  <c:v>45</c:v>
                </c:pt>
                <c:pt idx="3">
                  <c:v>47.5</c:v>
                </c:pt>
                <c:pt idx="4">
                  <c:v>50</c:v>
                </c:pt>
                <c:pt idx="5">
                  <c:v>52.5</c:v>
                </c:pt>
                <c:pt idx="6">
                  <c:v>55</c:v>
                </c:pt>
                <c:pt idx="7">
                  <c:v>57.5</c:v>
                </c:pt>
                <c:pt idx="8">
                  <c:v>60</c:v>
                </c:pt>
                <c:pt idx="9">
                  <c:v>62.5</c:v>
                </c:pt>
                <c:pt idx="10">
                  <c:v>65</c:v>
                </c:pt>
                <c:pt idx="11">
                  <c:v>67.5</c:v>
                </c:pt>
                <c:pt idx="12">
                  <c:v>70</c:v>
                </c:pt>
                <c:pt idx="13">
                  <c:v>72.5</c:v>
                </c:pt>
                <c:pt idx="14">
                  <c:v>75</c:v>
                </c:pt>
                <c:pt idx="15">
                  <c:v>77.5</c:v>
                </c:pt>
                <c:pt idx="16">
                  <c:v>80</c:v>
                </c:pt>
                <c:pt idx="17">
                  <c:v>82.5</c:v>
                </c:pt>
                <c:pt idx="18">
                  <c:v>85</c:v>
                </c:pt>
                <c:pt idx="19">
                  <c:v>87.5</c:v>
                </c:pt>
                <c:pt idx="20">
                  <c:v>90</c:v>
                </c:pt>
                <c:pt idx="21">
                  <c:v>92.5</c:v>
                </c:pt>
                <c:pt idx="22">
                  <c:v>95</c:v>
                </c:pt>
                <c:pt idx="23">
                  <c:v>97.5</c:v>
                </c:pt>
                <c:pt idx="24">
                  <c:v>100</c:v>
                </c:pt>
                <c:pt idx="25">
                  <c:v>102.5</c:v>
                </c:pt>
                <c:pt idx="26">
                  <c:v>105</c:v>
                </c:pt>
                <c:pt idx="27">
                  <c:v>107.5</c:v>
                </c:pt>
                <c:pt idx="28">
                  <c:v>110</c:v>
                </c:pt>
                <c:pt idx="29">
                  <c:v>112.5</c:v>
                </c:pt>
                <c:pt idx="30">
                  <c:v>115</c:v>
                </c:pt>
                <c:pt idx="31">
                  <c:v>117.5</c:v>
                </c:pt>
                <c:pt idx="32">
                  <c:v>120</c:v>
                </c:pt>
                <c:pt idx="33">
                  <c:v>122.5</c:v>
                </c:pt>
                <c:pt idx="34">
                  <c:v>125</c:v>
                </c:pt>
                <c:pt idx="35">
                  <c:v>127.5</c:v>
                </c:pt>
                <c:pt idx="36">
                  <c:v>130</c:v>
                </c:pt>
                <c:pt idx="37">
                  <c:v>132.5</c:v>
                </c:pt>
                <c:pt idx="38">
                  <c:v>135</c:v>
                </c:pt>
                <c:pt idx="39">
                  <c:v>137.5</c:v>
                </c:pt>
                <c:pt idx="40">
                  <c:v>140</c:v>
                </c:pt>
                <c:pt idx="41">
                  <c:v>142.5</c:v>
                </c:pt>
                <c:pt idx="42">
                  <c:v>145</c:v>
                </c:pt>
                <c:pt idx="43">
                  <c:v>147.5</c:v>
                </c:pt>
                <c:pt idx="44">
                  <c:v>150</c:v>
                </c:pt>
                <c:pt idx="45">
                  <c:v>152.5</c:v>
                </c:pt>
                <c:pt idx="46">
                  <c:v>155</c:v>
                </c:pt>
                <c:pt idx="47">
                  <c:v>157.5</c:v>
                </c:pt>
                <c:pt idx="48">
                  <c:v>160</c:v>
                </c:pt>
                <c:pt idx="49">
                  <c:v>162.5</c:v>
                </c:pt>
                <c:pt idx="50">
                  <c:v>165</c:v>
                </c:pt>
                <c:pt idx="51">
                  <c:v>167.5</c:v>
                </c:pt>
                <c:pt idx="52">
                  <c:v>170</c:v>
                </c:pt>
                <c:pt idx="53">
                  <c:v>172.5</c:v>
                </c:pt>
                <c:pt idx="54">
                  <c:v>175</c:v>
                </c:pt>
                <c:pt idx="55">
                  <c:v>177.5</c:v>
                </c:pt>
                <c:pt idx="56">
                  <c:v>180</c:v>
                </c:pt>
                <c:pt idx="57">
                  <c:v>182.5</c:v>
                </c:pt>
                <c:pt idx="58">
                  <c:v>1000</c:v>
                </c:pt>
              </c:numCache>
            </c:numRef>
          </c:cat>
          <c:val>
            <c:numRef>
              <c:f>Sheet1!$B$43:$BH$43</c:f>
              <c:numCache>
                <c:formatCode>General</c:formatCode>
                <c:ptCount val="59"/>
                <c:pt idx="0">
                  <c:v>0.26964976276509972</c:v>
                </c:pt>
                <c:pt idx="1">
                  <c:v>0.26841287363774069</c:v>
                </c:pt>
                <c:pt idx="2">
                  <c:v>0.26681695692035812</c:v>
                </c:pt>
                <c:pt idx="3">
                  <c:v>0.26702108792752799</c:v>
                </c:pt>
                <c:pt idx="4">
                  <c:v>0.28338933683000711</c:v>
                </c:pt>
                <c:pt idx="5">
                  <c:v>0.28739836943572089</c:v>
                </c:pt>
                <c:pt idx="6">
                  <c:v>0.28594464983004791</c:v>
                </c:pt>
                <c:pt idx="7">
                  <c:v>0.27900373280282559</c:v>
                </c:pt>
                <c:pt idx="8">
                  <c:v>0.26230876906429751</c:v>
                </c:pt>
                <c:pt idx="9">
                  <c:v>0.25843454102210878</c:v>
                </c:pt>
                <c:pt idx="10">
                  <c:v>0.25571637479115261</c:v>
                </c:pt>
                <c:pt idx="11">
                  <c:v>0.26382344910488192</c:v>
                </c:pt>
                <c:pt idx="12">
                  <c:v>0.27754655117147131</c:v>
                </c:pt>
                <c:pt idx="13">
                  <c:v>0.2753527961608801</c:v>
                </c:pt>
                <c:pt idx="14">
                  <c:v>0.27186492346855973</c:v>
                </c:pt>
                <c:pt idx="15">
                  <c:v>0.2373569752553405</c:v>
                </c:pt>
                <c:pt idx="16">
                  <c:v>0.22113051563876809</c:v>
                </c:pt>
                <c:pt idx="17">
                  <c:v>0.21932985394439841</c:v>
                </c:pt>
                <c:pt idx="18">
                  <c:v>0.23925792694158179</c:v>
                </c:pt>
                <c:pt idx="19">
                  <c:v>0.23547395697539689</c:v>
                </c:pt>
                <c:pt idx="20">
                  <c:v>0.17964356328783029</c:v>
                </c:pt>
                <c:pt idx="21">
                  <c:v>0.1851345089667249</c:v>
                </c:pt>
                <c:pt idx="22">
                  <c:v>0.53863836006294374</c:v>
                </c:pt>
                <c:pt idx="23">
                  <c:v>0.52017815000621614</c:v>
                </c:pt>
                <c:pt idx="24">
                  <c:v>0.2401156831468956</c:v>
                </c:pt>
                <c:pt idx="25">
                  <c:v>0.22344057816896221</c:v>
                </c:pt>
                <c:pt idx="26">
                  <c:v>0.19504834066076829</c:v>
                </c:pt>
                <c:pt idx="27">
                  <c:v>0.17184436585043111</c:v>
                </c:pt>
                <c:pt idx="28">
                  <c:v>0.1733580604081108</c:v>
                </c:pt>
                <c:pt idx="29">
                  <c:v>0.2093598099380822</c:v>
                </c:pt>
                <c:pt idx="30">
                  <c:v>0.23814993795603451</c:v>
                </c:pt>
                <c:pt idx="31">
                  <c:v>0.19986825882492901</c:v>
                </c:pt>
                <c:pt idx="32">
                  <c:v>0.2007226990471751</c:v>
                </c:pt>
                <c:pt idx="33">
                  <c:v>0.2033461238198932</c:v>
                </c:pt>
                <c:pt idx="34">
                  <c:v>0.19105743972138819</c:v>
                </c:pt>
                <c:pt idx="35">
                  <c:v>0.18274126968300661</c:v>
                </c:pt>
                <c:pt idx="36">
                  <c:v>0.1798897197876492</c:v>
                </c:pt>
                <c:pt idx="37">
                  <c:v>0.17628728069482849</c:v>
                </c:pt>
                <c:pt idx="38">
                  <c:v>0.168134277893525</c:v>
                </c:pt>
                <c:pt idx="39">
                  <c:v>0.16560239961309881</c:v>
                </c:pt>
                <c:pt idx="40">
                  <c:v>0.16447096466466879</c:v>
                </c:pt>
                <c:pt idx="41">
                  <c:v>0.1571585164410286</c:v>
                </c:pt>
                <c:pt idx="42">
                  <c:v>0.1486513487305933</c:v>
                </c:pt>
                <c:pt idx="43">
                  <c:v>0.1498372095249374</c:v>
                </c:pt>
                <c:pt idx="44">
                  <c:v>0.15035326459162279</c:v>
                </c:pt>
                <c:pt idx="45">
                  <c:v>0.19212998228582129</c:v>
                </c:pt>
                <c:pt idx="46">
                  <c:v>0.2388559558592315</c:v>
                </c:pt>
                <c:pt idx="47">
                  <c:v>0.22999873400972731</c:v>
                </c:pt>
                <c:pt idx="48">
                  <c:v>0.21837269405206811</c:v>
                </c:pt>
                <c:pt idx="49">
                  <c:v>0.17461613858630889</c:v>
                </c:pt>
                <c:pt idx="50">
                  <c:v>0.16655304219645889</c:v>
                </c:pt>
                <c:pt idx="51">
                  <c:v>0.16561461286221579</c:v>
                </c:pt>
                <c:pt idx="52">
                  <c:v>0.1641388956326712</c:v>
                </c:pt>
                <c:pt idx="53">
                  <c:v>0.16271510876492359</c:v>
                </c:pt>
                <c:pt idx="54">
                  <c:v>0.16134157745937849</c:v>
                </c:pt>
                <c:pt idx="55">
                  <c:v>0.1600167036203505</c:v>
                </c:pt>
                <c:pt idx="56">
                  <c:v>0.1005228034322156</c:v>
                </c:pt>
                <c:pt idx="57">
                  <c:v>0.18647132827226429</c:v>
                </c:pt>
                <c:pt idx="58">
                  <c:v>0.524186460267995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9-DBE2-48CC-8485-F6B125FAE53C}"/>
            </c:ext>
          </c:extLst>
        </c:ser>
        <c:ser>
          <c:idx val="42"/>
          <c:order val="42"/>
          <c:tx>
            <c:strRef>
              <c:f>Sheet1!$A$44</c:f>
              <c:strCache>
                <c:ptCount val="1"/>
                <c:pt idx="0">
                  <c:v>10.00547945</c:v>
                </c:pt>
              </c:strCache>
            </c:strRef>
          </c:tx>
          <c:spPr>
            <a:gradFill rotWithShape="1">
              <a:gsLst>
                <a:gs pos="0">
                  <a:schemeClr val="accent1">
                    <a:lumMod val="70000"/>
                    <a:tint val="50000"/>
                    <a:satMod val="300000"/>
                  </a:schemeClr>
                </a:gs>
                <a:gs pos="35000">
                  <a:schemeClr val="accent1">
                    <a:lumMod val="70000"/>
                    <a:tint val="37000"/>
                    <a:satMod val="300000"/>
                  </a:schemeClr>
                </a:gs>
                <a:gs pos="100000">
                  <a:schemeClr val="accent1">
                    <a:lumMod val="70000"/>
                    <a:tint val="15000"/>
                    <a:satMod val="350000"/>
                  </a:schemeClr>
                </a:gs>
              </a:gsLst>
              <a:lin ang="16200000" scaled="1"/>
            </a:gradFill>
            <a:ln w="9525" cap="flat" cmpd="sng" algn="ctr">
              <a:solidFill>
                <a:schemeClr val="accent1">
                  <a:lumMod val="70000"/>
                  <a:shade val="95000"/>
                </a:schemeClr>
              </a:solidFill>
              <a:round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  <a:sp3d contourW="9525">
              <a:contourClr>
                <a:schemeClr val="accent1">
                  <a:lumMod val="70000"/>
                  <a:shade val="95000"/>
                </a:schemeClr>
              </a:contourClr>
            </a:sp3d>
          </c:spPr>
          <c:cat>
            <c:numRef>
              <c:f>Sheet1!$B$1:$BH$1</c:f>
              <c:numCache>
                <c:formatCode>General</c:formatCode>
                <c:ptCount val="59"/>
                <c:pt idx="0">
                  <c:v>40</c:v>
                </c:pt>
                <c:pt idx="1">
                  <c:v>42.5</c:v>
                </c:pt>
                <c:pt idx="2">
                  <c:v>45</c:v>
                </c:pt>
                <c:pt idx="3">
                  <c:v>47.5</c:v>
                </c:pt>
                <c:pt idx="4">
                  <c:v>50</c:v>
                </c:pt>
                <c:pt idx="5">
                  <c:v>52.5</c:v>
                </c:pt>
                <c:pt idx="6">
                  <c:v>55</c:v>
                </c:pt>
                <c:pt idx="7">
                  <c:v>57.5</c:v>
                </c:pt>
                <c:pt idx="8">
                  <c:v>60</c:v>
                </c:pt>
                <c:pt idx="9">
                  <c:v>62.5</c:v>
                </c:pt>
                <c:pt idx="10">
                  <c:v>65</c:v>
                </c:pt>
                <c:pt idx="11">
                  <c:v>67.5</c:v>
                </c:pt>
                <c:pt idx="12">
                  <c:v>70</c:v>
                </c:pt>
                <c:pt idx="13">
                  <c:v>72.5</c:v>
                </c:pt>
                <c:pt idx="14">
                  <c:v>75</c:v>
                </c:pt>
                <c:pt idx="15">
                  <c:v>77.5</c:v>
                </c:pt>
                <c:pt idx="16">
                  <c:v>80</c:v>
                </c:pt>
                <c:pt idx="17">
                  <c:v>82.5</c:v>
                </c:pt>
                <c:pt idx="18">
                  <c:v>85</c:v>
                </c:pt>
                <c:pt idx="19">
                  <c:v>87.5</c:v>
                </c:pt>
                <c:pt idx="20">
                  <c:v>90</c:v>
                </c:pt>
                <c:pt idx="21">
                  <c:v>92.5</c:v>
                </c:pt>
                <c:pt idx="22">
                  <c:v>95</c:v>
                </c:pt>
                <c:pt idx="23">
                  <c:v>97.5</c:v>
                </c:pt>
                <c:pt idx="24">
                  <c:v>100</c:v>
                </c:pt>
                <c:pt idx="25">
                  <c:v>102.5</c:v>
                </c:pt>
                <c:pt idx="26">
                  <c:v>105</c:v>
                </c:pt>
                <c:pt idx="27">
                  <c:v>107.5</c:v>
                </c:pt>
                <c:pt idx="28">
                  <c:v>110</c:v>
                </c:pt>
                <c:pt idx="29">
                  <c:v>112.5</c:v>
                </c:pt>
                <c:pt idx="30">
                  <c:v>115</c:v>
                </c:pt>
                <c:pt idx="31">
                  <c:v>117.5</c:v>
                </c:pt>
                <c:pt idx="32">
                  <c:v>120</c:v>
                </c:pt>
                <c:pt idx="33">
                  <c:v>122.5</c:v>
                </c:pt>
                <c:pt idx="34">
                  <c:v>125</c:v>
                </c:pt>
                <c:pt idx="35">
                  <c:v>127.5</c:v>
                </c:pt>
                <c:pt idx="36">
                  <c:v>130</c:v>
                </c:pt>
                <c:pt idx="37">
                  <c:v>132.5</c:v>
                </c:pt>
                <c:pt idx="38">
                  <c:v>135</c:v>
                </c:pt>
                <c:pt idx="39">
                  <c:v>137.5</c:v>
                </c:pt>
                <c:pt idx="40">
                  <c:v>140</c:v>
                </c:pt>
                <c:pt idx="41">
                  <c:v>142.5</c:v>
                </c:pt>
                <c:pt idx="42">
                  <c:v>145</c:v>
                </c:pt>
                <c:pt idx="43">
                  <c:v>147.5</c:v>
                </c:pt>
                <c:pt idx="44">
                  <c:v>150</c:v>
                </c:pt>
                <c:pt idx="45">
                  <c:v>152.5</c:v>
                </c:pt>
                <c:pt idx="46">
                  <c:v>155</c:v>
                </c:pt>
                <c:pt idx="47">
                  <c:v>157.5</c:v>
                </c:pt>
                <c:pt idx="48">
                  <c:v>160</c:v>
                </c:pt>
                <c:pt idx="49">
                  <c:v>162.5</c:v>
                </c:pt>
                <c:pt idx="50">
                  <c:v>165</c:v>
                </c:pt>
                <c:pt idx="51">
                  <c:v>167.5</c:v>
                </c:pt>
                <c:pt idx="52">
                  <c:v>170</c:v>
                </c:pt>
                <c:pt idx="53">
                  <c:v>172.5</c:v>
                </c:pt>
                <c:pt idx="54">
                  <c:v>175</c:v>
                </c:pt>
                <c:pt idx="55">
                  <c:v>177.5</c:v>
                </c:pt>
                <c:pt idx="56">
                  <c:v>180</c:v>
                </c:pt>
                <c:pt idx="57">
                  <c:v>182.5</c:v>
                </c:pt>
                <c:pt idx="58">
                  <c:v>1000</c:v>
                </c:pt>
              </c:numCache>
            </c:numRef>
          </c:cat>
          <c:val>
            <c:numRef>
              <c:f>Sheet1!$B$44:$BH$44</c:f>
              <c:numCache>
                <c:formatCode>General</c:formatCode>
                <c:ptCount val="59"/>
                <c:pt idx="0">
                  <c:v>0.26913932315569189</c:v>
                </c:pt>
                <c:pt idx="1">
                  <c:v>0.26803733914469657</c:v>
                </c:pt>
                <c:pt idx="2">
                  <c:v>0.26656523107901747</c:v>
                </c:pt>
                <c:pt idx="3">
                  <c:v>0.26707368462643988</c:v>
                </c:pt>
                <c:pt idx="4">
                  <c:v>0.28408222650734988</c:v>
                </c:pt>
                <c:pt idx="5">
                  <c:v>0.28738150319864542</c:v>
                </c:pt>
                <c:pt idx="6">
                  <c:v>0.2859775622313715</c:v>
                </c:pt>
                <c:pt idx="7">
                  <c:v>0.27862227328181999</c:v>
                </c:pt>
                <c:pt idx="8">
                  <c:v>0.26110383835798989</c:v>
                </c:pt>
                <c:pt idx="9">
                  <c:v>0.25733613950441842</c:v>
                </c:pt>
                <c:pt idx="10">
                  <c:v>0.25464766518266868</c:v>
                </c:pt>
                <c:pt idx="11">
                  <c:v>0.26373310013021978</c:v>
                </c:pt>
                <c:pt idx="12">
                  <c:v>0.27962354406584061</c:v>
                </c:pt>
                <c:pt idx="13">
                  <c:v>0.27763293855897758</c:v>
                </c:pt>
                <c:pt idx="14">
                  <c:v>0.27408677009234461</c:v>
                </c:pt>
                <c:pt idx="15">
                  <c:v>0.23648057443712209</c:v>
                </c:pt>
                <c:pt idx="16">
                  <c:v>0.21941660184467979</c:v>
                </c:pt>
                <c:pt idx="17">
                  <c:v>0.21776956727066901</c:v>
                </c:pt>
                <c:pt idx="18">
                  <c:v>0.23944376666649431</c:v>
                </c:pt>
                <c:pt idx="19">
                  <c:v>0.23473038679201191</c:v>
                </c:pt>
                <c:pt idx="20">
                  <c:v>0.1762409416065521</c:v>
                </c:pt>
                <c:pt idx="21">
                  <c:v>0.18288658745947489</c:v>
                </c:pt>
                <c:pt idx="22">
                  <c:v>0.69890928126859231</c:v>
                </c:pt>
                <c:pt idx="23">
                  <c:v>0.5696687096074875</c:v>
                </c:pt>
                <c:pt idx="24">
                  <c:v>0.2413092138622579</c:v>
                </c:pt>
                <c:pt idx="25">
                  <c:v>0.23197682746473691</c:v>
                </c:pt>
                <c:pt idx="26">
                  <c:v>0.1987198114473552</c:v>
                </c:pt>
                <c:pt idx="27">
                  <c:v>0.16837598285902791</c:v>
                </c:pt>
                <c:pt idx="28">
                  <c:v>0.16595024696691471</c:v>
                </c:pt>
                <c:pt idx="29">
                  <c:v>0.20084319826145139</c:v>
                </c:pt>
                <c:pt idx="30">
                  <c:v>0.25453157277494642</c:v>
                </c:pt>
                <c:pt idx="31">
                  <c:v>0.21737029687427031</c:v>
                </c:pt>
                <c:pt idx="32">
                  <c:v>0.20251563176842571</c:v>
                </c:pt>
                <c:pt idx="33">
                  <c:v>0.1984666968910947</c:v>
                </c:pt>
                <c:pt idx="34">
                  <c:v>0.18664676959014481</c:v>
                </c:pt>
                <c:pt idx="35">
                  <c:v>0.18246154825011399</c:v>
                </c:pt>
                <c:pt idx="36">
                  <c:v>0.18075420519483629</c:v>
                </c:pt>
                <c:pt idx="37">
                  <c:v>0.1769226724804307</c:v>
                </c:pt>
                <c:pt idx="38">
                  <c:v>0.16827103632130519</c:v>
                </c:pt>
                <c:pt idx="39">
                  <c:v>0.16653973850801901</c:v>
                </c:pt>
                <c:pt idx="40">
                  <c:v>0.16550178256957551</c:v>
                </c:pt>
                <c:pt idx="41">
                  <c:v>0.15746593759571889</c:v>
                </c:pt>
                <c:pt idx="42">
                  <c:v>0.14769796274801891</c:v>
                </c:pt>
                <c:pt idx="43">
                  <c:v>0.1473725797099209</c:v>
                </c:pt>
                <c:pt idx="44">
                  <c:v>0.14785445702551861</c:v>
                </c:pt>
                <c:pt idx="45">
                  <c:v>0.1925388629401002</c:v>
                </c:pt>
                <c:pt idx="46">
                  <c:v>0.24862920784448139</c:v>
                </c:pt>
                <c:pt idx="47">
                  <c:v>0.2417699828659807</c:v>
                </c:pt>
                <c:pt idx="48">
                  <c:v>0.22752720672207219</c:v>
                </c:pt>
                <c:pt idx="49">
                  <c:v>0.17625234689887939</c:v>
                </c:pt>
                <c:pt idx="50">
                  <c:v>0.16672053636853229</c:v>
                </c:pt>
                <c:pt idx="51">
                  <c:v>0.1652280445640211</c:v>
                </c:pt>
                <c:pt idx="52">
                  <c:v>0.16375497034958791</c:v>
                </c:pt>
                <c:pt idx="53">
                  <c:v>0.1623336436866098</c:v>
                </c:pt>
                <c:pt idx="54">
                  <c:v>0.16096240217250099</c:v>
                </c:pt>
                <c:pt idx="55">
                  <c:v>0.1596396592525742</c:v>
                </c:pt>
                <c:pt idx="56">
                  <c:v>9.8883016033208149E-2</c:v>
                </c:pt>
                <c:pt idx="57">
                  <c:v>0.1860938023532622</c:v>
                </c:pt>
                <c:pt idx="58">
                  <c:v>0.522134827831357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A-DBE2-48CC-8485-F6B125FAE53C}"/>
            </c:ext>
          </c:extLst>
        </c:ser>
        <c:bandFmts>
          <c:bandFmt>
            <c:idx val="0"/>
            <c:spPr>
              <a:gradFill rotWithShape="1">
                <a:gsLst>
                  <a:gs pos="0">
                    <a:schemeClr val="accent1">
                      <a:tint val="50000"/>
                      <a:satMod val="300000"/>
                    </a:schemeClr>
                  </a:gs>
                  <a:gs pos="35000">
                    <a:schemeClr val="accent1">
                      <a:tint val="37000"/>
                      <a:satMod val="300000"/>
                    </a:schemeClr>
                  </a:gs>
                  <a:gs pos="100000">
                    <a:schemeClr val="accent1">
                      <a:tint val="15000"/>
                      <a:satMod val="350000"/>
                    </a:schemeClr>
                  </a:gs>
                </a:gsLst>
                <a:lin ang="16200000" scaled="1"/>
              </a:gradFill>
              <a:ln w="9525" cap="flat" cmpd="sng" algn="ctr">
                <a:solidFill>
                  <a:schemeClr val="accent1">
                    <a:shade val="95000"/>
                  </a:schemeClr>
                </a:solidFill>
                <a:round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  <a:sp3d contourW="9525">
                <a:contourClr>
                  <a:schemeClr val="accent1">
                    <a:shade val="95000"/>
                  </a:schemeClr>
                </a:contourClr>
              </a:sp3d>
            </c:spPr>
          </c:bandFmt>
          <c:bandFmt>
            <c:idx val="1"/>
            <c:spPr>
              <a:gradFill rotWithShape="1">
                <a:gsLst>
                  <a:gs pos="0">
                    <a:schemeClr val="accent2">
                      <a:tint val="50000"/>
                      <a:satMod val="300000"/>
                    </a:schemeClr>
                  </a:gs>
                  <a:gs pos="35000">
                    <a:schemeClr val="accent2">
                      <a:tint val="37000"/>
                      <a:satMod val="300000"/>
                    </a:schemeClr>
                  </a:gs>
                  <a:gs pos="100000">
                    <a:schemeClr val="accent2">
                      <a:tint val="15000"/>
                      <a:satMod val="350000"/>
                    </a:schemeClr>
                  </a:gs>
                </a:gsLst>
                <a:lin ang="16200000" scaled="1"/>
              </a:gradFill>
              <a:ln w="9525" cap="flat" cmpd="sng" algn="ctr">
                <a:solidFill>
                  <a:schemeClr val="accent2">
                    <a:shade val="95000"/>
                  </a:schemeClr>
                </a:solidFill>
                <a:round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  <a:sp3d contourW="9525">
                <a:contourClr>
                  <a:schemeClr val="accent2">
                    <a:shade val="95000"/>
                  </a:schemeClr>
                </a:contourClr>
              </a:sp3d>
            </c:spPr>
          </c:bandFmt>
          <c:bandFmt>
            <c:idx val="2"/>
            <c:spPr>
              <a:gradFill rotWithShape="1">
                <a:gsLst>
                  <a:gs pos="0">
                    <a:schemeClr val="accent3">
                      <a:tint val="50000"/>
                      <a:satMod val="300000"/>
                    </a:schemeClr>
                  </a:gs>
                  <a:gs pos="35000">
                    <a:schemeClr val="accent3">
                      <a:tint val="37000"/>
                      <a:satMod val="300000"/>
                    </a:schemeClr>
                  </a:gs>
                  <a:gs pos="100000">
                    <a:schemeClr val="accent3">
                      <a:tint val="15000"/>
                      <a:satMod val="350000"/>
                    </a:schemeClr>
                  </a:gs>
                </a:gsLst>
                <a:lin ang="16200000" scaled="1"/>
              </a:gradFill>
              <a:ln w="9525" cap="flat" cmpd="sng" algn="ctr">
                <a:solidFill>
                  <a:schemeClr val="accent3">
                    <a:shade val="95000"/>
                  </a:schemeClr>
                </a:solidFill>
                <a:round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  <a:sp3d contourW="9525">
                <a:contourClr>
                  <a:schemeClr val="accent3">
                    <a:shade val="95000"/>
                  </a:schemeClr>
                </a:contourClr>
              </a:sp3d>
            </c:spPr>
          </c:bandFmt>
          <c:bandFmt>
            <c:idx val="3"/>
            <c:spPr>
              <a:gradFill rotWithShape="1">
                <a:gsLst>
                  <a:gs pos="0">
                    <a:schemeClr val="accent4">
                      <a:tint val="50000"/>
                      <a:satMod val="300000"/>
                    </a:schemeClr>
                  </a:gs>
                  <a:gs pos="35000">
                    <a:schemeClr val="accent4">
                      <a:tint val="37000"/>
                      <a:satMod val="300000"/>
                    </a:schemeClr>
                  </a:gs>
                  <a:gs pos="100000">
                    <a:schemeClr val="accent4">
                      <a:tint val="15000"/>
                      <a:satMod val="350000"/>
                    </a:schemeClr>
                  </a:gs>
                </a:gsLst>
                <a:lin ang="16200000" scaled="1"/>
              </a:gradFill>
              <a:ln w="9525" cap="flat" cmpd="sng" algn="ctr">
                <a:solidFill>
                  <a:schemeClr val="accent4">
                    <a:shade val="95000"/>
                  </a:schemeClr>
                </a:solidFill>
                <a:round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  <a:sp3d contourW="9525">
                <a:contourClr>
                  <a:schemeClr val="accent4">
                    <a:shade val="95000"/>
                  </a:schemeClr>
                </a:contourClr>
              </a:sp3d>
            </c:spPr>
          </c:bandFmt>
          <c:bandFmt>
            <c:idx val="4"/>
            <c:spPr>
              <a:gradFill rotWithShape="1">
                <a:gsLst>
                  <a:gs pos="0">
                    <a:schemeClr val="accent5">
                      <a:tint val="50000"/>
                      <a:satMod val="300000"/>
                    </a:schemeClr>
                  </a:gs>
                  <a:gs pos="35000">
                    <a:schemeClr val="accent5">
                      <a:tint val="37000"/>
                      <a:satMod val="300000"/>
                    </a:schemeClr>
                  </a:gs>
                  <a:gs pos="100000">
                    <a:schemeClr val="accent5">
                      <a:tint val="15000"/>
                      <a:satMod val="350000"/>
                    </a:schemeClr>
                  </a:gs>
                </a:gsLst>
                <a:lin ang="16200000" scaled="1"/>
              </a:gradFill>
              <a:ln w="9525" cap="flat" cmpd="sng" algn="ctr">
                <a:solidFill>
                  <a:schemeClr val="accent5">
                    <a:shade val="95000"/>
                  </a:schemeClr>
                </a:solidFill>
                <a:round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  <a:sp3d contourW="9525">
                <a:contourClr>
                  <a:schemeClr val="accent5">
                    <a:shade val="95000"/>
                  </a:schemeClr>
                </a:contourClr>
              </a:sp3d>
            </c:spPr>
          </c:bandFmt>
          <c:bandFmt>
            <c:idx val="5"/>
            <c:spPr>
              <a:gradFill rotWithShape="1">
                <a:gsLst>
                  <a:gs pos="0">
                    <a:schemeClr val="accent6">
                      <a:tint val="50000"/>
                      <a:satMod val="300000"/>
                    </a:schemeClr>
                  </a:gs>
                  <a:gs pos="35000">
                    <a:schemeClr val="accent6">
                      <a:tint val="37000"/>
                      <a:satMod val="300000"/>
                    </a:schemeClr>
                  </a:gs>
                  <a:gs pos="100000">
                    <a:schemeClr val="accent6">
                      <a:tint val="15000"/>
                      <a:satMod val="350000"/>
                    </a:schemeClr>
                  </a:gs>
                </a:gsLst>
                <a:lin ang="16200000" scaled="1"/>
              </a:gradFill>
              <a:ln w="9525" cap="flat" cmpd="sng" algn="ctr">
                <a:solidFill>
                  <a:schemeClr val="accent6">
                    <a:shade val="95000"/>
                  </a:schemeClr>
                </a:solidFill>
                <a:round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  <a:sp3d contourW="9525">
                <a:contourClr>
                  <a:schemeClr val="accent6">
                    <a:shade val="95000"/>
                  </a:schemeClr>
                </a:contourClr>
              </a:sp3d>
            </c:spPr>
          </c:bandFmt>
          <c:bandFmt>
            <c:idx val="6"/>
            <c:spPr>
              <a:gradFill rotWithShape="1">
                <a:gsLst>
                  <a:gs pos="0">
                    <a:schemeClr val="accent1">
                      <a:lumMod val="60000"/>
                      <a:tint val="50000"/>
                      <a:satMod val="300000"/>
                    </a:schemeClr>
                  </a:gs>
                  <a:gs pos="35000">
                    <a:schemeClr val="accent1">
                      <a:lumMod val="60000"/>
                      <a:tint val="37000"/>
                      <a:satMod val="300000"/>
                    </a:schemeClr>
                  </a:gs>
                  <a:gs pos="100000">
                    <a:schemeClr val="accent1">
                      <a:lumMod val="60000"/>
                      <a:tint val="15000"/>
                      <a:satMod val="350000"/>
                    </a:schemeClr>
                  </a:gs>
                </a:gsLst>
                <a:lin ang="16200000" scaled="1"/>
              </a:gradFill>
              <a:ln w="9525" cap="flat" cmpd="sng" algn="ctr">
                <a:solidFill>
                  <a:schemeClr val="accent1">
                    <a:lumMod val="60000"/>
                    <a:shade val="95000"/>
                  </a:schemeClr>
                </a:solidFill>
                <a:round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  <a:sp3d contourW="9525">
                <a:contourClr>
                  <a:schemeClr val="accent1">
                    <a:lumMod val="60000"/>
                    <a:shade val="95000"/>
                  </a:schemeClr>
                </a:contourClr>
              </a:sp3d>
            </c:spPr>
          </c:bandFmt>
          <c:bandFmt>
            <c:idx val="7"/>
            <c:spPr>
              <a:gradFill rotWithShape="1">
                <a:gsLst>
                  <a:gs pos="0">
                    <a:schemeClr val="accent2">
                      <a:lumMod val="60000"/>
                      <a:tint val="50000"/>
                      <a:satMod val="300000"/>
                    </a:schemeClr>
                  </a:gs>
                  <a:gs pos="35000">
                    <a:schemeClr val="accent2">
                      <a:lumMod val="60000"/>
                      <a:tint val="37000"/>
                      <a:satMod val="300000"/>
                    </a:schemeClr>
                  </a:gs>
                  <a:gs pos="100000">
                    <a:schemeClr val="accent2">
                      <a:lumMod val="60000"/>
                      <a:tint val="15000"/>
                      <a:satMod val="350000"/>
                    </a:schemeClr>
                  </a:gs>
                </a:gsLst>
                <a:lin ang="16200000" scaled="1"/>
              </a:gradFill>
              <a:ln w="9525" cap="flat" cmpd="sng" algn="ctr">
                <a:solidFill>
                  <a:schemeClr val="accent2">
                    <a:lumMod val="60000"/>
                    <a:shade val="95000"/>
                  </a:schemeClr>
                </a:solidFill>
                <a:round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  <a:sp3d contourW="9525">
                <a:contourClr>
                  <a:schemeClr val="accent2">
                    <a:lumMod val="60000"/>
                    <a:shade val="95000"/>
                  </a:schemeClr>
                </a:contourClr>
              </a:sp3d>
            </c:spPr>
          </c:bandFmt>
          <c:bandFmt>
            <c:idx val="8"/>
            <c:spPr>
              <a:gradFill rotWithShape="1">
                <a:gsLst>
                  <a:gs pos="0">
                    <a:schemeClr val="accent3">
                      <a:lumMod val="60000"/>
                      <a:tint val="50000"/>
                      <a:satMod val="300000"/>
                    </a:schemeClr>
                  </a:gs>
                  <a:gs pos="35000">
                    <a:schemeClr val="accent3">
                      <a:lumMod val="60000"/>
                      <a:tint val="37000"/>
                      <a:satMod val="300000"/>
                    </a:schemeClr>
                  </a:gs>
                  <a:gs pos="100000">
                    <a:schemeClr val="accent3">
                      <a:lumMod val="60000"/>
                      <a:tint val="15000"/>
                      <a:satMod val="350000"/>
                    </a:schemeClr>
                  </a:gs>
                </a:gsLst>
                <a:lin ang="16200000" scaled="1"/>
              </a:gradFill>
              <a:ln w="9525" cap="flat" cmpd="sng" algn="ctr">
                <a:solidFill>
                  <a:schemeClr val="accent3">
                    <a:lumMod val="60000"/>
                    <a:shade val="95000"/>
                  </a:schemeClr>
                </a:solidFill>
                <a:round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  <a:sp3d contourW="9525">
                <a:contourClr>
                  <a:schemeClr val="accent3">
                    <a:lumMod val="60000"/>
                    <a:shade val="95000"/>
                  </a:schemeClr>
                </a:contourClr>
              </a:sp3d>
            </c:spPr>
          </c:bandFmt>
          <c:bandFmt>
            <c:idx val="9"/>
            <c:spPr>
              <a:gradFill rotWithShape="1">
                <a:gsLst>
                  <a:gs pos="0">
                    <a:schemeClr val="accent4">
                      <a:lumMod val="60000"/>
                      <a:tint val="50000"/>
                      <a:satMod val="300000"/>
                    </a:schemeClr>
                  </a:gs>
                  <a:gs pos="35000">
                    <a:schemeClr val="accent4">
                      <a:lumMod val="60000"/>
                      <a:tint val="37000"/>
                      <a:satMod val="300000"/>
                    </a:schemeClr>
                  </a:gs>
                  <a:gs pos="100000">
                    <a:schemeClr val="accent4">
                      <a:lumMod val="60000"/>
                      <a:tint val="15000"/>
                      <a:satMod val="350000"/>
                    </a:schemeClr>
                  </a:gs>
                </a:gsLst>
                <a:lin ang="16200000" scaled="1"/>
              </a:gradFill>
              <a:ln w="9525" cap="flat" cmpd="sng" algn="ctr">
                <a:solidFill>
                  <a:schemeClr val="accent4">
                    <a:lumMod val="60000"/>
                    <a:shade val="95000"/>
                  </a:schemeClr>
                </a:solidFill>
                <a:round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  <a:sp3d contourW="9525">
                <a:contourClr>
                  <a:schemeClr val="accent4">
                    <a:lumMod val="60000"/>
                    <a:shade val="95000"/>
                  </a:schemeClr>
                </a:contourClr>
              </a:sp3d>
            </c:spPr>
          </c:bandFmt>
          <c:bandFmt>
            <c:idx val="10"/>
            <c:spPr>
              <a:gradFill rotWithShape="1">
                <a:gsLst>
                  <a:gs pos="0">
                    <a:schemeClr val="accent5">
                      <a:lumMod val="60000"/>
                      <a:tint val="50000"/>
                      <a:satMod val="300000"/>
                    </a:schemeClr>
                  </a:gs>
                  <a:gs pos="35000">
                    <a:schemeClr val="accent5">
                      <a:lumMod val="60000"/>
                      <a:tint val="37000"/>
                      <a:satMod val="300000"/>
                    </a:schemeClr>
                  </a:gs>
                  <a:gs pos="100000">
                    <a:schemeClr val="accent5">
                      <a:lumMod val="60000"/>
                      <a:tint val="15000"/>
                      <a:satMod val="350000"/>
                    </a:schemeClr>
                  </a:gs>
                </a:gsLst>
                <a:lin ang="16200000" scaled="1"/>
              </a:gradFill>
              <a:ln w="9525" cap="flat" cmpd="sng" algn="ctr">
                <a:solidFill>
                  <a:schemeClr val="accent5">
                    <a:lumMod val="60000"/>
                    <a:shade val="95000"/>
                  </a:schemeClr>
                </a:solidFill>
                <a:round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  <a:sp3d contourW="9525">
                <a:contourClr>
                  <a:schemeClr val="accent5">
                    <a:lumMod val="60000"/>
                    <a:shade val="95000"/>
                  </a:schemeClr>
                </a:contourClr>
              </a:sp3d>
            </c:spPr>
          </c:bandFmt>
          <c:bandFmt>
            <c:idx val="11"/>
            <c:spPr>
              <a:gradFill rotWithShape="1">
                <a:gsLst>
                  <a:gs pos="0">
                    <a:schemeClr val="accent6">
                      <a:lumMod val="60000"/>
                      <a:tint val="50000"/>
                      <a:satMod val="300000"/>
                    </a:schemeClr>
                  </a:gs>
                  <a:gs pos="35000">
                    <a:schemeClr val="accent6">
                      <a:lumMod val="60000"/>
                      <a:tint val="37000"/>
                      <a:satMod val="300000"/>
                    </a:schemeClr>
                  </a:gs>
                  <a:gs pos="100000">
                    <a:schemeClr val="accent6">
                      <a:lumMod val="60000"/>
                      <a:tint val="15000"/>
                      <a:satMod val="350000"/>
                    </a:schemeClr>
                  </a:gs>
                </a:gsLst>
                <a:lin ang="16200000" scaled="1"/>
              </a:gradFill>
              <a:ln w="9525" cap="flat" cmpd="sng" algn="ctr">
                <a:solidFill>
                  <a:schemeClr val="accent6">
                    <a:lumMod val="60000"/>
                    <a:shade val="95000"/>
                  </a:schemeClr>
                </a:solidFill>
                <a:round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  <a:sp3d contourW="9525">
                <a:contourClr>
                  <a:schemeClr val="accent6">
                    <a:lumMod val="60000"/>
                    <a:shade val="95000"/>
                  </a:schemeClr>
                </a:contourClr>
              </a:sp3d>
            </c:spPr>
          </c:bandFmt>
          <c:bandFmt>
            <c:idx val="12"/>
            <c:spPr>
              <a:gradFill rotWithShape="1">
                <a:gsLst>
                  <a:gs pos="0">
                    <a:schemeClr val="accent1">
                      <a:lumMod val="80000"/>
                      <a:lumOff val="20000"/>
                      <a:tint val="50000"/>
                      <a:satMod val="300000"/>
                    </a:schemeClr>
                  </a:gs>
                  <a:gs pos="35000">
                    <a:schemeClr val="accent1">
                      <a:lumMod val="80000"/>
                      <a:lumOff val="20000"/>
                      <a:tint val="37000"/>
                      <a:satMod val="300000"/>
                    </a:schemeClr>
                  </a:gs>
                  <a:gs pos="100000">
                    <a:schemeClr val="accent1">
                      <a:lumMod val="80000"/>
                      <a:lumOff val="20000"/>
                      <a:tint val="15000"/>
                      <a:satMod val="350000"/>
                    </a:schemeClr>
                  </a:gs>
                </a:gsLst>
                <a:lin ang="16200000" scaled="1"/>
              </a:gradFill>
              <a:ln w="9525" cap="flat" cmpd="sng" algn="ctr">
                <a:solidFill>
                  <a:schemeClr val="accent1">
                    <a:lumMod val="80000"/>
                    <a:lumOff val="20000"/>
                    <a:shade val="95000"/>
                  </a:schemeClr>
                </a:solidFill>
                <a:round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  <a:sp3d contourW="9525">
                <a:contourClr>
                  <a:schemeClr val="accent1">
                    <a:lumMod val="80000"/>
                    <a:lumOff val="20000"/>
                    <a:shade val="95000"/>
                  </a:schemeClr>
                </a:contourClr>
              </a:sp3d>
            </c:spPr>
          </c:bandFmt>
          <c:bandFmt>
            <c:idx val="13"/>
            <c:spPr>
              <a:gradFill rotWithShape="1">
                <a:gsLst>
                  <a:gs pos="0">
                    <a:schemeClr val="accent2">
                      <a:lumMod val="80000"/>
                      <a:lumOff val="20000"/>
                      <a:tint val="50000"/>
                      <a:satMod val="300000"/>
                    </a:schemeClr>
                  </a:gs>
                  <a:gs pos="35000">
                    <a:schemeClr val="accent2">
                      <a:lumMod val="80000"/>
                      <a:lumOff val="20000"/>
                      <a:tint val="37000"/>
                      <a:satMod val="300000"/>
                    </a:schemeClr>
                  </a:gs>
                  <a:gs pos="100000">
                    <a:schemeClr val="accent2">
                      <a:lumMod val="80000"/>
                      <a:lumOff val="20000"/>
                      <a:tint val="15000"/>
                      <a:satMod val="350000"/>
                    </a:schemeClr>
                  </a:gs>
                </a:gsLst>
                <a:lin ang="16200000" scaled="1"/>
              </a:gradFill>
              <a:ln w="9525" cap="flat" cmpd="sng" algn="ctr">
                <a:solidFill>
                  <a:schemeClr val="accent2">
                    <a:lumMod val="80000"/>
                    <a:lumOff val="20000"/>
                    <a:shade val="95000"/>
                  </a:schemeClr>
                </a:solidFill>
                <a:round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  <a:sp3d contourW="9525">
                <a:contourClr>
                  <a:schemeClr val="accent2">
                    <a:lumMod val="80000"/>
                    <a:lumOff val="20000"/>
                    <a:shade val="95000"/>
                  </a:schemeClr>
                </a:contourClr>
              </a:sp3d>
            </c:spPr>
          </c:bandFmt>
          <c:bandFmt>
            <c:idx val="14"/>
            <c:spPr>
              <a:gradFill rotWithShape="1">
                <a:gsLst>
                  <a:gs pos="0">
                    <a:schemeClr val="accent3">
                      <a:lumMod val="80000"/>
                      <a:lumOff val="20000"/>
                      <a:tint val="50000"/>
                      <a:satMod val="300000"/>
                    </a:schemeClr>
                  </a:gs>
                  <a:gs pos="35000">
                    <a:schemeClr val="accent3">
                      <a:lumMod val="80000"/>
                      <a:lumOff val="20000"/>
                      <a:tint val="37000"/>
                      <a:satMod val="300000"/>
                    </a:schemeClr>
                  </a:gs>
                  <a:gs pos="100000">
                    <a:schemeClr val="accent3">
                      <a:lumMod val="80000"/>
                      <a:lumOff val="20000"/>
                      <a:tint val="15000"/>
                      <a:satMod val="350000"/>
                    </a:schemeClr>
                  </a:gs>
                </a:gsLst>
                <a:lin ang="16200000" scaled="1"/>
              </a:gradFill>
              <a:ln w="9525" cap="flat" cmpd="sng" algn="ctr">
                <a:solidFill>
                  <a:schemeClr val="accent3">
                    <a:lumMod val="80000"/>
                    <a:lumOff val="20000"/>
                    <a:shade val="95000"/>
                  </a:schemeClr>
                </a:solidFill>
                <a:round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  <a:sp3d contourW="9525">
                <a:contourClr>
                  <a:schemeClr val="accent3">
                    <a:lumMod val="80000"/>
                    <a:lumOff val="20000"/>
                    <a:shade val="95000"/>
                  </a:schemeClr>
                </a:contourClr>
              </a:sp3d>
            </c:spPr>
          </c:bandFmt>
        </c:bandFmts>
        <c:axId val="714094848"/>
        <c:axId val="714095176"/>
        <c:axId val="845175976"/>
      </c:surface3DChart>
      <c:catAx>
        <c:axId val="714094848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197" b="0" i="0" u="none" strike="noStrike" kern="1200" cap="all" baseline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IN" dirty="0"/>
                  <a:t>Moneyness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14095176"/>
        <c:crosses val="autoZero"/>
        <c:auto val="1"/>
        <c:lblAlgn val="ctr"/>
        <c:lblOffset val="100"/>
        <c:noMultiLvlLbl val="0"/>
      </c:catAx>
      <c:valAx>
        <c:axId val="71409517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197" b="0" i="0" u="none" strike="noStrike" kern="1200" cap="all" baseline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IN" dirty="0"/>
                  <a:t>VOL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14094848"/>
        <c:crosses val="autoZero"/>
        <c:crossBetween val="midCat"/>
      </c:valAx>
      <c:serAx>
        <c:axId val="845175976"/>
        <c:scaling>
          <c:orientation val="minMax"/>
        </c:scaling>
        <c:delete val="0"/>
        <c:axPos val="b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197" b="0" i="0" u="none" strike="noStrike" kern="1200" cap="all" baseline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IN" dirty="0"/>
                  <a:t>Maturity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</c:title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14095176"/>
        <c:crosses val="autoZero"/>
      </c:ser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rtl="0">
            <a:defRPr sz="1197" b="0" i="0" u="none" strike="noStrike" kern="1200" baseline="0">
              <a:solidFill>
                <a:schemeClr val="tx1">
                  <a:lumMod val="50000"/>
                  <a:lumOff val="50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cap="none" spc="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Imp Vol</a:t>
            </a:r>
          </a:p>
        </c:rich>
      </c:tx>
      <c:overlay val="0"/>
      <c:spPr>
        <a:noFill/>
        <a:ln>
          <a:noFill/>
        </a:ln>
        <a:effectLst/>
      </c:spPr>
    </c:title>
    <c:autoTitleDeleted val="0"/>
    <c:view3D>
      <c:rotX val="15"/>
      <c:rotY val="20"/>
      <c:rAngAx val="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/>
      <c:surface3DChart>
        <c:wireframe val="0"/>
        <c:ser>
          <c:idx val="0"/>
          <c:order val="0"/>
          <c:tx>
            <c:strRef>
              <c:f>Sheet1!$A$2</c:f>
              <c:strCache>
                <c:ptCount val="1"/>
                <c:pt idx="0">
                  <c:v>0.019178082</c:v>
                </c:pt>
              </c:strCache>
            </c:strRef>
          </c:tx>
          <c:spPr>
            <a:gradFill rotWithShape="1">
              <a:gsLst>
                <a:gs pos="0">
                  <a:schemeClr val="accent1">
                    <a:tint val="50000"/>
                    <a:satMod val="300000"/>
                  </a:schemeClr>
                </a:gs>
                <a:gs pos="35000">
                  <a:schemeClr val="accent1">
                    <a:tint val="37000"/>
                    <a:satMod val="300000"/>
                  </a:schemeClr>
                </a:gs>
                <a:gs pos="100000">
                  <a:schemeClr val="accent1">
                    <a:tint val="15000"/>
                    <a:satMod val="350000"/>
                  </a:schemeClr>
                </a:gs>
              </a:gsLst>
              <a:lin ang="16200000" scaled="1"/>
            </a:gradFill>
            <a:ln w="9525" cap="flat" cmpd="sng" algn="ctr">
              <a:solidFill>
                <a:schemeClr val="accent1">
                  <a:shade val="95000"/>
                </a:schemeClr>
              </a:solidFill>
              <a:round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  <a:sp3d contourW="9525">
              <a:contourClr>
                <a:schemeClr val="accent1">
                  <a:shade val="95000"/>
                </a:schemeClr>
              </a:contourClr>
            </a:sp3d>
          </c:spPr>
          <c:cat>
            <c:numRef>
              <c:f>Sheet1!$B$1:$BH$1</c:f>
              <c:numCache>
                <c:formatCode>General</c:formatCode>
                <c:ptCount val="59"/>
                <c:pt idx="0">
                  <c:v>40</c:v>
                </c:pt>
                <c:pt idx="1">
                  <c:v>42.5</c:v>
                </c:pt>
                <c:pt idx="2">
                  <c:v>45</c:v>
                </c:pt>
                <c:pt idx="3">
                  <c:v>47.5</c:v>
                </c:pt>
                <c:pt idx="4">
                  <c:v>50</c:v>
                </c:pt>
                <c:pt idx="5">
                  <c:v>52.5</c:v>
                </c:pt>
                <c:pt idx="6">
                  <c:v>55</c:v>
                </c:pt>
                <c:pt idx="7">
                  <c:v>57.5</c:v>
                </c:pt>
                <c:pt idx="8">
                  <c:v>60</c:v>
                </c:pt>
                <c:pt idx="9">
                  <c:v>62.5</c:v>
                </c:pt>
                <c:pt idx="10">
                  <c:v>65</c:v>
                </c:pt>
                <c:pt idx="11">
                  <c:v>67.5</c:v>
                </c:pt>
                <c:pt idx="12">
                  <c:v>70</c:v>
                </c:pt>
                <c:pt idx="13">
                  <c:v>72.5</c:v>
                </c:pt>
                <c:pt idx="14">
                  <c:v>75</c:v>
                </c:pt>
                <c:pt idx="15">
                  <c:v>77.5</c:v>
                </c:pt>
                <c:pt idx="16">
                  <c:v>80</c:v>
                </c:pt>
                <c:pt idx="17">
                  <c:v>82.5</c:v>
                </c:pt>
                <c:pt idx="18">
                  <c:v>85</c:v>
                </c:pt>
                <c:pt idx="19">
                  <c:v>87.5</c:v>
                </c:pt>
                <c:pt idx="20">
                  <c:v>90</c:v>
                </c:pt>
                <c:pt idx="21">
                  <c:v>92.5</c:v>
                </c:pt>
                <c:pt idx="22">
                  <c:v>95</c:v>
                </c:pt>
                <c:pt idx="23">
                  <c:v>97.5</c:v>
                </c:pt>
                <c:pt idx="24">
                  <c:v>100</c:v>
                </c:pt>
                <c:pt idx="25">
                  <c:v>102.5</c:v>
                </c:pt>
                <c:pt idx="26">
                  <c:v>105</c:v>
                </c:pt>
                <c:pt idx="27">
                  <c:v>107.5</c:v>
                </c:pt>
                <c:pt idx="28">
                  <c:v>110</c:v>
                </c:pt>
                <c:pt idx="29">
                  <c:v>112.5</c:v>
                </c:pt>
                <c:pt idx="30">
                  <c:v>115</c:v>
                </c:pt>
                <c:pt idx="31">
                  <c:v>117.5</c:v>
                </c:pt>
                <c:pt idx="32">
                  <c:v>120</c:v>
                </c:pt>
                <c:pt idx="33">
                  <c:v>122.5</c:v>
                </c:pt>
                <c:pt idx="34">
                  <c:v>125</c:v>
                </c:pt>
                <c:pt idx="35">
                  <c:v>127.5</c:v>
                </c:pt>
                <c:pt idx="36">
                  <c:v>130</c:v>
                </c:pt>
                <c:pt idx="37">
                  <c:v>132.5</c:v>
                </c:pt>
                <c:pt idx="38">
                  <c:v>135</c:v>
                </c:pt>
                <c:pt idx="39">
                  <c:v>137.5</c:v>
                </c:pt>
                <c:pt idx="40">
                  <c:v>140</c:v>
                </c:pt>
                <c:pt idx="41">
                  <c:v>142.5</c:v>
                </c:pt>
                <c:pt idx="42">
                  <c:v>145</c:v>
                </c:pt>
                <c:pt idx="43">
                  <c:v>147.5</c:v>
                </c:pt>
                <c:pt idx="44">
                  <c:v>150</c:v>
                </c:pt>
                <c:pt idx="45">
                  <c:v>152.5</c:v>
                </c:pt>
                <c:pt idx="46">
                  <c:v>155</c:v>
                </c:pt>
                <c:pt idx="47">
                  <c:v>157.5</c:v>
                </c:pt>
                <c:pt idx="48">
                  <c:v>160</c:v>
                </c:pt>
                <c:pt idx="49">
                  <c:v>162.5</c:v>
                </c:pt>
                <c:pt idx="50">
                  <c:v>165</c:v>
                </c:pt>
                <c:pt idx="51">
                  <c:v>167.5</c:v>
                </c:pt>
                <c:pt idx="52">
                  <c:v>170</c:v>
                </c:pt>
                <c:pt idx="53">
                  <c:v>172.5</c:v>
                </c:pt>
                <c:pt idx="54">
                  <c:v>175</c:v>
                </c:pt>
                <c:pt idx="55">
                  <c:v>177.5</c:v>
                </c:pt>
                <c:pt idx="56">
                  <c:v>180</c:v>
                </c:pt>
                <c:pt idx="57">
                  <c:v>182.5</c:v>
                </c:pt>
                <c:pt idx="58">
                  <c:v>1000</c:v>
                </c:pt>
              </c:numCache>
            </c:numRef>
          </c:cat>
          <c:val>
            <c:numRef>
              <c:f>Sheet1!$B$2:$BH$2</c:f>
              <c:numCache>
                <c:formatCode>General</c:formatCode>
                <c:ptCount val="59"/>
                <c:pt idx="0">
                  <c:v>1.409600005343691</c:v>
                </c:pt>
                <c:pt idx="1">
                  <c:v>1.3558131919361009</c:v>
                </c:pt>
                <c:pt idx="2">
                  <c:v>1.3031404642462221</c:v>
                </c:pt>
                <c:pt idx="3">
                  <c:v>1.25134305654928</c:v>
                </c:pt>
                <c:pt idx="4">
                  <c:v>1.2002000046062831</c:v>
                </c:pt>
                <c:pt idx="5">
                  <c:v>1.14950107498122</c:v>
                </c:pt>
                <c:pt idx="6">
                  <c:v>1.099041208449925</c:v>
                </c:pt>
                <c:pt idx="7">
                  <c:v>1.048747125334544</c:v>
                </c:pt>
                <c:pt idx="8">
                  <c:v>0.99850000388148252</c:v>
                </c:pt>
                <c:pt idx="9">
                  <c:v>0.94807370309629213</c:v>
                </c:pt>
                <c:pt idx="10">
                  <c:v>0.89722135438562878</c:v>
                </c:pt>
                <c:pt idx="11">
                  <c:v>0.84569707637379521</c:v>
                </c:pt>
                <c:pt idx="12">
                  <c:v>0.7932000030766202</c:v>
                </c:pt>
                <c:pt idx="13">
                  <c:v>0.73933262706113712</c:v>
                </c:pt>
                <c:pt idx="14">
                  <c:v>0.68359181980892947</c:v>
                </c:pt>
                <c:pt idx="15">
                  <c:v>0.62656455404397926</c:v>
                </c:pt>
                <c:pt idx="16">
                  <c:v>0.56860000210209005</c:v>
                </c:pt>
                <c:pt idx="17">
                  <c:v>0.50895841034081368</c:v>
                </c:pt>
                <c:pt idx="18">
                  <c:v>0.44654805112210438</c:v>
                </c:pt>
                <c:pt idx="19">
                  <c:v>0.3827080075466075</c:v>
                </c:pt>
                <c:pt idx="20">
                  <c:v>0.31870000085179673</c:v>
                </c:pt>
                <c:pt idx="21">
                  <c:v>0.25318082465009029</c:v>
                </c:pt>
                <c:pt idx="22">
                  <c:v>0.1904000000282525</c:v>
                </c:pt>
                <c:pt idx="23">
                  <c:v>0.14087712321940221</c:v>
                </c:pt>
                <c:pt idx="24">
                  <c:v>0.11039999976351041</c:v>
                </c:pt>
                <c:pt idx="25">
                  <c:v>0.1045413814643964</c:v>
                </c:pt>
                <c:pt idx="26">
                  <c:v>0.119800000207324</c:v>
                </c:pt>
                <c:pt idx="27">
                  <c:v>0.14476182745314739</c:v>
                </c:pt>
                <c:pt idx="28">
                  <c:v>0.17110000052370281</c:v>
                </c:pt>
                <c:pt idx="29">
                  <c:v>0.1950090137043349</c:v>
                </c:pt>
                <c:pt idx="30">
                  <c:v>0.21721596700217161</c:v>
                </c:pt>
                <c:pt idx="31">
                  <c:v>0.23749598219159609</c:v>
                </c:pt>
                <c:pt idx="32">
                  <c:v>0.25580000092838312</c:v>
                </c:pt>
                <c:pt idx="33">
                  <c:v>0.27254092845786448</c:v>
                </c:pt>
                <c:pt idx="34">
                  <c:v>0.28790000106986818</c:v>
                </c:pt>
                <c:pt idx="35">
                  <c:v>0.3020118474031393</c:v>
                </c:pt>
                <c:pt idx="36">
                  <c:v>0.31510000118372528</c:v>
                </c:pt>
                <c:pt idx="37">
                  <c:v>0.32733600340717828</c:v>
                </c:pt>
                <c:pt idx="38">
                  <c:v>0.33882588193472107</c:v>
                </c:pt>
                <c:pt idx="39">
                  <c:v>0.3497108964978442</c:v>
                </c:pt>
                <c:pt idx="40">
                  <c:v>0.36010000136364728</c:v>
                </c:pt>
                <c:pt idx="41">
                  <c:v>0.37004038277700257</c:v>
                </c:pt>
                <c:pt idx="42">
                  <c:v>0.3795722974550888</c:v>
                </c:pt>
                <c:pt idx="43">
                  <c:v>0.38871836803554238</c:v>
                </c:pt>
                <c:pt idx="44">
                  <c:v>0.3975000015115302</c:v>
                </c:pt>
                <c:pt idx="45">
                  <c:v>0.40594593053245392</c:v>
                </c:pt>
                <c:pt idx="46">
                  <c:v>0.41408140344134908</c:v>
                </c:pt>
                <c:pt idx="47">
                  <c:v>0.42190001493624368</c:v>
                </c:pt>
                <c:pt idx="48">
                  <c:v>0.42940000163578068</c:v>
                </c:pt>
                <c:pt idx="49">
                  <c:v>0.43660401855082898</c:v>
                </c:pt>
                <c:pt idx="50">
                  <c:v>0.44353235785003942</c:v>
                </c:pt>
                <c:pt idx="51">
                  <c:v>0.45024743839815418</c:v>
                </c:pt>
                <c:pt idx="52">
                  <c:v>0.45680000173972751</c:v>
                </c:pt>
                <c:pt idx="53">
                  <c:v>0.46319830436981002</c:v>
                </c:pt>
                <c:pt idx="54">
                  <c:v>0.46944992113021222</c:v>
                </c:pt>
                <c:pt idx="55">
                  <c:v>0.47552478437373702</c:v>
                </c:pt>
                <c:pt idx="56">
                  <c:v>0.48140000183389131</c:v>
                </c:pt>
                <c:pt idx="57">
                  <c:v>0.48708668899591773</c:v>
                </c:pt>
                <c:pt idx="58">
                  <c:v>0.7962000032740265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27E-4C0A-99B7-33696A982CB4}"/>
            </c:ext>
          </c:extLst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0.084931507</c:v>
                </c:pt>
              </c:strCache>
            </c:strRef>
          </c:tx>
          <c:spPr>
            <a:gradFill rotWithShape="1">
              <a:gsLst>
                <a:gs pos="0">
                  <a:schemeClr val="accent2">
                    <a:tint val="50000"/>
                    <a:satMod val="300000"/>
                  </a:schemeClr>
                </a:gs>
                <a:gs pos="35000">
                  <a:schemeClr val="accent2">
                    <a:tint val="37000"/>
                    <a:satMod val="300000"/>
                  </a:schemeClr>
                </a:gs>
                <a:gs pos="100000">
                  <a:schemeClr val="accent2">
                    <a:tint val="15000"/>
                    <a:satMod val="350000"/>
                  </a:schemeClr>
                </a:gs>
              </a:gsLst>
              <a:lin ang="16200000" scaled="1"/>
            </a:gradFill>
            <a:ln w="9525" cap="flat" cmpd="sng" algn="ctr">
              <a:solidFill>
                <a:schemeClr val="accent2">
                  <a:shade val="95000"/>
                </a:schemeClr>
              </a:solidFill>
              <a:round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  <a:sp3d contourW="9525">
              <a:contourClr>
                <a:schemeClr val="accent2">
                  <a:shade val="95000"/>
                </a:schemeClr>
              </a:contourClr>
            </a:sp3d>
          </c:spPr>
          <c:cat>
            <c:numRef>
              <c:f>Sheet1!$B$1:$BH$1</c:f>
              <c:numCache>
                <c:formatCode>General</c:formatCode>
                <c:ptCount val="59"/>
                <c:pt idx="0">
                  <c:v>40</c:v>
                </c:pt>
                <c:pt idx="1">
                  <c:v>42.5</c:v>
                </c:pt>
                <c:pt idx="2">
                  <c:v>45</c:v>
                </c:pt>
                <c:pt idx="3">
                  <c:v>47.5</c:v>
                </c:pt>
                <c:pt idx="4">
                  <c:v>50</c:v>
                </c:pt>
                <c:pt idx="5">
                  <c:v>52.5</c:v>
                </c:pt>
                <c:pt idx="6">
                  <c:v>55</c:v>
                </c:pt>
                <c:pt idx="7">
                  <c:v>57.5</c:v>
                </c:pt>
                <c:pt idx="8">
                  <c:v>60</c:v>
                </c:pt>
                <c:pt idx="9">
                  <c:v>62.5</c:v>
                </c:pt>
                <c:pt idx="10">
                  <c:v>65</c:v>
                </c:pt>
                <c:pt idx="11">
                  <c:v>67.5</c:v>
                </c:pt>
                <c:pt idx="12">
                  <c:v>70</c:v>
                </c:pt>
                <c:pt idx="13">
                  <c:v>72.5</c:v>
                </c:pt>
                <c:pt idx="14">
                  <c:v>75</c:v>
                </c:pt>
                <c:pt idx="15">
                  <c:v>77.5</c:v>
                </c:pt>
                <c:pt idx="16">
                  <c:v>80</c:v>
                </c:pt>
                <c:pt idx="17">
                  <c:v>82.5</c:v>
                </c:pt>
                <c:pt idx="18">
                  <c:v>85</c:v>
                </c:pt>
                <c:pt idx="19">
                  <c:v>87.5</c:v>
                </c:pt>
                <c:pt idx="20">
                  <c:v>90</c:v>
                </c:pt>
                <c:pt idx="21">
                  <c:v>92.5</c:v>
                </c:pt>
                <c:pt idx="22">
                  <c:v>95</c:v>
                </c:pt>
                <c:pt idx="23">
                  <c:v>97.5</c:v>
                </c:pt>
                <c:pt idx="24">
                  <c:v>100</c:v>
                </c:pt>
                <c:pt idx="25">
                  <c:v>102.5</c:v>
                </c:pt>
                <c:pt idx="26">
                  <c:v>105</c:v>
                </c:pt>
                <c:pt idx="27">
                  <c:v>107.5</c:v>
                </c:pt>
                <c:pt idx="28">
                  <c:v>110</c:v>
                </c:pt>
                <c:pt idx="29">
                  <c:v>112.5</c:v>
                </c:pt>
                <c:pt idx="30">
                  <c:v>115</c:v>
                </c:pt>
                <c:pt idx="31">
                  <c:v>117.5</c:v>
                </c:pt>
                <c:pt idx="32">
                  <c:v>120</c:v>
                </c:pt>
                <c:pt idx="33">
                  <c:v>122.5</c:v>
                </c:pt>
                <c:pt idx="34">
                  <c:v>125</c:v>
                </c:pt>
                <c:pt idx="35">
                  <c:v>127.5</c:v>
                </c:pt>
                <c:pt idx="36">
                  <c:v>130</c:v>
                </c:pt>
                <c:pt idx="37">
                  <c:v>132.5</c:v>
                </c:pt>
                <c:pt idx="38">
                  <c:v>135</c:v>
                </c:pt>
                <c:pt idx="39">
                  <c:v>137.5</c:v>
                </c:pt>
                <c:pt idx="40">
                  <c:v>140</c:v>
                </c:pt>
                <c:pt idx="41">
                  <c:v>142.5</c:v>
                </c:pt>
                <c:pt idx="42">
                  <c:v>145</c:v>
                </c:pt>
                <c:pt idx="43">
                  <c:v>147.5</c:v>
                </c:pt>
                <c:pt idx="44">
                  <c:v>150</c:v>
                </c:pt>
                <c:pt idx="45">
                  <c:v>152.5</c:v>
                </c:pt>
                <c:pt idx="46">
                  <c:v>155</c:v>
                </c:pt>
                <c:pt idx="47">
                  <c:v>157.5</c:v>
                </c:pt>
                <c:pt idx="48">
                  <c:v>160</c:v>
                </c:pt>
                <c:pt idx="49">
                  <c:v>162.5</c:v>
                </c:pt>
                <c:pt idx="50">
                  <c:v>165</c:v>
                </c:pt>
                <c:pt idx="51">
                  <c:v>167.5</c:v>
                </c:pt>
                <c:pt idx="52">
                  <c:v>170</c:v>
                </c:pt>
                <c:pt idx="53">
                  <c:v>172.5</c:v>
                </c:pt>
                <c:pt idx="54">
                  <c:v>175</c:v>
                </c:pt>
                <c:pt idx="55">
                  <c:v>177.5</c:v>
                </c:pt>
                <c:pt idx="56">
                  <c:v>180</c:v>
                </c:pt>
                <c:pt idx="57">
                  <c:v>182.5</c:v>
                </c:pt>
                <c:pt idx="58">
                  <c:v>1000</c:v>
                </c:pt>
              </c:numCache>
            </c:numRef>
          </c:cat>
          <c:val>
            <c:numRef>
              <c:f>Sheet1!$B$3:$BH$3</c:f>
              <c:numCache>
                <c:formatCode>General</c:formatCode>
                <c:ptCount val="59"/>
                <c:pt idx="0">
                  <c:v>0.90589999950979683</c:v>
                </c:pt>
                <c:pt idx="1">
                  <c:v>0.86949291129467798</c:v>
                </c:pt>
                <c:pt idx="2">
                  <c:v>0.83390371742029523</c:v>
                </c:pt>
                <c:pt idx="3">
                  <c:v>0.79895942982534118</c:v>
                </c:pt>
                <c:pt idx="4">
                  <c:v>0.76449999958974535</c:v>
                </c:pt>
                <c:pt idx="5">
                  <c:v>0.73037298616217849</c:v>
                </c:pt>
                <c:pt idx="6">
                  <c:v>0.69643144999055351</c:v>
                </c:pt>
                <c:pt idx="7">
                  <c:v>0.66292729225078373</c:v>
                </c:pt>
                <c:pt idx="8">
                  <c:v>0.62999999967130449</c:v>
                </c:pt>
                <c:pt idx="9">
                  <c:v>0.59750730395078921</c:v>
                </c:pt>
                <c:pt idx="10">
                  <c:v>0.56530553608763812</c:v>
                </c:pt>
                <c:pt idx="11">
                  <c:v>0.53328065290590787</c:v>
                </c:pt>
                <c:pt idx="12">
                  <c:v>0.50129999974472772</c:v>
                </c:pt>
                <c:pt idx="13">
                  <c:v>0.4691859098003599</c:v>
                </c:pt>
                <c:pt idx="14">
                  <c:v>0.43673290661955372</c:v>
                </c:pt>
                <c:pt idx="15">
                  <c:v>0.40420895443305388</c:v>
                </c:pt>
                <c:pt idx="16">
                  <c:v>0.37179999983213641</c:v>
                </c:pt>
                <c:pt idx="17">
                  <c:v>0.33927989014989079</c:v>
                </c:pt>
                <c:pt idx="18">
                  <c:v>0.30636036937310668</c:v>
                </c:pt>
                <c:pt idx="19">
                  <c:v>0.27418794506783262</c:v>
                </c:pt>
                <c:pt idx="20">
                  <c:v>0.24399999996409871</c:v>
                </c:pt>
                <c:pt idx="21">
                  <c:v>0.21608631153449789</c:v>
                </c:pt>
                <c:pt idx="22">
                  <c:v>0.18820000000789461</c:v>
                </c:pt>
                <c:pt idx="23">
                  <c:v>0.1570326735133038</c:v>
                </c:pt>
                <c:pt idx="24">
                  <c:v>0.12740000005521451</c:v>
                </c:pt>
                <c:pt idx="25">
                  <c:v>0.10808721368940161</c:v>
                </c:pt>
                <c:pt idx="26">
                  <c:v>0.102500000031075</c:v>
                </c:pt>
                <c:pt idx="27">
                  <c:v>0.11066963675594001</c:v>
                </c:pt>
                <c:pt idx="28">
                  <c:v>0.1240999999693113</c:v>
                </c:pt>
                <c:pt idx="29">
                  <c:v>0.13656345809225559</c:v>
                </c:pt>
                <c:pt idx="30">
                  <c:v>0.14827721669221289</c:v>
                </c:pt>
                <c:pt idx="31">
                  <c:v>0.1591906463848469</c:v>
                </c:pt>
                <c:pt idx="32">
                  <c:v>0.16929999993096739</c:v>
                </c:pt>
                <c:pt idx="33">
                  <c:v>0.17874370978471299</c:v>
                </c:pt>
                <c:pt idx="34">
                  <c:v>0.18759999992059961</c:v>
                </c:pt>
                <c:pt idx="35">
                  <c:v>0.19592985481041689</c:v>
                </c:pt>
                <c:pt idx="36">
                  <c:v>0.2037999999116149</c:v>
                </c:pt>
                <c:pt idx="37">
                  <c:v>0.2112639136326375</c:v>
                </c:pt>
                <c:pt idx="38">
                  <c:v>0.21836683858032249</c:v>
                </c:pt>
                <c:pt idx="39">
                  <c:v>0.22513714085662589</c:v>
                </c:pt>
                <c:pt idx="40">
                  <c:v>0.2315999998970649</c:v>
                </c:pt>
                <c:pt idx="41">
                  <c:v>0.23778414866825889</c:v>
                </c:pt>
                <c:pt idx="42">
                  <c:v>0.24371419787784329</c:v>
                </c:pt>
                <c:pt idx="43">
                  <c:v>0.249412934474565</c:v>
                </c:pt>
                <c:pt idx="44">
                  <c:v>0.25489999988559298</c:v>
                </c:pt>
                <c:pt idx="45">
                  <c:v>0.26019138494622029</c:v>
                </c:pt>
                <c:pt idx="46">
                  <c:v>0.26530122028534381</c:v>
                </c:pt>
                <c:pt idx="47">
                  <c:v>0.27023536627212652</c:v>
                </c:pt>
                <c:pt idx="48">
                  <c:v>0.27499999987585022</c:v>
                </c:pt>
                <c:pt idx="49">
                  <c:v>0.2796063397826351</c:v>
                </c:pt>
                <c:pt idx="50">
                  <c:v>0.28406448857567151</c:v>
                </c:pt>
                <c:pt idx="51">
                  <c:v>0.28839102256287552</c:v>
                </c:pt>
                <c:pt idx="52">
                  <c:v>0.29259999986781349</c:v>
                </c:pt>
                <c:pt idx="53">
                  <c:v>0.29669783714309023</c:v>
                </c:pt>
                <c:pt idx="54">
                  <c:v>0.30069039963305982</c:v>
                </c:pt>
                <c:pt idx="55">
                  <c:v>0.3045617630950832</c:v>
                </c:pt>
                <c:pt idx="56">
                  <c:v>0.30829999986048712</c:v>
                </c:pt>
                <c:pt idx="57">
                  <c:v>0.31191262688958121</c:v>
                </c:pt>
                <c:pt idx="58">
                  <c:v>0.4798999997609095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27E-4C0A-99B7-33696A982CB4}"/>
            </c:ext>
          </c:extLst>
        </c:ser>
        <c:ser>
          <c:idx val="2"/>
          <c:order val="2"/>
          <c:tx>
            <c:strRef>
              <c:f>Sheet1!$A$4</c:f>
              <c:strCache>
                <c:ptCount val="1"/>
                <c:pt idx="0">
                  <c:v>0.161643836</c:v>
                </c:pt>
              </c:strCache>
            </c:strRef>
          </c:tx>
          <c:spPr>
            <a:gradFill rotWithShape="1">
              <a:gsLst>
                <a:gs pos="0">
                  <a:schemeClr val="accent3">
                    <a:tint val="50000"/>
                    <a:satMod val="300000"/>
                  </a:schemeClr>
                </a:gs>
                <a:gs pos="35000">
                  <a:schemeClr val="accent3">
                    <a:tint val="37000"/>
                    <a:satMod val="300000"/>
                  </a:schemeClr>
                </a:gs>
                <a:gs pos="100000">
                  <a:schemeClr val="accent3">
                    <a:tint val="15000"/>
                    <a:satMod val="350000"/>
                  </a:schemeClr>
                </a:gs>
              </a:gsLst>
              <a:lin ang="16200000" scaled="1"/>
            </a:gradFill>
            <a:ln w="9525" cap="flat" cmpd="sng" algn="ctr">
              <a:solidFill>
                <a:schemeClr val="accent3">
                  <a:shade val="95000"/>
                </a:schemeClr>
              </a:solidFill>
              <a:round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  <a:sp3d contourW="9525">
              <a:contourClr>
                <a:schemeClr val="accent3">
                  <a:shade val="95000"/>
                </a:schemeClr>
              </a:contourClr>
            </a:sp3d>
          </c:spPr>
          <c:cat>
            <c:numRef>
              <c:f>Sheet1!$B$1:$BH$1</c:f>
              <c:numCache>
                <c:formatCode>General</c:formatCode>
                <c:ptCount val="59"/>
                <c:pt idx="0">
                  <c:v>40</c:v>
                </c:pt>
                <c:pt idx="1">
                  <c:v>42.5</c:v>
                </c:pt>
                <c:pt idx="2">
                  <c:v>45</c:v>
                </c:pt>
                <c:pt idx="3">
                  <c:v>47.5</c:v>
                </c:pt>
                <c:pt idx="4">
                  <c:v>50</c:v>
                </c:pt>
                <c:pt idx="5">
                  <c:v>52.5</c:v>
                </c:pt>
                <c:pt idx="6">
                  <c:v>55</c:v>
                </c:pt>
                <c:pt idx="7">
                  <c:v>57.5</c:v>
                </c:pt>
                <c:pt idx="8">
                  <c:v>60</c:v>
                </c:pt>
                <c:pt idx="9">
                  <c:v>62.5</c:v>
                </c:pt>
                <c:pt idx="10">
                  <c:v>65</c:v>
                </c:pt>
                <c:pt idx="11">
                  <c:v>67.5</c:v>
                </c:pt>
                <c:pt idx="12">
                  <c:v>70</c:v>
                </c:pt>
                <c:pt idx="13">
                  <c:v>72.5</c:v>
                </c:pt>
                <c:pt idx="14">
                  <c:v>75</c:v>
                </c:pt>
                <c:pt idx="15">
                  <c:v>77.5</c:v>
                </c:pt>
                <c:pt idx="16">
                  <c:v>80</c:v>
                </c:pt>
                <c:pt idx="17">
                  <c:v>82.5</c:v>
                </c:pt>
                <c:pt idx="18">
                  <c:v>85</c:v>
                </c:pt>
                <c:pt idx="19">
                  <c:v>87.5</c:v>
                </c:pt>
                <c:pt idx="20">
                  <c:v>90</c:v>
                </c:pt>
                <c:pt idx="21">
                  <c:v>92.5</c:v>
                </c:pt>
                <c:pt idx="22">
                  <c:v>95</c:v>
                </c:pt>
                <c:pt idx="23">
                  <c:v>97.5</c:v>
                </c:pt>
                <c:pt idx="24">
                  <c:v>100</c:v>
                </c:pt>
                <c:pt idx="25">
                  <c:v>102.5</c:v>
                </c:pt>
                <c:pt idx="26">
                  <c:v>105</c:v>
                </c:pt>
                <c:pt idx="27">
                  <c:v>107.5</c:v>
                </c:pt>
                <c:pt idx="28">
                  <c:v>110</c:v>
                </c:pt>
                <c:pt idx="29">
                  <c:v>112.5</c:v>
                </c:pt>
                <c:pt idx="30">
                  <c:v>115</c:v>
                </c:pt>
                <c:pt idx="31">
                  <c:v>117.5</c:v>
                </c:pt>
                <c:pt idx="32">
                  <c:v>120</c:v>
                </c:pt>
                <c:pt idx="33">
                  <c:v>122.5</c:v>
                </c:pt>
                <c:pt idx="34">
                  <c:v>125</c:v>
                </c:pt>
                <c:pt idx="35">
                  <c:v>127.5</c:v>
                </c:pt>
                <c:pt idx="36">
                  <c:v>130</c:v>
                </c:pt>
                <c:pt idx="37">
                  <c:v>132.5</c:v>
                </c:pt>
                <c:pt idx="38">
                  <c:v>135</c:v>
                </c:pt>
                <c:pt idx="39">
                  <c:v>137.5</c:v>
                </c:pt>
                <c:pt idx="40">
                  <c:v>140</c:v>
                </c:pt>
                <c:pt idx="41">
                  <c:v>142.5</c:v>
                </c:pt>
                <c:pt idx="42">
                  <c:v>145</c:v>
                </c:pt>
                <c:pt idx="43">
                  <c:v>147.5</c:v>
                </c:pt>
                <c:pt idx="44">
                  <c:v>150</c:v>
                </c:pt>
                <c:pt idx="45">
                  <c:v>152.5</c:v>
                </c:pt>
                <c:pt idx="46">
                  <c:v>155</c:v>
                </c:pt>
                <c:pt idx="47">
                  <c:v>157.5</c:v>
                </c:pt>
                <c:pt idx="48">
                  <c:v>160</c:v>
                </c:pt>
                <c:pt idx="49">
                  <c:v>162.5</c:v>
                </c:pt>
                <c:pt idx="50">
                  <c:v>165</c:v>
                </c:pt>
                <c:pt idx="51">
                  <c:v>167.5</c:v>
                </c:pt>
                <c:pt idx="52">
                  <c:v>170</c:v>
                </c:pt>
                <c:pt idx="53">
                  <c:v>172.5</c:v>
                </c:pt>
                <c:pt idx="54">
                  <c:v>175</c:v>
                </c:pt>
                <c:pt idx="55">
                  <c:v>177.5</c:v>
                </c:pt>
                <c:pt idx="56">
                  <c:v>180</c:v>
                </c:pt>
                <c:pt idx="57">
                  <c:v>182.5</c:v>
                </c:pt>
                <c:pt idx="58">
                  <c:v>1000</c:v>
                </c:pt>
              </c:numCache>
            </c:numRef>
          </c:cat>
          <c:val>
            <c:numRef>
              <c:f>Sheet1!$B$4:$BH$4</c:f>
              <c:numCache>
                <c:formatCode>General</c:formatCode>
                <c:ptCount val="59"/>
                <c:pt idx="0">
                  <c:v>0.76359999956686309</c:v>
                </c:pt>
                <c:pt idx="1">
                  <c:v>0.73295441565153208</c:v>
                </c:pt>
                <c:pt idx="2">
                  <c:v>0.70315437847194429</c:v>
                </c:pt>
                <c:pt idx="3">
                  <c:v>0.67404857951437935</c:v>
                </c:pt>
                <c:pt idx="4">
                  <c:v>0.6454999996152545</c:v>
                </c:pt>
                <c:pt idx="5">
                  <c:v>0.61738138763204697</c:v>
                </c:pt>
                <c:pt idx="6">
                  <c:v>0.58957223137467374</c:v>
                </c:pt>
                <c:pt idx="7">
                  <c:v>0.56208625008231483</c:v>
                </c:pt>
                <c:pt idx="8">
                  <c:v>0.53489999967977764</c:v>
                </c:pt>
                <c:pt idx="9">
                  <c:v>0.50789531005601041</c:v>
                </c:pt>
                <c:pt idx="10">
                  <c:v>0.48095056908924377</c:v>
                </c:pt>
                <c:pt idx="11">
                  <c:v>0.45416897872404172</c:v>
                </c:pt>
                <c:pt idx="12">
                  <c:v>0.4275999997750855</c:v>
                </c:pt>
                <c:pt idx="13">
                  <c:v>0.40111415043395698</c:v>
                </c:pt>
                <c:pt idx="14">
                  <c:v>0.37456914490738002</c:v>
                </c:pt>
                <c:pt idx="15">
                  <c:v>0.34860937302885359</c:v>
                </c:pt>
                <c:pt idx="16">
                  <c:v>0.32379999991157937</c:v>
                </c:pt>
                <c:pt idx="17">
                  <c:v>0.30013634378073251</c:v>
                </c:pt>
                <c:pt idx="18">
                  <c:v>0.27762928438119622</c:v>
                </c:pt>
                <c:pt idx="19">
                  <c:v>0.25580403733161933</c:v>
                </c:pt>
                <c:pt idx="20">
                  <c:v>0.23420000002079949</c:v>
                </c:pt>
                <c:pt idx="21">
                  <c:v>0.2127021216338747</c:v>
                </c:pt>
                <c:pt idx="22">
                  <c:v>0.19030000005914491</c:v>
                </c:pt>
                <c:pt idx="23">
                  <c:v>0.165599883521166</c:v>
                </c:pt>
                <c:pt idx="24">
                  <c:v>0.1414000001095784</c:v>
                </c:pt>
                <c:pt idx="25">
                  <c:v>0.12200235201452431</c:v>
                </c:pt>
                <c:pt idx="26">
                  <c:v>0.1105000001048872</c:v>
                </c:pt>
                <c:pt idx="27">
                  <c:v>0.1098226148136594</c:v>
                </c:pt>
                <c:pt idx="28">
                  <c:v>0.11560000003232</c:v>
                </c:pt>
                <c:pt idx="29">
                  <c:v>0.1231999213151925</c:v>
                </c:pt>
                <c:pt idx="30">
                  <c:v>0.13217725664951399</c:v>
                </c:pt>
                <c:pt idx="31">
                  <c:v>0.1412649969977314</c:v>
                </c:pt>
                <c:pt idx="32">
                  <c:v>0.14969999993598609</c:v>
                </c:pt>
                <c:pt idx="33">
                  <c:v>0.15758972762752771</c:v>
                </c:pt>
                <c:pt idx="34">
                  <c:v>0.16499999992481981</c:v>
                </c:pt>
                <c:pt idx="35">
                  <c:v>0.17198247586480661</c:v>
                </c:pt>
                <c:pt idx="36">
                  <c:v>0.17859999991370229</c:v>
                </c:pt>
                <c:pt idx="37">
                  <c:v>0.18490281638116651</c:v>
                </c:pt>
                <c:pt idx="38">
                  <c:v>0.19092417236813281</c:v>
                </c:pt>
                <c:pt idx="39">
                  <c:v>0.19668389921951751</c:v>
                </c:pt>
                <c:pt idx="40">
                  <c:v>0.20219999989413681</c:v>
                </c:pt>
                <c:pt idx="41">
                  <c:v>0.20749431714253491</c:v>
                </c:pt>
                <c:pt idx="42">
                  <c:v>0.2125856573231065</c:v>
                </c:pt>
                <c:pt idx="43">
                  <c:v>0.21748426293446901</c:v>
                </c:pt>
                <c:pt idx="44">
                  <c:v>0.22219999987975481</c:v>
                </c:pt>
                <c:pt idx="45">
                  <c:v>0.2267466303382738</c:v>
                </c:pt>
                <c:pt idx="46">
                  <c:v>0.23113633481358761</c:v>
                </c:pt>
                <c:pt idx="47">
                  <c:v>0.23538336679134181</c:v>
                </c:pt>
                <c:pt idx="48">
                  <c:v>0.23949999986860421</c:v>
                </c:pt>
                <c:pt idx="49">
                  <c:v>0.24349437758938661</c:v>
                </c:pt>
                <c:pt idx="50">
                  <c:v>0.24737386011480811</c:v>
                </c:pt>
                <c:pt idx="51">
                  <c:v>0.25114134910066821</c:v>
                </c:pt>
                <c:pt idx="52">
                  <c:v>0.25479999985939727</c:v>
                </c:pt>
                <c:pt idx="53">
                  <c:v>0.25835594633740172</c:v>
                </c:pt>
                <c:pt idx="54">
                  <c:v>0.26181478682379339</c:v>
                </c:pt>
                <c:pt idx="55">
                  <c:v>0.26516550063678229</c:v>
                </c:pt>
                <c:pt idx="56">
                  <c:v>0.26839999985086321</c:v>
                </c:pt>
                <c:pt idx="57">
                  <c:v>0.27152485144951161</c:v>
                </c:pt>
                <c:pt idx="58">
                  <c:v>0.4109999997496944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E27E-4C0A-99B7-33696A982CB4}"/>
            </c:ext>
          </c:extLst>
        </c:ser>
        <c:ser>
          <c:idx val="3"/>
          <c:order val="3"/>
          <c:tx>
            <c:strRef>
              <c:f>Sheet1!$A$5</c:f>
              <c:strCache>
                <c:ptCount val="1"/>
                <c:pt idx="0">
                  <c:v>0.246575342</c:v>
                </c:pt>
              </c:strCache>
            </c:strRef>
          </c:tx>
          <c:spPr>
            <a:gradFill rotWithShape="1">
              <a:gsLst>
                <a:gs pos="0">
                  <a:schemeClr val="accent4">
                    <a:tint val="50000"/>
                    <a:satMod val="300000"/>
                  </a:schemeClr>
                </a:gs>
                <a:gs pos="35000">
                  <a:schemeClr val="accent4">
                    <a:tint val="37000"/>
                    <a:satMod val="300000"/>
                  </a:schemeClr>
                </a:gs>
                <a:gs pos="100000">
                  <a:schemeClr val="accent4">
                    <a:tint val="15000"/>
                    <a:satMod val="350000"/>
                  </a:schemeClr>
                </a:gs>
              </a:gsLst>
              <a:lin ang="16200000" scaled="1"/>
            </a:gradFill>
            <a:ln w="9525" cap="flat" cmpd="sng" algn="ctr">
              <a:solidFill>
                <a:schemeClr val="accent4">
                  <a:shade val="95000"/>
                </a:schemeClr>
              </a:solidFill>
              <a:round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  <a:sp3d contourW="9525">
              <a:contourClr>
                <a:schemeClr val="accent4">
                  <a:shade val="95000"/>
                </a:schemeClr>
              </a:contourClr>
            </a:sp3d>
          </c:spPr>
          <c:cat>
            <c:numRef>
              <c:f>Sheet1!$B$1:$BH$1</c:f>
              <c:numCache>
                <c:formatCode>General</c:formatCode>
                <c:ptCount val="59"/>
                <c:pt idx="0">
                  <c:v>40</c:v>
                </c:pt>
                <c:pt idx="1">
                  <c:v>42.5</c:v>
                </c:pt>
                <c:pt idx="2">
                  <c:v>45</c:v>
                </c:pt>
                <c:pt idx="3">
                  <c:v>47.5</c:v>
                </c:pt>
                <c:pt idx="4">
                  <c:v>50</c:v>
                </c:pt>
                <c:pt idx="5">
                  <c:v>52.5</c:v>
                </c:pt>
                <c:pt idx="6">
                  <c:v>55</c:v>
                </c:pt>
                <c:pt idx="7">
                  <c:v>57.5</c:v>
                </c:pt>
                <c:pt idx="8">
                  <c:v>60</c:v>
                </c:pt>
                <c:pt idx="9">
                  <c:v>62.5</c:v>
                </c:pt>
                <c:pt idx="10">
                  <c:v>65</c:v>
                </c:pt>
                <c:pt idx="11">
                  <c:v>67.5</c:v>
                </c:pt>
                <c:pt idx="12">
                  <c:v>70</c:v>
                </c:pt>
                <c:pt idx="13">
                  <c:v>72.5</c:v>
                </c:pt>
                <c:pt idx="14">
                  <c:v>75</c:v>
                </c:pt>
                <c:pt idx="15">
                  <c:v>77.5</c:v>
                </c:pt>
                <c:pt idx="16">
                  <c:v>80</c:v>
                </c:pt>
                <c:pt idx="17">
                  <c:v>82.5</c:v>
                </c:pt>
                <c:pt idx="18">
                  <c:v>85</c:v>
                </c:pt>
                <c:pt idx="19">
                  <c:v>87.5</c:v>
                </c:pt>
                <c:pt idx="20">
                  <c:v>90</c:v>
                </c:pt>
                <c:pt idx="21">
                  <c:v>92.5</c:v>
                </c:pt>
                <c:pt idx="22">
                  <c:v>95</c:v>
                </c:pt>
                <c:pt idx="23">
                  <c:v>97.5</c:v>
                </c:pt>
                <c:pt idx="24">
                  <c:v>100</c:v>
                </c:pt>
                <c:pt idx="25">
                  <c:v>102.5</c:v>
                </c:pt>
                <c:pt idx="26">
                  <c:v>105</c:v>
                </c:pt>
                <c:pt idx="27">
                  <c:v>107.5</c:v>
                </c:pt>
                <c:pt idx="28">
                  <c:v>110</c:v>
                </c:pt>
                <c:pt idx="29">
                  <c:v>112.5</c:v>
                </c:pt>
                <c:pt idx="30">
                  <c:v>115</c:v>
                </c:pt>
                <c:pt idx="31">
                  <c:v>117.5</c:v>
                </c:pt>
                <c:pt idx="32">
                  <c:v>120</c:v>
                </c:pt>
                <c:pt idx="33">
                  <c:v>122.5</c:v>
                </c:pt>
                <c:pt idx="34">
                  <c:v>125</c:v>
                </c:pt>
                <c:pt idx="35">
                  <c:v>127.5</c:v>
                </c:pt>
                <c:pt idx="36">
                  <c:v>130</c:v>
                </c:pt>
                <c:pt idx="37">
                  <c:v>132.5</c:v>
                </c:pt>
                <c:pt idx="38">
                  <c:v>135</c:v>
                </c:pt>
                <c:pt idx="39">
                  <c:v>137.5</c:v>
                </c:pt>
                <c:pt idx="40">
                  <c:v>140</c:v>
                </c:pt>
                <c:pt idx="41">
                  <c:v>142.5</c:v>
                </c:pt>
                <c:pt idx="42">
                  <c:v>145</c:v>
                </c:pt>
                <c:pt idx="43">
                  <c:v>147.5</c:v>
                </c:pt>
                <c:pt idx="44">
                  <c:v>150</c:v>
                </c:pt>
                <c:pt idx="45">
                  <c:v>152.5</c:v>
                </c:pt>
                <c:pt idx="46">
                  <c:v>155</c:v>
                </c:pt>
                <c:pt idx="47">
                  <c:v>157.5</c:v>
                </c:pt>
                <c:pt idx="48">
                  <c:v>160</c:v>
                </c:pt>
                <c:pt idx="49">
                  <c:v>162.5</c:v>
                </c:pt>
                <c:pt idx="50">
                  <c:v>165</c:v>
                </c:pt>
                <c:pt idx="51">
                  <c:v>167.5</c:v>
                </c:pt>
                <c:pt idx="52">
                  <c:v>170</c:v>
                </c:pt>
                <c:pt idx="53">
                  <c:v>172.5</c:v>
                </c:pt>
                <c:pt idx="54">
                  <c:v>175</c:v>
                </c:pt>
                <c:pt idx="55">
                  <c:v>177.5</c:v>
                </c:pt>
                <c:pt idx="56">
                  <c:v>180</c:v>
                </c:pt>
                <c:pt idx="57">
                  <c:v>182.5</c:v>
                </c:pt>
                <c:pt idx="58">
                  <c:v>1000</c:v>
                </c:pt>
              </c:numCache>
            </c:numRef>
          </c:cat>
          <c:val>
            <c:numRef>
              <c:f>Sheet1!$B$5:$BH$5</c:f>
              <c:numCache>
                <c:formatCode>General</c:formatCode>
                <c:ptCount val="59"/>
                <c:pt idx="0">
                  <c:v>0.69790000024730781</c:v>
                </c:pt>
                <c:pt idx="1">
                  <c:v>0.66884084645339315</c:v>
                </c:pt>
                <c:pt idx="2">
                  <c:v>0.64077107093586683</c:v>
                </c:pt>
                <c:pt idx="3">
                  <c:v>0.61353648731207311</c:v>
                </c:pt>
                <c:pt idx="4">
                  <c:v>0.58700000022078602</c:v>
                </c:pt>
                <c:pt idx="5">
                  <c:v>0.56103702044369941</c:v>
                </c:pt>
                <c:pt idx="6">
                  <c:v>0.53553300887367694</c:v>
                </c:pt>
                <c:pt idx="7">
                  <c:v>0.51057524813226651</c:v>
                </c:pt>
                <c:pt idx="8">
                  <c:v>0.48620000018384368</c:v>
                </c:pt>
                <c:pt idx="9">
                  <c:v>0.46230907186882952</c:v>
                </c:pt>
                <c:pt idx="10">
                  <c:v>0.43880845075740632</c:v>
                </c:pt>
                <c:pt idx="11">
                  <c:v>0.41586620122489121</c:v>
                </c:pt>
                <c:pt idx="12">
                  <c:v>0.39360000012750851</c:v>
                </c:pt>
                <c:pt idx="13">
                  <c:v>0.37194136482423718</c:v>
                </c:pt>
                <c:pt idx="14">
                  <c:v>0.35082555784271541</c:v>
                </c:pt>
                <c:pt idx="15">
                  <c:v>0.33037710403655213</c:v>
                </c:pt>
                <c:pt idx="16">
                  <c:v>0.31070000004808712</c:v>
                </c:pt>
                <c:pt idx="17">
                  <c:v>0.29176627722105281</c:v>
                </c:pt>
                <c:pt idx="18">
                  <c:v>0.27355289373815589</c:v>
                </c:pt>
                <c:pt idx="19">
                  <c:v>0.25553158571996759</c:v>
                </c:pt>
                <c:pt idx="20">
                  <c:v>0.23719999998928321</c:v>
                </c:pt>
                <c:pt idx="21">
                  <c:v>0.2184025536872593</c:v>
                </c:pt>
                <c:pt idx="22">
                  <c:v>0.19869999997044049</c:v>
                </c:pt>
                <c:pt idx="23">
                  <c:v>0.17749528026922931</c:v>
                </c:pt>
                <c:pt idx="24">
                  <c:v>0.15649999994833461</c:v>
                </c:pt>
                <c:pt idx="25">
                  <c:v>0.1380643148803111</c:v>
                </c:pt>
                <c:pt idx="26">
                  <c:v>0.124799999951537</c:v>
                </c:pt>
                <c:pt idx="27">
                  <c:v>0.1197387764849412</c:v>
                </c:pt>
                <c:pt idx="28">
                  <c:v>0.1201999999837795</c:v>
                </c:pt>
                <c:pt idx="29">
                  <c:v>0.1229578680919672</c:v>
                </c:pt>
                <c:pt idx="30">
                  <c:v>0.12771877110986901</c:v>
                </c:pt>
                <c:pt idx="31">
                  <c:v>0.13364098075492981</c:v>
                </c:pt>
                <c:pt idx="32">
                  <c:v>0.14010000003569431</c:v>
                </c:pt>
                <c:pt idx="33">
                  <c:v>0.14697659486932471</c:v>
                </c:pt>
                <c:pt idx="34">
                  <c:v>0.15370000004211659</c:v>
                </c:pt>
                <c:pt idx="35">
                  <c:v>0.15985075920895511</c:v>
                </c:pt>
                <c:pt idx="36">
                  <c:v>0.1656000000485692</c:v>
                </c:pt>
                <c:pt idx="37">
                  <c:v>0.17108093717680861</c:v>
                </c:pt>
                <c:pt idx="38">
                  <c:v>0.1763208191067589</c:v>
                </c:pt>
                <c:pt idx="39">
                  <c:v>0.18135183807899191</c:v>
                </c:pt>
                <c:pt idx="40">
                  <c:v>0.1862000000599911</c:v>
                </c:pt>
                <c:pt idx="41">
                  <c:v>0.19088017669272461</c:v>
                </c:pt>
                <c:pt idx="42">
                  <c:v>0.19540531940713979</c:v>
                </c:pt>
                <c:pt idx="43">
                  <c:v>0.1997775045148503</c:v>
                </c:pt>
                <c:pt idx="44">
                  <c:v>0.20400000006834729</c:v>
                </c:pt>
                <c:pt idx="45">
                  <c:v>0.2080834919692027</c:v>
                </c:pt>
                <c:pt idx="46">
                  <c:v>0.21203749007825121</c:v>
                </c:pt>
                <c:pt idx="47">
                  <c:v>0.21587311853162691</c:v>
                </c:pt>
                <c:pt idx="48">
                  <c:v>0.2196000000747817</c:v>
                </c:pt>
                <c:pt idx="49">
                  <c:v>0.22322459770661471</c:v>
                </c:pt>
                <c:pt idx="50">
                  <c:v>0.2267527689964301</c:v>
                </c:pt>
                <c:pt idx="51">
                  <c:v>0.23017906601583341</c:v>
                </c:pt>
                <c:pt idx="52">
                  <c:v>0.23350000008006569</c:v>
                </c:pt>
                <c:pt idx="53">
                  <c:v>0.2367216706946712</c:v>
                </c:pt>
                <c:pt idx="54">
                  <c:v>0.23984963875509699</c:v>
                </c:pt>
                <c:pt idx="55">
                  <c:v>0.24287728725166011</c:v>
                </c:pt>
                <c:pt idx="56">
                  <c:v>0.24580000008498171</c:v>
                </c:pt>
                <c:pt idx="57">
                  <c:v>0.2486236768132748</c:v>
                </c:pt>
                <c:pt idx="58">
                  <c:v>0.3729000001439661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E27E-4C0A-99B7-33696A982CB4}"/>
            </c:ext>
          </c:extLst>
        </c:ser>
        <c:ser>
          <c:idx val="4"/>
          <c:order val="4"/>
          <c:tx>
            <c:strRef>
              <c:f>Sheet1!$A$6</c:f>
              <c:strCache>
                <c:ptCount val="1"/>
                <c:pt idx="0">
                  <c:v>0.495890411</c:v>
                </c:pt>
              </c:strCache>
            </c:strRef>
          </c:tx>
          <c:spPr>
            <a:gradFill rotWithShape="1">
              <a:gsLst>
                <a:gs pos="0">
                  <a:schemeClr val="accent5">
                    <a:tint val="50000"/>
                    <a:satMod val="300000"/>
                  </a:schemeClr>
                </a:gs>
                <a:gs pos="35000">
                  <a:schemeClr val="accent5">
                    <a:tint val="37000"/>
                    <a:satMod val="300000"/>
                  </a:schemeClr>
                </a:gs>
                <a:gs pos="100000">
                  <a:schemeClr val="accent5">
                    <a:tint val="15000"/>
                    <a:satMod val="350000"/>
                  </a:schemeClr>
                </a:gs>
              </a:gsLst>
              <a:lin ang="16200000" scaled="1"/>
            </a:gradFill>
            <a:ln w="9525" cap="flat" cmpd="sng" algn="ctr">
              <a:solidFill>
                <a:schemeClr val="accent5">
                  <a:shade val="95000"/>
                </a:schemeClr>
              </a:solidFill>
              <a:round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  <a:sp3d contourW="9525">
              <a:contourClr>
                <a:schemeClr val="accent5">
                  <a:shade val="95000"/>
                </a:schemeClr>
              </a:contourClr>
            </a:sp3d>
          </c:spPr>
          <c:cat>
            <c:numRef>
              <c:f>Sheet1!$B$1:$BH$1</c:f>
              <c:numCache>
                <c:formatCode>General</c:formatCode>
                <c:ptCount val="59"/>
                <c:pt idx="0">
                  <c:v>40</c:v>
                </c:pt>
                <c:pt idx="1">
                  <c:v>42.5</c:v>
                </c:pt>
                <c:pt idx="2">
                  <c:v>45</c:v>
                </c:pt>
                <c:pt idx="3">
                  <c:v>47.5</c:v>
                </c:pt>
                <c:pt idx="4">
                  <c:v>50</c:v>
                </c:pt>
                <c:pt idx="5">
                  <c:v>52.5</c:v>
                </c:pt>
                <c:pt idx="6">
                  <c:v>55</c:v>
                </c:pt>
                <c:pt idx="7">
                  <c:v>57.5</c:v>
                </c:pt>
                <c:pt idx="8">
                  <c:v>60</c:v>
                </c:pt>
                <c:pt idx="9">
                  <c:v>62.5</c:v>
                </c:pt>
                <c:pt idx="10">
                  <c:v>65</c:v>
                </c:pt>
                <c:pt idx="11">
                  <c:v>67.5</c:v>
                </c:pt>
                <c:pt idx="12">
                  <c:v>70</c:v>
                </c:pt>
                <c:pt idx="13">
                  <c:v>72.5</c:v>
                </c:pt>
                <c:pt idx="14">
                  <c:v>75</c:v>
                </c:pt>
                <c:pt idx="15">
                  <c:v>77.5</c:v>
                </c:pt>
                <c:pt idx="16">
                  <c:v>80</c:v>
                </c:pt>
                <c:pt idx="17">
                  <c:v>82.5</c:v>
                </c:pt>
                <c:pt idx="18">
                  <c:v>85</c:v>
                </c:pt>
                <c:pt idx="19">
                  <c:v>87.5</c:v>
                </c:pt>
                <c:pt idx="20">
                  <c:v>90</c:v>
                </c:pt>
                <c:pt idx="21">
                  <c:v>92.5</c:v>
                </c:pt>
                <c:pt idx="22">
                  <c:v>95</c:v>
                </c:pt>
                <c:pt idx="23">
                  <c:v>97.5</c:v>
                </c:pt>
                <c:pt idx="24">
                  <c:v>100</c:v>
                </c:pt>
                <c:pt idx="25">
                  <c:v>102.5</c:v>
                </c:pt>
                <c:pt idx="26">
                  <c:v>105</c:v>
                </c:pt>
                <c:pt idx="27">
                  <c:v>107.5</c:v>
                </c:pt>
                <c:pt idx="28">
                  <c:v>110</c:v>
                </c:pt>
                <c:pt idx="29">
                  <c:v>112.5</c:v>
                </c:pt>
                <c:pt idx="30">
                  <c:v>115</c:v>
                </c:pt>
                <c:pt idx="31">
                  <c:v>117.5</c:v>
                </c:pt>
                <c:pt idx="32">
                  <c:v>120</c:v>
                </c:pt>
                <c:pt idx="33">
                  <c:v>122.5</c:v>
                </c:pt>
                <c:pt idx="34">
                  <c:v>125</c:v>
                </c:pt>
                <c:pt idx="35">
                  <c:v>127.5</c:v>
                </c:pt>
                <c:pt idx="36">
                  <c:v>130</c:v>
                </c:pt>
                <c:pt idx="37">
                  <c:v>132.5</c:v>
                </c:pt>
                <c:pt idx="38">
                  <c:v>135</c:v>
                </c:pt>
                <c:pt idx="39">
                  <c:v>137.5</c:v>
                </c:pt>
                <c:pt idx="40">
                  <c:v>140</c:v>
                </c:pt>
                <c:pt idx="41">
                  <c:v>142.5</c:v>
                </c:pt>
                <c:pt idx="42">
                  <c:v>145</c:v>
                </c:pt>
                <c:pt idx="43">
                  <c:v>147.5</c:v>
                </c:pt>
                <c:pt idx="44">
                  <c:v>150</c:v>
                </c:pt>
                <c:pt idx="45">
                  <c:v>152.5</c:v>
                </c:pt>
                <c:pt idx="46">
                  <c:v>155</c:v>
                </c:pt>
                <c:pt idx="47">
                  <c:v>157.5</c:v>
                </c:pt>
                <c:pt idx="48">
                  <c:v>160</c:v>
                </c:pt>
                <c:pt idx="49">
                  <c:v>162.5</c:v>
                </c:pt>
                <c:pt idx="50">
                  <c:v>165</c:v>
                </c:pt>
                <c:pt idx="51">
                  <c:v>167.5</c:v>
                </c:pt>
                <c:pt idx="52">
                  <c:v>170</c:v>
                </c:pt>
                <c:pt idx="53">
                  <c:v>172.5</c:v>
                </c:pt>
                <c:pt idx="54">
                  <c:v>175</c:v>
                </c:pt>
                <c:pt idx="55">
                  <c:v>177.5</c:v>
                </c:pt>
                <c:pt idx="56">
                  <c:v>180</c:v>
                </c:pt>
                <c:pt idx="57">
                  <c:v>182.5</c:v>
                </c:pt>
                <c:pt idx="58">
                  <c:v>1000</c:v>
                </c:pt>
              </c:numCache>
            </c:numRef>
          </c:cat>
          <c:val>
            <c:numRef>
              <c:f>Sheet1!$B$6:$BH$6</c:f>
              <c:numCache>
                <c:formatCode>General</c:formatCode>
                <c:ptCount val="59"/>
                <c:pt idx="0">
                  <c:v>0.58339999998657888</c:v>
                </c:pt>
                <c:pt idx="1">
                  <c:v>0.55980348381335721</c:v>
                </c:pt>
                <c:pt idx="2">
                  <c:v>0.53727400871892128</c:v>
                </c:pt>
                <c:pt idx="3">
                  <c:v>0.51567789123542074</c:v>
                </c:pt>
                <c:pt idx="4">
                  <c:v>0.49489999998966072</c:v>
                </c:pt>
                <c:pt idx="5">
                  <c:v>0.47483983950064629</c:v>
                </c:pt>
                <c:pt idx="6">
                  <c:v>0.45540920719076261</c:v>
                </c:pt>
                <c:pt idx="7">
                  <c:v>0.4366296046941735</c:v>
                </c:pt>
                <c:pt idx="8">
                  <c:v>0.41849999999259058</c:v>
                </c:pt>
                <c:pt idx="9">
                  <c:v>0.40095464020569682</c:v>
                </c:pt>
                <c:pt idx="10">
                  <c:v>0.38393428146388658</c:v>
                </c:pt>
                <c:pt idx="11">
                  <c:v>0.36744945115406269</c:v>
                </c:pt>
                <c:pt idx="12">
                  <c:v>0.35149999999552373</c:v>
                </c:pt>
                <c:pt idx="13">
                  <c:v>0.33604204695856871</c:v>
                </c:pt>
                <c:pt idx="14">
                  <c:v>0.32103530343322401</c:v>
                </c:pt>
                <c:pt idx="15">
                  <c:v>0.30643498575193179</c:v>
                </c:pt>
                <c:pt idx="16">
                  <c:v>0.29219999999841928</c:v>
                </c:pt>
                <c:pt idx="17">
                  <c:v>0.27829667277294462</c:v>
                </c:pt>
                <c:pt idx="18">
                  <c:v>0.26469157113788161</c:v>
                </c:pt>
                <c:pt idx="19">
                  <c:v>0.2510328111588066</c:v>
                </c:pt>
                <c:pt idx="20">
                  <c:v>0.2370000000004939</c:v>
                </c:pt>
                <c:pt idx="21">
                  <c:v>0.22249848564623159</c:v>
                </c:pt>
                <c:pt idx="22">
                  <c:v>0.20760000000177581</c:v>
                </c:pt>
                <c:pt idx="23">
                  <c:v>0.192365605171122</c:v>
                </c:pt>
                <c:pt idx="24">
                  <c:v>0.1772000000030772</c:v>
                </c:pt>
                <c:pt idx="25">
                  <c:v>0.16257613028702911</c:v>
                </c:pt>
                <c:pt idx="26">
                  <c:v>0.14980000000387339</c:v>
                </c:pt>
                <c:pt idx="27">
                  <c:v>0.14042371211125029</c:v>
                </c:pt>
                <c:pt idx="28">
                  <c:v>0.13410000000310979</c:v>
                </c:pt>
                <c:pt idx="29">
                  <c:v>0.13031127872204859</c:v>
                </c:pt>
                <c:pt idx="30">
                  <c:v>0.12909598789454399</c:v>
                </c:pt>
                <c:pt idx="31">
                  <c:v>0.12968686953109859</c:v>
                </c:pt>
                <c:pt idx="32">
                  <c:v>0.13140000000067081</c:v>
                </c:pt>
                <c:pt idx="33">
                  <c:v>0.1341245215697989</c:v>
                </c:pt>
                <c:pt idx="34">
                  <c:v>0.13769999999946331</c:v>
                </c:pt>
                <c:pt idx="35">
                  <c:v>0.14197351346677181</c:v>
                </c:pt>
                <c:pt idx="36">
                  <c:v>0.14639999999836659</c:v>
                </c:pt>
                <c:pt idx="37">
                  <c:v>0.15054652620231071</c:v>
                </c:pt>
                <c:pt idx="38">
                  <c:v>0.15444244458854739</c:v>
                </c:pt>
                <c:pt idx="39">
                  <c:v>0.1581723479375205</c:v>
                </c:pt>
                <c:pt idx="40">
                  <c:v>0.16179999999743269</c:v>
                </c:pt>
                <c:pt idx="41">
                  <c:v>0.16533186138502701</c:v>
                </c:pt>
                <c:pt idx="42">
                  <c:v>0.1687737208357285</c:v>
                </c:pt>
                <c:pt idx="43">
                  <c:v>0.17212870679207631</c:v>
                </c:pt>
                <c:pt idx="44">
                  <c:v>0.17539999999669459</c:v>
                </c:pt>
                <c:pt idx="45">
                  <c:v>0.17859226630636041</c:v>
                </c:pt>
                <c:pt idx="46">
                  <c:v>0.1817097416506363</c:v>
                </c:pt>
                <c:pt idx="47">
                  <c:v>0.18474686107012231</c:v>
                </c:pt>
                <c:pt idx="48">
                  <c:v>0.18769999999607589</c:v>
                </c:pt>
                <c:pt idx="49">
                  <c:v>0.1905739478434062</c:v>
                </c:pt>
                <c:pt idx="50">
                  <c:v>0.19337308220951749</c:v>
                </c:pt>
                <c:pt idx="51">
                  <c:v>0.19611130436387841</c:v>
                </c:pt>
                <c:pt idx="52">
                  <c:v>0.1987999999955509</c:v>
                </c:pt>
                <c:pt idx="53">
                  <c:v>0.2014410934000091</c:v>
                </c:pt>
                <c:pt idx="54">
                  <c:v>0.204036368645796</c:v>
                </c:pt>
                <c:pt idx="55">
                  <c:v>0.20656218166767229</c:v>
                </c:pt>
                <c:pt idx="56">
                  <c:v>0.2089999999950731</c:v>
                </c:pt>
                <c:pt idx="57">
                  <c:v>0.21135474549798411</c:v>
                </c:pt>
                <c:pt idx="58">
                  <c:v>0.3101999999903706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E27E-4C0A-99B7-33696A982CB4}"/>
            </c:ext>
          </c:extLst>
        </c:ser>
        <c:ser>
          <c:idx val="5"/>
          <c:order val="5"/>
          <c:tx>
            <c:strRef>
              <c:f>Sheet1!$A$7</c:f>
              <c:strCache>
                <c:ptCount val="1"/>
                <c:pt idx="0">
                  <c:v>0.747945205</c:v>
                </c:pt>
              </c:strCache>
            </c:strRef>
          </c:tx>
          <c:spPr>
            <a:gradFill rotWithShape="1">
              <a:gsLst>
                <a:gs pos="0">
                  <a:schemeClr val="accent6">
                    <a:tint val="50000"/>
                    <a:satMod val="300000"/>
                  </a:schemeClr>
                </a:gs>
                <a:gs pos="35000">
                  <a:schemeClr val="accent6">
                    <a:tint val="37000"/>
                    <a:satMod val="300000"/>
                  </a:schemeClr>
                </a:gs>
                <a:gs pos="100000">
                  <a:schemeClr val="accent6">
                    <a:tint val="15000"/>
                    <a:satMod val="350000"/>
                  </a:schemeClr>
                </a:gs>
              </a:gsLst>
              <a:lin ang="16200000" scaled="1"/>
            </a:gradFill>
            <a:ln w="9525" cap="flat" cmpd="sng" algn="ctr">
              <a:solidFill>
                <a:schemeClr val="accent6">
                  <a:shade val="95000"/>
                </a:schemeClr>
              </a:solidFill>
              <a:round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  <a:sp3d contourW="9525">
              <a:contourClr>
                <a:schemeClr val="accent6">
                  <a:shade val="95000"/>
                </a:schemeClr>
              </a:contourClr>
            </a:sp3d>
          </c:spPr>
          <c:cat>
            <c:numRef>
              <c:f>Sheet1!$B$1:$BH$1</c:f>
              <c:numCache>
                <c:formatCode>General</c:formatCode>
                <c:ptCount val="59"/>
                <c:pt idx="0">
                  <c:v>40</c:v>
                </c:pt>
                <c:pt idx="1">
                  <c:v>42.5</c:v>
                </c:pt>
                <c:pt idx="2">
                  <c:v>45</c:v>
                </c:pt>
                <c:pt idx="3">
                  <c:v>47.5</c:v>
                </c:pt>
                <c:pt idx="4">
                  <c:v>50</c:v>
                </c:pt>
                <c:pt idx="5">
                  <c:v>52.5</c:v>
                </c:pt>
                <c:pt idx="6">
                  <c:v>55</c:v>
                </c:pt>
                <c:pt idx="7">
                  <c:v>57.5</c:v>
                </c:pt>
                <c:pt idx="8">
                  <c:v>60</c:v>
                </c:pt>
                <c:pt idx="9">
                  <c:v>62.5</c:v>
                </c:pt>
                <c:pt idx="10">
                  <c:v>65</c:v>
                </c:pt>
                <c:pt idx="11">
                  <c:v>67.5</c:v>
                </c:pt>
                <c:pt idx="12">
                  <c:v>70</c:v>
                </c:pt>
                <c:pt idx="13">
                  <c:v>72.5</c:v>
                </c:pt>
                <c:pt idx="14">
                  <c:v>75</c:v>
                </c:pt>
                <c:pt idx="15">
                  <c:v>77.5</c:v>
                </c:pt>
                <c:pt idx="16">
                  <c:v>80</c:v>
                </c:pt>
                <c:pt idx="17">
                  <c:v>82.5</c:v>
                </c:pt>
                <c:pt idx="18">
                  <c:v>85</c:v>
                </c:pt>
                <c:pt idx="19">
                  <c:v>87.5</c:v>
                </c:pt>
                <c:pt idx="20">
                  <c:v>90</c:v>
                </c:pt>
                <c:pt idx="21">
                  <c:v>92.5</c:v>
                </c:pt>
                <c:pt idx="22">
                  <c:v>95</c:v>
                </c:pt>
                <c:pt idx="23">
                  <c:v>97.5</c:v>
                </c:pt>
                <c:pt idx="24">
                  <c:v>100</c:v>
                </c:pt>
                <c:pt idx="25">
                  <c:v>102.5</c:v>
                </c:pt>
                <c:pt idx="26">
                  <c:v>105</c:v>
                </c:pt>
                <c:pt idx="27">
                  <c:v>107.5</c:v>
                </c:pt>
                <c:pt idx="28">
                  <c:v>110</c:v>
                </c:pt>
                <c:pt idx="29">
                  <c:v>112.5</c:v>
                </c:pt>
                <c:pt idx="30">
                  <c:v>115</c:v>
                </c:pt>
                <c:pt idx="31">
                  <c:v>117.5</c:v>
                </c:pt>
                <c:pt idx="32">
                  <c:v>120</c:v>
                </c:pt>
                <c:pt idx="33">
                  <c:v>122.5</c:v>
                </c:pt>
                <c:pt idx="34">
                  <c:v>125</c:v>
                </c:pt>
                <c:pt idx="35">
                  <c:v>127.5</c:v>
                </c:pt>
                <c:pt idx="36">
                  <c:v>130</c:v>
                </c:pt>
                <c:pt idx="37">
                  <c:v>132.5</c:v>
                </c:pt>
                <c:pt idx="38">
                  <c:v>135</c:v>
                </c:pt>
                <c:pt idx="39">
                  <c:v>137.5</c:v>
                </c:pt>
                <c:pt idx="40">
                  <c:v>140</c:v>
                </c:pt>
                <c:pt idx="41">
                  <c:v>142.5</c:v>
                </c:pt>
                <c:pt idx="42">
                  <c:v>145</c:v>
                </c:pt>
                <c:pt idx="43">
                  <c:v>147.5</c:v>
                </c:pt>
                <c:pt idx="44">
                  <c:v>150</c:v>
                </c:pt>
                <c:pt idx="45">
                  <c:v>152.5</c:v>
                </c:pt>
                <c:pt idx="46">
                  <c:v>155</c:v>
                </c:pt>
                <c:pt idx="47">
                  <c:v>157.5</c:v>
                </c:pt>
                <c:pt idx="48">
                  <c:v>160</c:v>
                </c:pt>
                <c:pt idx="49">
                  <c:v>162.5</c:v>
                </c:pt>
                <c:pt idx="50">
                  <c:v>165</c:v>
                </c:pt>
                <c:pt idx="51">
                  <c:v>167.5</c:v>
                </c:pt>
                <c:pt idx="52">
                  <c:v>170</c:v>
                </c:pt>
                <c:pt idx="53">
                  <c:v>172.5</c:v>
                </c:pt>
                <c:pt idx="54">
                  <c:v>175</c:v>
                </c:pt>
                <c:pt idx="55">
                  <c:v>177.5</c:v>
                </c:pt>
                <c:pt idx="56">
                  <c:v>180</c:v>
                </c:pt>
                <c:pt idx="57">
                  <c:v>182.5</c:v>
                </c:pt>
                <c:pt idx="58">
                  <c:v>1000</c:v>
                </c:pt>
              </c:numCache>
            </c:numRef>
          </c:cat>
          <c:val>
            <c:numRef>
              <c:f>Sheet1!$B$7:$BH$7</c:f>
              <c:numCache>
                <c:formatCode>General</c:formatCode>
                <c:ptCount val="59"/>
                <c:pt idx="0">
                  <c:v>0.52600000007633974</c:v>
                </c:pt>
                <c:pt idx="1">
                  <c:v>0.50587007441136311</c:v>
                </c:pt>
                <c:pt idx="2">
                  <c:v>0.48671773790127759</c:v>
                </c:pt>
                <c:pt idx="3">
                  <c:v>0.46842731836428553</c:v>
                </c:pt>
                <c:pt idx="4">
                  <c:v>0.45090000005819808</c:v>
                </c:pt>
                <c:pt idx="5">
                  <c:v>0.43405041899459412</c:v>
                </c:pt>
                <c:pt idx="6">
                  <c:v>0.41780467415459471</c:v>
                </c:pt>
                <c:pt idx="7">
                  <c:v>0.402186751092169</c:v>
                </c:pt>
                <c:pt idx="8">
                  <c:v>0.3872000000410693</c:v>
                </c:pt>
                <c:pt idx="9">
                  <c:v>0.37279048750976468</c:v>
                </c:pt>
                <c:pt idx="10">
                  <c:v>0.3589107148448803</c:v>
                </c:pt>
                <c:pt idx="11">
                  <c:v>0.34557824529118131</c:v>
                </c:pt>
                <c:pt idx="12">
                  <c:v>0.33280000002424598</c:v>
                </c:pt>
                <c:pt idx="13">
                  <c:v>0.32054240264278372</c:v>
                </c:pt>
                <c:pt idx="14">
                  <c:v>0.3087748232625121</c:v>
                </c:pt>
                <c:pt idx="15">
                  <c:v>0.29723204413210269</c:v>
                </c:pt>
                <c:pt idx="16">
                  <c:v>0.28570000000829082</c:v>
                </c:pt>
                <c:pt idx="17">
                  <c:v>0.27414665249703368</c:v>
                </c:pt>
                <c:pt idx="18">
                  <c:v>0.26253761752884491</c:v>
                </c:pt>
                <c:pt idx="19">
                  <c:v>0.25083596644631662</c:v>
                </c:pt>
                <c:pt idx="20">
                  <c:v>0.23899999999748819</c:v>
                </c:pt>
                <c:pt idx="21">
                  <c:v>0.22698099452388079</c:v>
                </c:pt>
                <c:pt idx="22">
                  <c:v>0.21469999999119391</c:v>
                </c:pt>
                <c:pt idx="23">
                  <c:v>0.2020639289769407</c:v>
                </c:pt>
                <c:pt idx="24">
                  <c:v>0.18929999998522781</c:v>
                </c:pt>
                <c:pt idx="25">
                  <c:v>0.17665182398878659</c:v>
                </c:pt>
                <c:pt idx="26">
                  <c:v>0.1647999999819437</c:v>
                </c:pt>
                <c:pt idx="27">
                  <c:v>0.15452411618477421</c:v>
                </c:pt>
                <c:pt idx="28">
                  <c:v>0.1461999999853715</c:v>
                </c:pt>
                <c:pt idx="29">
                  <c:v>0.1402052252136054</c:v>
                </c:pt>
                <c:pt idx="30">
                  <c:v>0.13666053175041479</c:v>
                </c:pt>
                <c:pt idx="31">
                  <c:v>0.13484526196725591</c:v>
                </c:pt>
                <c:pt idx="32">
                  <c:v>0.13409999999662919</c:v>
                </c:pt>
                <c:pt idx="33">
                  <c:v>0.13437625509050369</c:v>
                </c:pt>
                <c:pt idx="34">
                  <c:v>0.13550000000279711</c:v>
                </c:pt>
                <c:pt idx="35">
                  <c:v>0.13730160696332749</c:v>
                </c:pt>
                <c:pt idx="36">
                  <c:v>0.1396000000087847</c:v>
                </c:pt>
                <c:pt idx="37">
                  <c:v>0.14223465394303531</c:v>
                </c:pt>
                <c:pt idx="38">
                  <c:v>0.14516578349350689</c:v>
                </c:pt>
                <c:pt idx="39">
                  <c:v>0.1481486193889929</c:v>
                </c:pt>
                <c:pt idx="40">
                  <c:v>0.15100000001410749</c:v>
                </c:pt>
                <c:pt idx="41">
                  <c:v>0.1537301158438874</c:v>
                </c:pt>
                <c:pt idx="42">
                  <c:v>0.15634802486495741</c:v>
                </c:pt>
                <c:pt idx="43">
                  <c:v>0.15889414940227331</c:v>
                </c:pt>
                <c:pt idx="44">
                  <c:v>0.16140000001842189</c:v>
                </c:pt>
                <c:pt idx="45">
                  <c:v>0.16386675503503709</c:v>
                </c:pt>
                <c:pt idx="46">
                  <c:v>0.1662955366288465</c:v>
                </c:pt>
                <c:pt idx="47">
                  <c:v>0.16867589154395199</c:v>
                </c:pt>
                <c:pt idx="48">
                  <c:v>0.17100000002208959</c:v>
                </c:pt>
                <c:pt idx="49">
                  <c:v>0.17327062654835509</c:v>
                </c:pt>
                <c:pt idx="50">
                  <c:v>0.17549032865774</c:v>
                </c:pt>
                <c:pt idx="51">
                  <c:v>0.17766510378643069</c:v>
                </c:pt>
                <c:pt idx="52">
                  <c:v>0.17980000002522789</c:v>
                </c:pt>
                <c:pt idx="53">
                  <c:v>0.18189655465305121</c:v>
                </c:pt>
                <c:pt idx="54">
                  <c:v>0.18395619722997639</c:v>
                </c:pt>
                <c:pt idx="55">
                  <c:v>0.1859618365091473</c:v>
                </c:pt>
                <c:pt idx="56">
                  <c:v>0.18790000002810431</c:v>
                </c:pt>
                <c:pt idx="57">
                  <c:v>0.189774264354824</c:v>
                </c:pt>
                <c:pt idx="58">
                  <c:v>0.2682000000571155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E27E-4C0A-99B7-33696A982CB4}"/>
            </c:ext>
          </c:extLst>
        </c:ser>
        <c:ser>
          <c:idx val="6"/>
          <c:order val="6"/>
          <c:tx>
            <c:strRef>
              <c:f>Sheet1!$A$8</c:f>
              <c:strCache>
                <c:ptCount val="1"/>
                <c:pt idx="0">
                  <c:v>0.997260274</c:v>
                </c:pt>
              </c:strCache>
            </c:strRef>
          </c:tx>
          <c:spPr>
            <a:gradFill rotWithShape="1">
              <a:gsLst>
                <a:gs pos="0">
                  <a:schemeClr val="accent1">
                    <a:lumMod val="60000"/>
                    <a:tint val="50000"/>
                    <a:satMod val="300000"/>
                  </a:schemeClr>
                </a:gs>
                <a:gs pos="35000">
                  <a:schemeClr val="accent1">
                    <a:lumMod val="60000"/>
                    <a:tint val="37000"/>
                    <a:satMod val="300000"/>
                  </a:schemeClr>
                </a:gs>
                <a:gs pos="100000">
                  <a:schemeClr val="accent1">
                    <a:lumMod val="60000"/>
                    <a:tint val="15000"/>
                    <a:satMod val="350000"/>
                  </a:schemeClr>
                </a:gs>
              </a:gsLst>
              <a:lin ang="16200000" scaled="1"/>
            </a:gradFill>
            <a:ln w="9525" cap="flat" cmpd="sng" algn="ctr">
              <a:solidFill>
                <a:schemeClr val="accent1">
                  <a:lumMod val="60000"/>
                  <a:shade val="95000"/>
                </a:schemeClr>
              </a:solidFill>
              <a:round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  <a:sp3d contourW="9525">
              <a:contourClr>
                <a:schemeClr val="accent1">
                  <a:lumMod val="60000"/>
                  <a:shade val="95000"/>
                </a:schemeClr>
              </a:contourClr>
            </a:sp3d>
          </c:spPr>
          <c:cat>
            <c:numRef>
              <c:f>Sheet1!$B$1:$BH$1</c:f>
              <c:numCache>
                <c:formatCode>General</c:formatCode>
                <c:ptCount val="59"/>
                <c:pt idx="0">
                  <c:v>40</c:v>
                </c:pt>
                <c:pt idx="1">
                  <c:v>42.5</c:v>
                </c:pt>
                <c:pt idx="2">
                  <c:v>45</c:v>
                </c:pt>
                <c:pt idx="3">
                  <c:v>47.5</c:v>
                </c:pt>
                <c:pt idx="4">
                  <c:v>50</c:v>
                </c:pt>
                <c:pt idx="5">
                  <c:v>52.5</c:v>
                </c:pt>
                <c:pt idx="6">
                  <c:v>55</c:v>
                </c:pt>
                <c:pt idx="7">
                  <c:v>57.5</c:v>
                </c:pt>
                <c:pt idx="8">
                  <c:v>60</c:v>
                </c:pt>
                <c:pt idx="9">
                  <c:v>62.5</c:v>
                </c:pt>
                <c:pt idx="10">
                  <c:v>65</c:v>
                </c:pt>
                <c:pt idx="11">
                  <c:v>67.5</c:v>
                </c:pt>
                <c:pt idx="12">
                  <c:v>70</c:v>
                </c:pt>
                <c:pt idx="13">
                  <c:v>72.5</c:v>
                </c:pt>
                <c:pt idx="14">
                  <c:v>75</c:v>
                </c:pt>
                <c:pt idx="15">
                  <c:v>77.5</c:v>
                </c:pt>
                <c:pt idx="16">
                  <c:v>80</c:v>
                </c:pt>
                <c:pt idx="17">
                  <c:v>82.5</c:v>
                </c:pt>
                <c:pt idx="18">
                  <c:v>85</c:v>
                </c:pt>
                <c:pt idx="19">
                  <c:v>87.5</c:v>
                </c:pt>
                <c:pt idx="20">
                  <c:v>90</c:v>
                </c:pt>
                <c:pt idx="21">
                  <c:v>92.5</c:v>
                </c:pt>
                <c:pt idx="22">
                  <c:v>95</c:v>
                </c:pt>
                <c:pt idx="23">
                  <c:v>97.5</c:v>
                </c:pt>
                <c:pt idx="24">
                  <c:v>100</c:v>
                </c:pt>
                <c:pt idx="25">
                  <c:v>102.5</c:v>
                </c:pt>
                <c:pt idx="26">
                  <c:v>105</c:v>
                </c:pt>
                <c:pt idx="27">
                  <c:v>107.5</c:v>
                </c:pt>
                <c:pt idx="28">
                  <c:v>110</c:v>
                </c:pt>
                <c:pt idx="29">
                  <c:v>112.5</c:v>
                </c:pt>
                <c:pt idx="30">
                  <c:v>115</c:v>
                </c:pt>
                <c:pt idx="31">
                  <c:v>117.5</c:v>
                </c:pt>
                <c:pt idx="32">
                  <c:v>120</c:v>
                </c:pt>
                <c:pt idx="33">
                  <c:v>122.5</c:v>
                </c:pt>
                <c:pt idx="34">
                  <c:v>125</c:v>
                </c:pt>
                <c:pt idx="35">
                  <c:v>127.5</c:v>
                </c:pt>
                <c:pt idx="36">
                  <c:v>130</c:v>
                </c:pt>
                <c:pt idx="37">
                  <c:v>132.5</c:v>
                </c:pt>
                <c:pt idx="38">
                  <c:v>135</c:v>
                </c:pt>
                <c:pt idx="39">
                  <c:v>137.5</c:v>
                </c:pt>
                <c:pt idx="40">
                  <c:v>140</c:v>
                </c:pt>
                <c:pt idx="41">
                  <c:v>142.5</c:v>
                </c:pt>
                <c:pt idx="42">
                  <c:v>145</c:v>
                </c:pt>
                <c:pt idx="43">
                  <c:v>147.5</c:v>
                </c:pt>
                <c:pt idx="44">
                  <c:v>150</c:v>
                </c:pt>
                <c:pt idx="45">
                  <c:v>152.5</c:v>
                </c:pt>
                <c:pt idx="46">
                  <c:v>155</c:v>
                </c:pt>
                <c:pt idx="47">
                  <c:v>157.5</c:v>
                </c:pt>
                <c:pt idx="48">
                  <c:v>160</c:v>
                </c:pt>
                <c:pt idx="49">
                  <c:v>162.5</c:v>
                </c:pt>
                <c:pt idx="50">
                  <c:v>165</c:v>
                </c:pt>
                <c:pt idx="51">
                  <c:v>167.5</c:v>
                </c:pt>
                <c:pt idx="52">
                  <c:v>170</c:v>
                </c:pt>
                <c:pt idx="53">
                  <c:v>172.5</c:v>
                </c:pt>
                <c:pt idx="54">
                  <c:v>175</c:v>
                </c:pt>
                <c:pt idx="55">
                  <c:v>177.5</c:v>
                </c:pt>
                <c:pt idx="56">
                  <c:v>180</c:v>
                </c:pt>
                <c:pt idx="57">
                  <c:v>182.5</c:v>
                </c:pt>
                <c:pt idx="58">
                  <c:v>1000</c:v>
                </c:pt>
              </c:numCache>
            </c:numRef>
          </c:cat>
          <c:val>
            <c:numRef>
              <c:f>Sheet1!$B$8:$BH$8</c:f>
              <c:numCache>
                <c:formatCode>General</c:formatCode>
                <c:ptCount val="59"/>
                <c:pt idx="0">
                  <c:v>0.48479999999592938</c:v>
                </c:pt>
                <c:pt idx="1">
                  <c:v>0.46763184464736451</c:v>
                </c:pt>
                <c:pt idx="2">
                  <c:v>0.45123601575938688</c:v>
                </c:pt>
                <c:pt idx="3">
                  <c:v>0.4355188186546996</c:v>
                </c:pt>
                <c:pt idx="4">
                  <c:v>0.42039999999687511</c:v>
                </c:pt>
                <c:pt idx="5">
                  <c:v>0.40581001525646609</c:v>
                </c:pt>
                <c:pt idx="6">
                  <c:v>0.39168880610692353</c:v>
                </c:pt>
                <c:pt idx="7">
                  <c:v>0.37810672593747729</c:v>
                </c:pt>
                <c:pt idx="8">
                  <c:v>0.36509999999771242</c:v>
                </c:pt>
                <c:pt idx="9">
                  <c:v>0.35262146796015248</c:v>
                </c:pt>
                <c:pt idx="10">
                  <c:v>0.34062969857474301</c:v>
                </c:pt>
                <c:pt idx="11">
                  <c:v>0.32912449574946201</c:v>
                </c:pt>
                <c:pt idx="12">
                  <c:v>0.31809999999857391</c:v>
                </c:pt>
                <c:pt idx="13">
                  <c:v>0.30752655474909729</c:v>
                </c:pt>
                <c:pt idx="14">
                  <c:v>0.29737702736513988</c:v>
                </c:pt>
                <c:pt idx="15">
                  <c:v>0.28742744225807881</c:v>
                </c:pt>
                <c:pt idx="16">
                  <c:v>0.27749999999917491</c:v>
                </c:pt>
                <c:pt idx="17">
                  <c:v>0.26757153396094441</c:v>
                </c:pt>
                <c:pt idx="18">
                  <c:v>0.25761767492701693</c:v>
                </c:pt>
                <c:pt idx="19">
                  <c:v>0.24757929654889049</c:v>
                </c:pt>
                <c:pt idx="20">
                  <c:v>0.2373999999997706</c:v>
                </c:pt>
                <c:pt idx="21">
                  <c:v>0.2270450842176214</c:v>
                </c:pt>
                <c:pt idx="22">
                  <c:v>0.21650000000013239</c:v>
                </c:pt>
                <c:pt idx="23">
                  <c:v>0.20574377096877189</c:v>
                </c:pt>
                <c:pt idx="24">
                  <c:v>0.19490000000056171</c:v>
                </c:pt>
                <c:pt idx="25">
                  <c:v>0.18409518638702399</c:v>
                </c:pt>
                <c:pt idx="26">
                  <c:v>0.17370000000103189</c:v>
                </c:pt>
                <c:pt idx="27">
                  <c:v>0.16412060826449981</c:v>
                </c:pt>
                <c:pt idx="28">
                  <c:v>0.1559000000012776</c:v>
                </c:pt>
                <c:pt idx="29">
                  <c:v>0.14961135663554079</c:v>
                </c:pt>
                <c:pt idx="30">
                  <c:v>0.14534876449914391</c:v>
                </c:pt>
                <c:pt idx="31">
                  <c:v>0.14270682803740881</c:v>
                </c:pt>
                <c:pt idx="32">
                  <c:v>0.1413000000008357</c:v>
                </c:pt>
                <c:pt idx="33">
                  <c:v>0.14108737445314359</c:v>
                </c:pt>
                <c:pt idx="34">
                  <c:v>0.14160000000051359</c:v>
                </c:pt>
                <c:pt idx="35">
                  <c:v>0.14241066229862609</c:v>
                </c:pt>
                <c:pt idx="36">
                  <c:v>0.14360000000025819</c:v>
                </c:pt>
                <c:pt idx="37">
                  <c:v>0.1452330801752833</c:v>
                </c:pt>
                <c:pt idx="38">
                  <c:v>0.14726945765011831</c:v>
                </c:pt>
                <c:pt idx="39">
                  <c:v>0.14943001789429469</c:v>
                </c:pt>
                <c:pt idx="40">
                  <c:v>0.15149999999980379</c:v>
                </c:pt>
                <c:pt idx="41">
                  <c:v>0.15348553347890559</c:v>
                </c:pt>
                <c:pt idx="42">
                  <c:v>0.1553921233347938</c:v>
                </c:pt>
                <c:pt idx="43">
                  <c:v>0.15720140800862081</c:v>
                </c:pt>
                <c:pt idx="44">
                  <c:v>0.15889999999960239</c:v>
                </c:pt>
                <c:pt idx="45">
                  <c:v>0.16049534148529271</c:v>
                </c:pt>
                <c:pt idx="46">
                  <c:v>0.16199419922475361</c:v>
                </c:pt>
                <c:pt idx="47">
                  <c:v>0.16344852126287021</c:v>
                </c:pt>
                <c:pt idx="48">
                  <c:v>0.16489999999945901</c:v>
                </c:pt>
                <c:pt idx="49">
                  <c:v>0.1663479060616439</c:v>
                </c:pt>
                <c:pt idx="50">
                  <c:v>0.16779157153760721</c:v>
                </c:pt>
                <c:pt idx="51">
                  <c:v>0.16921359038478409</c:v>
                </c:pt>
                <c:pt idx="52">
                  <c:v>0.1705999999992622</c:v>
                </c:pt>
                <c:pt idx="53">
                  <c:v>0.17195239244724009</c:v>
                </c:pt>
                <c:pt idx="54">
                  <c:v>0.17327225278735001</c:v>
                </c:pt>
                <c:pt idx="55">
                  <c:v>0.17455576388894251</c:v>
                </c:pt>
                <c:pt idx="56">
                  <c:v>0.17579999999910631</c:v>
                </c:pt>
                <c:pt idx="57">
                  <c:v>0.1770067741264412</c:v>
                </c:pt>
                <c:pt idx="58">
                  <c:v>0.228499999997935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E27E-4C0A-99B7-33696A982CB4}"/>
            </c:ext>
          </c:extLst>
        </c:ser>
        <c:ser>
          <c:idx val="7"/>
          <c:order val="7"/>
          <c:tx>
            <c:strRef>
              <c:f>Sheet1!$A$9</c:f>
              <c:strCache>
                <c:ptCount val="1"/>
                <c:pt idx="0">
                  <c:v>1.25</c:v>
                </c:pt>
              </c:strCache>
            </c:strRef>
          </c:tx>
          <c:spPr>
            <a:gradFill rotWithShape="1">
              <a:gsLst>
                <a:gs pos="0">
                  <a:schemeClr val="accent2">
                    <a:lumMod val="60000"/>
                    <a:tint val="50000"/>
                    <a:satMod val="300000"/>
                  </a:schemeClr>
                </a:gs>
                <a:gs pos="35000">
                  <a:schemeClr val="accent2">
                    <a:lumMod val="60000"/>
                    <a:tint val="37000"/>
                    <a:satMod val="300000"/>
                  </a:schemeClr>
                </a:gs>
                <a:gs pos="100000">
                  <a:schemeClr val="accent2">
                    <a:lumMod val="60000"/>
                    <a:tint val="15000"/>
                    <a:satMod val="350000"/>
                  </a:schemeClr>
                </a:gs>
              </a:gsLst>
              <a:lin ang="16200000" scaled="1"/>
            </a:gradFill>
            <a:ln w="9525" cap="flat" cmpd="sng" algn="ctr">
              <a:solidFill>
                <a:schemeClr val="accent2">
                  <a:lumMod val="60000"/>
                  <a:shade val="95000"/>
                </a:schemeClr>
              </a:solidFill>
              <a:round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  <a:sp3d contourW="9525">
              <a:contourClr>
                <a:schemeClr val="accent2">
                  <a:lumMod val="60000"/>
                  <a:shade val="95000"/>
                </a:schemeClr>
              </a:contourClr>
            </a:sp3d>
          </c:spPr>
          <c:cat>
            <c:numRef>
              <c:f>Sheet1!$B$1:$BH$1</c:f>
              <c:numCache>
                <c:formatCode>General</c:formatCode>
                <c:ptCount val="59"/>
                <c:pt idx="0">
                  <c:v>40</c:v>
                </c:pt>
                <c:pt idx="1">
                  <c:v>42.5</c:v>
                </c:pt>
                <c:pt idx="2">
                  <c:v>45</c:v>
                </c:pt>
                <c:pt idx="3">
                  <c:v>47.5</c:v>
                </c:pt>
                <c:pt idx="4">
                  <c:v>50</c:v>
                </c:pt>
                <c:pt idx="5">
                  <c:v>52.5</c:v>
                </c:pt>
                <c:pt idx="6">
                  <c:v>55</c:v>
                </c:pt>
                <c:pt idx="7">
                  <c:v>57.5</c:v>
                </c:pt>
                <c:pt idx="8">
                  <c:v>60</c:v>
                </c:pt>
                <c:pt idx="9">
                  <c:v>62.5</c:v>
                </c:pt>
                <c:pt idx="10">
                  <c:v>65</c:v>
                </c:pt>
                <c:pt idx="11">
                  <c:v>67.5</c:v>
                </c:pt>
                <c:pt idx="12">
                  <c:v>70</c:v>
                </c:pt>
                <c:pt idx="13">
                  <c:v>72.5</c:v>
                </c:pt>
                <c:pt idx="14">
                  <c:v>75</c:v>
                </c:pt>
                <c:pt idx="15">
                  <c:v>77.5</c:v>
                </c:pt>
                <c:pt idx="16">
                  <c:v>80</c:v>
                </c:pt>
                <c:pt idx="17">
                  <c:v>82.5</c:v>
                </c:pt>
                <c:pt idx="18">
                  <c:v>85</c:v>
                </c:pt>
                <c:pt idx="19">
                  <c:v>87.5</c:v>
                </c:pt>
                <c:pt idx="20">
                  <c:v>90</c:v>
                </c:pt>
                <c:pt idx="21">
                  <c:v>92.5</c:v>
                </c:pt>
                <c:pt idx="22">
                  <c:v>95</c:v>
                </c:pt>
                <c:pt idx="23">
                  <c:v>97.5</c:v>
                </c:pt>
                <c:pt idx="24">
                  <c:v>100</c:v>
                </c:pt>
                <c:pt idx="25">
                  <c:v>102.5</c:v>
                </c:pt>
                <c:pt idx="26">
                  <c:v>105</c:v>
                </c:pt>
                <c:pt idx="27">
                  <c:v>107.5</c:v>
                </c:pt>
                <c:pt idx="28">
                  <c:v>110</c:v>
                </c:pt>
                <c:pt idx="29">
                  <c:v>112.5</c:v>
                </c:pt>
                <c:pt idx="30">
                  <c:v>115</c:v>
                </c:pt>
                <c:pt idx="31">
                  <c:v>117.5</c:v>
                </c:pt>
                <c:pt idx="32">
                  <c:v>120</c:v>
                </c:pt>
                <c:pt idx="33">
                  <c:v>122.5</c:v>
                </c:pt>
                <c:pt idx="34">
                  <c:v>125</c:v>
                </c:pt>
                <c:pt idx="35">
                  <c:v>127.5</c:v>
                </c:pt>
                <c:pt idx="36">
                  <c:v>130</c:v>
                </c:pt>
                <c:pt idx="37">
                  <c:v>132.5</c:v>
                </c:pt>
                <c:pt idx="38">
                  <c:v>135</c:v>
                </c:pt>
                <c:pt idx="39">
                  <c:v>137.5</c:v>
                </c:pt>
                <c:pt idx="40">
                  <c:v>140</c:v>
                </c:pt>
                <c:pt idx="41">
                  <c:v>142.5</c:v>
                </c:pt>
                <c:pt idx="42">
                  <c:v>145</c:v>
                </c:pt>
                <c:pt idx="43">
                  <c:v>147.5</c:v>
                </c:pt>
                <c:pt idx="44">
                  <c:v>150</c:v>
                </c:pt>
                <c:pt idx="45">
                  <c:v>152.5</c:v>
                </c:pt>
                <c:pt idx="46">
                  <c:v>155</c:v>
                </c:pt>
                <c:pt idx="47">
                  <c:v>157.5</c:v>
                </c:pt>
                <c:pt idx="48">
                  <c:v>160</c:v>
                </c:pt>
                <c:pt idx="49">
                  <c:v>162.5</c:v>
                </c:pt>
                <c:pt idx="50">
                  <c:v>165</c:v>
                </c:pt>
                <c:pt idx="51">
                  <c:v>167.5</c:v>
                </c:pt>
                <c:pt idx="52">
                  <c:v>170</c:v>
                </c:pt>
                <c:pt idx="53">
                  <c:v>172.5</c:v>
                </c:pt>
                <c:pt idx="54">
                  <c:v>175</c:v>
                </c:pt>
                <c:pt idx="55">
                  <c:v>177.5</c:v>
                </c:pt>
                <c:pt idx="56">
                  <c:v>180</c:v>
                </c:pt>
                <c:pt idx="57">
                  <c:v>182.5</c:v>
                </c:pt>
                <c:pt idx="58">
                  <c:v>1000</c:v>
                </c:pt>
              </c:numCache>
            </c:numRef>
          </c:cat>
          <c:val>
            <c:numRef>
              <c:f>Sheet1!$B$9:$BH$9</c:f>
              <c:numCache>
                <c:formatCode>General</c:formatCode>
                <c:ptCount val="59"/>
                <c:pt idx="0">
                  <c:v>0.45385371008608499</c:v>
                </c:pt>
                <c:pt idx="1">
                  <c:v>0.4386410163269544</c:v>
                </c:pt>
                <c:pt idx="2">
                  <c:v>0.42410255440852579</c:v>
                </c:pt>
                <c:pt idx="3">
                  <c:v>0.41015706224335852</c:v>
                </c:pt>
                <c:pt idx="4">
                  <c:v>0.39673499895681041</c:v>
                </c:pt>
                <c:pt idx="5">
                  <c:v>0.38377618005128378</c:v>
                </c:pt>
                <c:pt idx="6">
                  <c:v>0.37122925731077872</c:v>
                </c:pt>
                <c:pt idx="7">
                  <c:v>0.35922929714677088</c:v>
                </c:pt>
                <c:pt idx="8">
                  <c:v>0.34785658220925092</c:v>
                </c:pt>
                <c:pt idx="9">
                  <c:v>0.3370660784316139</c:v>
                </c:pt>
                <c:pt idx="10">
                  <c:v>0.32681780870602739</c:v>
                </c:pt>
                <c:pt idx="11">
                  <c:v>0.31697299362800208</c:v>
                </c:pt>
                <c:pt idx="12">
                  <c:v>0.30742595821807461</c:v>
                </c:pt>
                <c:pt idx="13">
                  <c:v>0.29815248508003778</c:v>
                </c:pt>
                <c:pt idx="14">
                  <c:v>0.28913012725554899</c:v>
                </c:pt>
                <c:pt idx="15">
                  <c:v>0.28023243371466922</c:v>
                </c:pt>
                <c:pt idx="16">
                  <c:v>0.27135868345223729</c:v>
                </c:pt>
                <c:pt idx="17">
                  <c:v>0.2624906120675593</c:v>
                </c:pt>
                <c:pt idx="18">
                  <c:v>0.25360933649627992</c:v>
                </c:pt>
                <c:pt idx="19">
                  <c:v>0.24468956356483221</c:v>
                </c:pt>
                <c:pt idx="20">
                  <c:v>0.23570555790519079</c:v>
                </c:pt>
                <c:pt idx="21">
                  <c:v>0.22663389194853539</c:v>
                </c:pt>
                <c:pt idx="22">
                  <c:v>0.21747192515388511</c:v>
                </c:pt>
                <c:pt idx="23">
                  <c:v>0.20821393130339219</c:v>
                </c:pt>
                <c:pt idx="24">
                  <c:v>0.1989909739813025</c:v>
                </c:pt>
                <c:pt idx="25">
                  <c:v>0.18993609126355551</c:v>
                </c:pt>
                <c:pt idx="26">
                  <c:v>0.1811360328895355</c:v>
                </c:pt>
                <c:pt idx="27">
                  <c:v>0.17268288653713859</c:v>
                </c:pt>
                <c:pt idx="28">
                  <c:v>0.16503575703880011</c:v>
                </c:pt>
                <c:pt idx="29">
                  <c:v>0.15867413310561609</c:v>
                </c:pt>
                <c:pt idx="30">
                  <c:v>0.1536497503267262</c:v>
                </c:pt>
                <c:pt idx="31">
                  <c:v>0.1498921131610047</c:v>
                </c:pt>
                <c:pt idx="32">
                  <c:v>0.14732224467249491</c:v>
                </c:pt>
                <c:pt idx="33">
                  <c:v>0.14592494940045231</c:v>
                </c:pt>
                <c:pt idx="34">
                  <c:v>0.145330663330591</c:v>
                </c:pt>
                <c:pt idx="35">
                  <c:v>0.14518970139718379</c:v>
                </c:pt>
                <c:pt idx="36">
                  <c:v>0.14548826532729439</c:v>
                </c:pt>
                <c:pt idx="37">
                  <c:v>0.14620918446602951</c:v>
                </c:pt>
                <c:pt idx="38">
                  <c:v>0.14732252943551891</c:v>
                </c:pt>
                <c:pt idx="39">
                  <c:v>0.1486498798707353</c:v>
                </c:pt>
                <c:pt idx="40">
                  <c:v>0.1500487996784097</c:v>
                </c:pt>
                <c:pt idx="41">
                  <c:v>0.15151252936044149</c:v>
                </c:pt>
                <c:pt idx="42">
                  <c:v>0.15303470314056891</c:v>
                </c:pt>
                <c:pt idx="43">
                  <c:v>0.15453384422082059</c:v>
                </c:pt>
                <c:pt idx="44">
                  <c:v>0.15594615294767</c:v>
                </c:pt>
                <c:pt idx="45">
                  <c:v>0.15727711707190689</c:v>
                </c:pt>
                <c:pt idx="46">
                  <c:v>0.15853174229566719</c:v>
                </c:pt>
                <c:pt idx="47">
                  <c:v>0.15972497788868989</c:v>
                </c:pt>
                <c:pt idx="48">
                  <c:v>0.160869244717225</c:v>
                </c:pt>
                <c:pt idx="49">
                  <c:v>0.16196714560143449</c:v>
                </c:pt>
                <c:pt idx="50">
                  <c:v>0.16302110842185</c:v>
                </c:pt>
                <c:pt idx="51">
                  <c:v>0.16405298583214059</c:v>
                </c:pt>
                <c:pt idx="52">
                  <c:v>0.1650806962487516</c:v>
                </c:pt>
                <c:pt idx="53">
                  <c:v>0.1661039997500782</c:v>
                </c:pt>
                <c:pt idx="54">
                  <c:v>0.16712267225197139</c:v>
                </c:pt>
                <c:pt idx="55">
                  <c:v>0.1681232967819469</c:v>
                </c:pt>
                <c:pt idx="56">
                  <c:v>0.16909489536457381</c:v>
                </c:pt>
                <c:pt idx="57">
                  <c:v>0.1700387252872593</c:v>
                </c:pt>
                <c:pt idx="58">
                  <c:v>0.2127622787789998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E27E-4C0A-99B7-33696A982CB4}"/>
            </c:ext>
          </c:extLst>
        </c:ser>
        <c:ser>
          <c:idx val="8"/>
          <c:order val="8"/>
          <c:tx>
            <c:strRef>
              <c:f>Sheet1!$A$10</c:f>
              <c:strCache>
                <c:ptCount val="1"/>
                <c:pt idx="0">
                  <c:v>1.495890411</c:v>
                </c:pt>
              </c:strCache>
            </c:strRef>
          </c:tx>
          <c:spPr>
            <a:gradFill rotWithShape="1">
              <a:gsLst>
                <a:gs pos="0">
                  <a:schemeClr val="accent3">
                    <a:lumMod val="60000"/>
                    <a:tint val="50000"/>
                    <a:satMod val="300000"/>
                  </a:schemeClr>
                </a:gs>
                <a:gs pos="35000">
                  <a:schemeClr val="accent3">
                    <a:lumMod val="60000"/>
                    <a:tint val="37000"/>
                    <a:satMod val="300000"/>
                  </a:schemeClr>
                </a:gs>
                <a:gs pos="100000">
                  <a:schemeClr val="accent3">
                    <a:lumMod val="60000"/>
                    <a:tint val="15000"/>
                    <a:satMod val="350000"/>
                  </a:schemeClr>
                </a:gs>
              </a:gsLst>
              <a:lin ang="16200000" scaled="1"/>
            </a:gradFill>
            <a:ln w="9525" cap="flat" cmpd="sng" algn="ctr">
              <a:solidFill>
                <a:schemeClr val="accent3">
                  <a:lumMod val="60000"/>
                  <a:shade val="95000"/>
                </a:schemeClr>
              </a:solidFill>
              <a:round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  <a:sp3d contourW="9525">
              <a:contourClr>
                <a:schemeClr val="accent3">
                  <a:lumMod val="60000"/>
                  <a:shade val="95000"/>
                </a:schemeClr>
              </a:contourClr>
            </a:sp3d>
          </c:spPr>
          <c:cat>
            <c:numRef>
              <c:f>Sheet1!$B$1:$BH$1</c:f>
              <c:numCache>
                <c:formatCode>General</c:formatCode>
                <c:ptCount val="59"/>
                <c:pt idx="0">
                  <c:v>40</c:v>
                </c:pt>
                <c:pt idx="1">
                  <c:v>42.5</c:v>
                </c:pt>
                <c:pt idx="2">
                  <c:v>45</c:v>
                </c:pt>
                <c:pt idx="3">
                  <c:v>47.5</c:v>
                </c:pt>
                <c:pt idx="4">
                  <c:v>50</c:v>
                </c:pt>
                <c:pt idx="5">
                  <c:v>52.5</c:v>
                </c:pt>
                <c:pt idx="6">
                  <c:v>55</c:v>
                </c:pt>
                <c:pt idx="7">
                  <c:v>57.5</c:v>
                </c:pt>
                <c:pt idx="8">
                  <c:v>60</c:v>
                </c:pt>
                <c:pt idx="9">
                  <c:v>62.5</c:v>
                </c:pt>
                <c:pt idx="10">
                  <c:v>65</c:v>
                </c:pt>
                <c:pt idx="11">
                  <c:v>67.5</c:v>
                </c:pt>
                <c:pt idx="12">
                  <c:v>70</c:v>
                </c:pt>
                <c:pt idx="13">
                  <c:v>72.5</c:v>
                </c:pt>
                <c:pt idx="14">
                  <c:v>75</c:v>
                </c:pt>
                <c:pt idx="15">
                  <c:v>77.5</c:v>
                </c:pt>
                <c:pt idx="16">
                  <c:v>80</c:v>
                </c:pt>
                <c:pt idx="17">
                  <c:v>82.5</c:v>
                </c:pt>
                <c:pt idx="18">
                  <c:v>85</c:v>
                </c:pt>
                <c:pt idx="19">
                  <c:v>87.5</c:v>
                </c:pt>
                <c:pt idx="20">
                  <c:v>90</c:v>
                </c:pt>
                <c:pt idx="21">
                  <c:v>92.5</c:v>
                </c:pt>
                <c:pt idx="22">
                  <c:v>95</c:v>
                </c:pt>
                <c:pt idx="23">
                  <c:v>97.5</c:v>
                </c:pt>
                <c:pt idx="24">
                  <c:v>100</c:v>
                </c:pt>
                <c:pt idx="25">
                  <c:v>102.5</c:v>
                </c:pt>
                <c:pt idx="26">
                  <c:v>105</c:v>
                </c:pt>
                <c:pt idx="27">
                  <c:v>107.5</c:v>
                </c:pt>
                <c:pt idx="28">
                  <c:v>110</c:v>
                </c:pt>
                <c:pt idx="29">
                  <c:v>112.5</c:v>
                </c:pt>
                <c:pt idx="30">
                  <c:v>115</c:v>
                </c:pt>
                <c:pt idx="31">
                  <c:v>117.5</c:v>
                </c:pt>
                <c:pt idx="32">
                  <c:v>120</c:v>
                </c:pt>
                <c:pt idx="33">
                  <c:v>122.5</c:v>
                </c:pt>
                <c:pt idx="34">
                  <c:v>125</c:v>
                </c:pt>
                <c:pt idx="35">
                  <c:v>127.5</c:v>
                </c:pt>
                <c:pt idx="36">
                  <c:v>130</c:v>
                </c:pt>
                <c:pt idx="37">
                  <c:v>132.5</c:v>
                </c:pt>
                <c:pt idx="38">
                  <c:v>135</c:v>
                </c:pt>
                <c:pt idx="39">
                  <c:v>137.5</c:v>
                </c:pt>
                <c:pt idx="40">
                  <c:v>140</c:v>
                </c:pt>
                <c:pt idx="41">
                  <c:v>142.5</c:v>
                </c:pt>
                <c:pt idx="42">
                  <c:v>145</c:v>
                </c:pt>
                <c:pt idx="43">
                  <c:v>147.5</c:v>
                </c:pt>
                <c:pt idx="44">
                  <c:v>150</c:v>
                </c:pt>
                <c:pt idx="45">
                  <c:v>152.5</c:v>
                </c:pt>
                <c:pt idx="46">
                  <c:v>155</c:v>
                </c:pt>
                <c:pt idx="47">
                  <c:v>157.5</c:v>
                </c:pt>
                <c:pt idx="48">
                  <c:v>160</c:v>
                </c:pt>
                <c:pt idx="49">
                  <c:v>162.5</c:v>
                </c:pt>
                <c:pt idx="50">
                  <c:v>165</c:v>
                </c:pt>
                <c:pt idx="51">
                  <c:v>167.5</c:v>
                </c:pt>
                <c:pt idx="52">
                  <c:v>170</c:v>
                </c:pt>
                <c:pt idx="53">
                  <c:v>172.5</c:v>
                </c:pt>
                <c:pt idx="54">
                  <c:v>175</c:v>
                </c:pt>
                <c:pt idx="55">
                  <c:v>177.5</c:v>
                </c:pt>
                <c:pt idx="56">
                  <c:v>180</c:v>
                </c:pt>
                <c:pt idx="57">
                  <c:v>182.5</c:v>
                </c:pt>
                <c:pt idx="58">
                  <c:v>1000</c:v>
                </c:pt>
              </c:numCache>
            </c:numRef>
          </c:cat>
          <c:val>
            <c:numRef>
              <c:f>Sheet1!$B$10:$BH$10</c:f>
              <c:numCache>
                <c:formatCode>General</c:formatCode>
                <c:ptCount val="59"/>
                <c:pt idx="0">
                  <c:v>0.43259999999666449</c:v>
                </c:pt>
                <c:pt idx="1">
                  <c:v>0.41876591120451118</c:v>
                </c:pt>
                <c:pt idx="2">
                  <c:v>0.40553434487491069</c:v>
                </c:pt>
                <c:pt idx="3">
                  <c:v>0.39283299229279628</c:v>
                </c:pt>
                <c:pt idx="4">
                  <c:v>0.38059999999748712</c:v>
                </c:pt>
                <c:pt idx="5">
                  <c:v>0.36878187089615111</c:v>
                </c:pt>
                <c:pt idx="6">
                  <c:v>0.35733344829289498</c:v>
                </c:pt>
                <c:pt idx="7">
                  <c:v>0.34643588393297781</c:v>
                </c:pt>
                <c:pt idx="8">
                  <c:v>0.33619999999824168</c:v>
                </c:pt>
                <c:pt idx="9">
                  <c:v>0.32658096987306512</c:v>
                </c:pt>
                <c:pt idx="10">
                  <c:v>0.31753838428732922</c:v>
                </c:pt>
                <c:pt idx="11">
                  <c:v>0.30883601769393698</c:v>
                </c:pt>
                <c:pt idx="12">
                  <c:v>0.3002999999987076</c:v>
                </c:pt>
                <c:pt idx="13">
                  <c:v>0.29191156836758442</c:v>
                </c:pt>
                <c:pt idx="14">
                  <c:v>0.2836530277035994</c:v>
                </c:pt>
                <c:pt idx="15">
                  <c:v>0.27546529583615909</c:v>
                </c:pt>
                <c:pt idx="16">
                  <c:v>0.2672999999991873</c:v>
                </c:pt>
                <c:pt idx="17">
                  <c:v>0.25914187149127488</c:v>
                </c:pt>
                <c:pt idx="18">
                  <c:v>0.25097530495491638</c:v>
                </c:pt>
                <c:pt idx="19">
                  <c:v>0.24279689597410409</c:v>
                </c:pt>
                <c:pt idx="20">
                  <c:v>0.23459999999973771</c:v>
                </c:pt>
                <c:pt idx="21">
                  <c:v>0.22636679338056781</c:v>
                </c:pt>
                <c:pt idx="22">
                  <c:v>0.21809999999999999</c:v>
                </c:pt>
                <c:pt idx="23">
                  <c:v>0.20980052830772641</c:v>
                </c:pt>
                <c:pt idx="24">
                  <c:v>0.20160000000028749</c:v>
                </c:pt>
                <c:pt idx="25">
                  <c:v>0.19363032443403791</c:v>
                </c:pt>
                <c:pt idx="26">
                  <c:v>0.18580000000064731</c:v>
                </c:pt>
                <c:pt idx="27">
                  <c:v>0.1780163331402087</c:v>
                </c:pt>
                <c:pt idx="28">
                  <c:v>0.17070000000095731</c:v>
                </c:pt>
                <c:pt idx="29">
                  <c:v>0.1642851732043196</c:v>
                </c:pt>
                <c:pt idx="30">
                  <c:v>0.15880194940337361</c:v>
                </c:pt>
                <c:pt idx="31">
                  <c:v>0.1543737875144803</c:v>
                </c:pt>
                <c:pt idx="32">
                  <c:v>0.15110000000090229</c:v>
                </c:pt>
                <c:pt idx="33">
                  <c:v>0.1489786398910791</c:v>
                </c:pt>
                <c:pt idx="34">
                  <c:v>0.14770000000068409</c:v>
                </c:pt>
                <c:pt idx="35">
                  <c:v>0.14696409262123761</c:v>
                </c:pt>
                <c:pt idx="36">
                  <c:v>0.1467000000004908</c:v>
                </c:pt>
                <c:pt idx="37">
                  <c:v>0.14683881649947961</c:v>
                </c:pt>
                <c:pt idx="38">
                  <c:v>0.14735694156700579</c:v>
                </c:pt>
                <c:pt idx="39">
                  <c:v>0.1481416860238505</c:v>
                </c:pt>
                <c:pt idx="40">
                  <c:v>0.14910000000012141</c:v>
                </c:pt>
                <c:pt idx="41">
                  <c:v>0.15021898530849101</c:v>
                </c:pt>
                <c:pt idx="42">
                  <c:v>0.1514860682238422</c:v>
                </c:pt>
                <c:pt idx="43">
                  <c:v>0.1527787631749746</c:v>
                </c:pt>
                <c:pt idx="44">
                  <c:v>0.15399999999978159</c:v>
                </c:pt>
                <c:pt idx="45">
                  <c:v>0.15515409263933941</c:v>
                </c:pt>
                <c:pt idx="46">
                  <c:v>0.1562449759900324</c:v>
                </c:pt>
                <c:pt idx="47">
                  <c:v>0.1572627597924422</c:v>
                </c:pt>
                <c:pt idx="48">
                  <c:v>0.15819999999964121</c:v>
                </c:pt>
                <c:pt idx="49">
                  <c:v>0.15906129275655501</c:v>
                </c:pt>
                <c:pt idx="50">
                  <c:v>0.159850890395803</c:v>
                </c:pt>
                <c:pt idx="51">
                  <c:v>0.16061719463962759</c:v>
                </c:pt>
                <c:pt idx="52">
                  <c:v>0.16139999999963031</c:v>
                </c:pt>
                <c:pt idx="53">
                  <c:v>0.16219802946720671</c:v>
                </c:pt>
                <c:pt idx="54">
                  <c:v>0.16301006918422389</c:v>
                </c:pt>
                <c:pt idx="55">
                  <c:v>0.16381621604206811</c:v>
                </c:pt>
                <c:pt idx="56">
                  <c:v>0.16459999999961941</c:v>
                </c:pt>
                <c:pt idx="57">
                  <c:v>0.16536234324293</c:v>
                </c:pt>
                <c:pt idx="58">
                  <c:v>0.2018999999992973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E27E-4C0A-99B7-33696A982CB4}"/>
            </c:ext>
          </c:extLst>
        </c:ser>
        <c:ser>
          <c:idx val="9"/>
          <c:order val="9"/>
          <c:tx>
            <c:strRef>
              <c:f>Sheet1!$A$11</c:f>
              <c:strCache>
                <c:ptCount val="1"/>
                <c:pt idx="0">
                  <c:v>1.75</c:v>
                </c:pt>
              </c:strCache>
            </c:strRef>
          </c:tx>
          <c:spPr>
            <a:gradFill rotWithShape="1">
              <a:gsLst>
                <a:gs pos="0">
                  <a:schemeClr val="accent4">
                    <a:lumMod val="60000"/>
                    <a:tint val="50000"/>
                    <a:satMod val="300000"/>
                  </a:schemeClr>
                </a:gs>
                <a:gs pos="35000">
                  <a:schemeClr val="accent4">
                    <a:lumMod val="60000"/>
                    <a:tint val="37000"/>
                    <a:satMod val="300000"/>
                  </a:schemeClr>
                </a:gs>
                <a:gs pos="100000">
                  <a:schemeClr val="accent4">
                    <a:lumMod val="60000"/>
                    <a:tint val="15000"/>
                    <a:satMod val="350000"/>
                  </a:schemeClr>
                </a:gs>
              </a:gsLst>
              <a:lin ang="16200000" scaled="1"/>
            </a:gradFill>
            <a:ln w="9525" cap="flat" cmpd="sng" algn="ctr">
              <a:solidFill>
                <a:schemeClr val="accent4">
                  <a:lumMod val="60000"/>
                  <a:shade val="95000"/>
                </a:schemeClr>
              </a:solidFill>
              <a:round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  <a:sp3d contourW="9525">
              <a:contourClr>
                <a:schemeClr val="accent4">
                  <a:lumMod val="60000"/>
                  <a:shade val="95000"/>
                </a:schemeClr>
              </a:contourClr>
            </a:sp3d>
          </c:spPr>
          <c:cat>
            <c:numRef>
              <c:f>Sheet1!$B$1:$BH$1</c:f>
              <c:numCache>
                <c:formatCode>General</c:formatCode>
                <c:ptCount val="59"/>
                <c:pt idx="0">
                  <c:v>40</c:v>
                </c:pt>
                <c:pt idx="1">
                  <c:v>42.5</c:v>
                </c:pt>
                <c:pt idx="2">
                  <c:v>45</c:v>
                </c:pt>
                <c:pt idx="3">
                  <c:v>47.5</c:v>
                </c:pt>
                <c:pt idx="4">
                  <c:v>50</c:v>
                </c:pt>
                <c:pt idx="5">
                  <c:v>52.5</c:v>
                </c:pt>
                <c:pt idx="6">
                  <c:v>55</c:v>
                </c:pt>
                <c:pt idx="7">
                  <c:v>57.5</c:v>
                </c:pt>
                <c:pt idx="8">
                  <c:v>60</c:v>
                </c:pt>
                <c:pt idx="9">
                  <c:v>62.5</c:v>
                </c:pt>
                <c:pt idx="10">
                  <c:v>65</c:v>
                </c:pt>
                <c:pt idx="11">
                  <c:v>67.5</c:v>
                </c:pt>
                <c:pt idx="12">
                  <c:v>70</c:v>
                </c:pt>
                <c:pt idx="13">
                  <c:v>72.5</c:v>
                </c:pt>
                <c:pt idx="14">
                  <c:v>75</c:v>
                </c:pt>
                <c:pt idx="15">
                  <c:v>77.5</c:v>
                </c:pt>
                <c:pt idx="16">
                  <c:v>80</c:v>
                </c:pt>
                <c:pt idx="17">
                  <c:v>82.5</c:v>
                </c:pt>
                <c:pt idx="18">
                  <c:v>85</c:v>
                </c:pt>
                <c:pt idx="19">
                  <c:v>87.5</c:v>
                </c:pt>
                <c:pt idx="20">
                  <c:v>90</c:v>
                </c:pt>
                <c:pt idx="21">
                  <c:v>92.5</c:v>
                </c:pt>
                <c:pt idx="22">
                  <c:v>95</c:v>
                </c:pt>
                <c:pt idx="23">
                  <c:v>97.5</c:v>
                </c:pt>
                <c:pt idx="24">
                  <c:v>100</c:v>
                </c:pt>
                <c:pt idx="25">
                  <c:v>102.5</c:v>
                </c:pt>
                <c:pt idx="26">
                  <c:v>105</c:v>
                </c:pt>
                <c:pt idx="27">
                  <c:v>107.5</c:v>
                </c:pt>
                <c:pt idx="28">
                  <c:v>110</c:v>
                </c:pt>
                <c:pt idx="29">
                  <c:v>112.5</c:v>
                </c:pt>
                <c:pt idx="30">
                  <c:v>115</c:v>
                </c:pt>
                <c:pt idx="31">
                  <c:v>117.5</c:v>
                </c:pt>
                <c:pt idx="32">
                  <c:v>120</c:v>
                </c:pt>
                <c:pt idx="33">
                  <c:v>122.5</c:v>
                </c:pt>
                <c:pt idx="34">
                  <c:v>125</c:v>
                </c:pt>
                <c:pt idx="35">
                  <c:v>127.5</c:v>
                </c:pt>
                <c:pt idx="36">
                  <c:v>130</c:v>
                </c:pt>
                <c:pt idx="37">
                  <c:v>132.5</c:v>
                </c:pt>
                <c:pt idx="38">
                  <c:v>135</c:v>
                </c:pt>
                <c:pt idx="39">
                  <c:v>137.5</c:v>
                </c:pt>
                <c:pt idx="40">
                  <c:v>140</c:v>
                </c:pt>
                <c:pt idx="41">
                  <c:v>142.5</c:v>
                </c:pt>
                <c:pt idx="42">
                  <c:v>145</c:v>
                </c:pt>
                <c:pt idx="43">
                  <c:v>147.5</c:v>
                </c:pt>
                <c:pt idx="44">
                  <c:v>150</c:v>
                </c:pt>
                <c:pt idx="45">
                  <c:v>152.5</c:v>
                </c:pt>
                <c:pt idx="46">
                  <c:v>155</c:v>
                </c:pt>
                <c:pt idx="47">
                  <c:v>157.5</c:v>
                </c:pt>
                <c:pt idx="48">
                  <c:v>160</c:v>
                </c:pt>
                <c:pt idx="49">
                  <c:v>162.5</c:v>
                </c:pt>
                <c:pt idx="50">
                  <c:v>165</c:v>
                </c:pt>
                <c:pt idx="51">
                  <c:v>167.5</c:v>
                </c:pt>
                <c:pt idx="52">
                  <c:v>170</c:v>
                </c:pt>
                <c:pt idx="53">
                  <c:v>172.5</c:v>
                </c:pt>
                <c:pt idx="54">
                  <c:v>175</c:v>
                </c:pt>
                <c:pt idx="55">
                  <c:v>177.5</c:v>
                </c:pt>
                <c:pt idx="56">
                  <c:v>180</c:v>
                </c:pt>
                <c:pt idx="57">
                  <c:v>182.5</c:v>
                </c:pt>
                <c:pt idx="58">
                  <c:v>1000</c:v>
                </c:pt>
              </c:numCache>
            </c:numRef>
          </c:cat>
          <c:val>
            <c:numRef>
              <c:f>Sheet1!$B$11:$BH$11</c:f>
              <c:numCache>
                <c:formatCode>General</c:formatCode>
                <c:ptCount val="59"/>
                <c:pt idx="0">
                  <c:v>0.41459555733797188</c:v>
                </c:pt>
                <c:pt idx="1">
                  <c:v>0.40190023878693582</c:v>
                </c:pt>
                <c:pt idx="2">
                  <c:v>0.38979253631620608</c:v>
                </c:pt>
                <c:pt idx="3">
                  <c:v>0.37820426926955802</c:v>
                </c:pt>
                <c:pt idx="4">
                  <c:v>0.36707735394712382</c:v>
                </c:pt>
                <c:pt idx="5">
                  <c:v>0.3563618057765825</c:v>
                </c:pt>
                <c:pt idx="6">
                  <c:v>0.34601517838820312</c:v>
                </c:pt>
                <c:pt idx="7">
                  <c:v>0.33613449197201201</c:v>
                </c:pt>
                <c:pt idx="8">
                  <c:v>0.32677473200884438</c:v>
                </c:pt>
                <c:pt idx="9">
                  <c:v>0.31789749997630351</c:v>
                </c:pt>
                <c:pt idx="10">
                  <c:v>0.30946841602669928</c:v>
                </c:pt>
                <c:pt idx="11">
                  <c:v>0.30133654585244829</c:v>
                </c:pt>
                <c:pt idx="12">
                  <c:v>0.29338989183360931</c:v>
                </c:pt>
                <c:pt idx="13">
                  <c:v>0.28561067326367517</c:v>
                </c:pt>
                <c:pt idx="14">
                  <c:v>0.2779823601151602</c:v>
                </c:pt>
                <c:pt idx="15">
                  <c:v>0.27045017590728071</c:v>
                </c:pt>
                <c:pt idx="16">
                  <c:v>0.26296987613303668</c:v>
                </c:pt>
                <c:pt idx="17">
                  <c:v>0.25552849620085027</c:v>
                </c:pt>
                <c:pt idx="18">
                  <c:v>0.24811306327156391</c:v>
                </c:pt>
                <c:pt idx="19">
                  <c:v>0.24068465756805271</c:v>
                </c:pt>
                <c:pt idx="20">
                  <c:v>0.23320903410683111</c:v>
                </c:pt>
                <c:pt idx="21">
                  <c:v>0.2256716179799815</c:v>
                </c:pt>
                <c:pt idx="22">
                  <c:v>0.21809999999999999</c:v>
                </c:pt>
                <c:pt idx="23">
                  <c:v>0.21051953030659121</c:v>
                </c:pt>
                <c:pt idx="24">
                  <c:v>0.2031141885468396</c:v>
                </c:pt>
                <c:pt idx="25">
                  <c:v>0.19606627799523491</c:v>
                </c:pt>
                <c:pt idx="26">
                  <c:v>0.18919041390178509</c:v>
                </c:pt>
                <c:pt idx="27">
                  <c:v>0.18230239576021801</c:v>
                </c:pt>
                <c:pt idx="28">
                  <c:v>0.17568705560413181</c:v>
                </c:pt>
                <c:pt idx="29">
                  <c:v>0.16963239579873671</c:v>
                </c:pt>
                <c:pt idx="30">
                  <c:v>0.16414885080157801</c:v>
                </c:pt>
                <c:pt idx="31">
                  <c:v>0.1594699431379562</c:v>
                </c:pt>
                <c:pt idx="32">
                  <c:v>0.15579659069194321</c:v>
                </c:pt>
                <c:pt idx="33">
                  <c:v>0.15313158143871861</c:v>
                </c:pt>
                <c:pt idx="34">
                  <c:v>0.15127296067089119</c:v>
                </c:pt>
                <c:pt idx="35">
                  <c:v>0.15002060652985141</c:v>
                </c:pt>
                <c:pt idx="36">
                  <c:v>0.1492714057525501</c:v>
                </c:pt>
                <c:pt idx="37">
                  <c:v>0.14892615860546449</c:v>
                </c:pt>
                <c:pt idx="38">
                  <c:v>0.14896505558046699</c:v>
                </c:pt>
                <c:pt idx="39">
                  <c:v>0.14926918023135849</c:v>
                </c:pt>
                <c:pt idx="40">
                  <c:v>0.14973988780548761</c:v>
                </c:pt>
                <c:pt idx="41">
                  <c:v>0.15036670827660961</c:v>
                </c:pt>
                <c:pt idx="42">
                  <c:v>0.15113933231064</c:v>
                </c:pt>
                <c:pt idx="43">
                  <c:v>0.15198415221671299</c:v>
                </c:pt>
                <c:pt idx="44">
                  <c:v>0.15284154208297351</c:v>
                </c:pt>
                <c:pt idx="45">
                  <c:v>0.153710214329428</c:v>
                </c:pt>
                <c:pt idx="46">
                  <c:v>0.15458895505060399</c:v>
                </c:pt>
                <c:pt idx="47">
                  <c:v>0.15545546286295159</c:v>
                </c:pt>
                <c:pt idx="48">
                  <c:v>0.15629177000041619</c:v>
                </c:pt>
                <c:pt idx="49">
                  <c:v>0.15709932394995119</c:v>
                </c:pt>
                <c:pt idx="50">
                  <c:v>0.1578794934368922</c:v>
                </c:pt>
                <c:pt idx="51">
                  <c:v>0.15865226414169201</c:v>
                </c:pt>
                <c:pt idx="52">
                  <c:v>0.15943403222065539</c:v>
                </c:pt>
                <c:pt idx="53">
                  <c:v>0.1602239480750878</c:v>
                </c:pt>
                <c:pt idx="54">
                  <c:v>0.1610212060900269</c:v>
                </c:pt>
                <c:pt idx="55">
                  <c:v>0.16180974587920829</c:v>
                </c:pt>
                <c:pt idx="56">
                  <c:v>0.16257629610368951</c:v>
                </c:pt>
                <c:pt idx="57">
                  <c:v>0.1633217636709462</c:v>
                </c:pt>
                <c:pt idx="58">
                  <c:v>0.1981506155386759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E27E-4C0A-99B7-33696A982CB4}"/>
            </c:ext>
          </c:extLst>
        </c:ser>
        <c:ser>
          <c:idx val="10"/>
          <c:order val="10"/>
          <c:tx>
            <c:strRef>
              <c:f>Sheet1!$A$12</c:f>
              <c:strCache>
                <c:ptCount val="1"/>
                <c:pt idx="0">
                  <c:v>1.994520548</c:v>
                </c:pt>
              </c:strCache>
            </c:strRef>
          </c:tx>
          <c:spPr>
            <a:gradFill rotWithShape="1">
              <a:gsLst>
                <a:gs pos="0">
                  <a:schemeClr val="accent5">
                    <a:lumMod val="60000"/>
                    <a:tint val="50000"/>
                    <a:satMod val="300000"/>
                  </a:schemeClr>
                </a:gs>
                <a:gs pos="35000">
                  <a:schemeClr val="accent5">
                    <a:lumMod val="60000"/>
                    <a:tint val="37000"/>
                    <a:satMod val="300000"/>
                  </a:schemeClr>
                </a:gs>
                <a:gs pos="100000">
                  <a:schemeClr val="accent5">
                    <a:lumMod val="60000"/>
                    <a:tint val="15000"/>
                    <a:satMod val="350000"/>
                  </a:schemeClr>
                </a:gs>
              </a:gsLst>
              <a:lin ang="16200000" scaled="1"/>
            </a:gradFill>
            <a:ln w="9525" cap="flat" cmpd="sng" algn="ctr">
              <a:solidFill>
                <a:schemeClr val="accent5">
                  <a:lumMod val="60000"/>
                  <a:shade val="95000"/>
                </a:schemeClr>
              </a:solidFill>
              <a:round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  <a:sp3d contourW="9525">
              <a:contourClr>
                <a:schemeClr val="accent5">
                  <a:lumMod val="60000"/>
                  <a:shade val="95000"/>
                </a:schemeClr>
              </a:contourClr>
            </a:sp3d>
          </c:spPr>
          <c:cat>
            <c:numRef>
              <c:f>Sheet1!$B$1:$BH$1</c:f>
              <c:numCache>
                <c:formatCode>General</c:formatCode>
                <c:ptCount val="59"/>
                <c:pt idx="0">
                  <c:v>40</c:v>
                </c:pt>
                <c:pt idx="1">
                  <c:v>42.5</c:v>
                </c:pt>
                <c:pt idx="2">
                  <c:v>45</c:v>
                </c:pt>
                <c:pt idx="3">
                  <c:v>47.5</c:v>
                </c:pt>
                <c:pt idx="4">
                  <c:v>50</c:v>
                </c:pt>
                <c:pt idx="5">
                  <c:v>52.5</c:v>
                </c:pt>
                <c:pt idx="6">
                  <c:v>55</c:v>
                </c:pt>
                <c:pt idx="7">
                  <c:v>57.5</c:v>
                </c:pt>
                <c:pt idx="8">
                  <c:v>60</c:v>
                </c:pt>
                <c:pt idx="9">
                  <c:v>62.5</c:v>
                </c:pt>
                <c:pt idx="10">
                  <c:v>65</c:v>
                </c:pt>
                <c:pt idx="11">
                  <c:v>67.5</c:v>
                </c:pt>
                <c:pt idx="12">
                  <c:v>70</c:v>
                </c:pt>
                <c:pt idx="13">
                  <c:v>72.5</c:v>
                </c:pt>
                <c:pt idx="14">
                  <c:v>75</c:v>
                </c:pt>
                <c:pt idx="15">
                  <c:v>77.5</c:v>
                </c:pt>
                <c:pt idx="16">
                  <c:v>80</c:v>
                </c:pt>
                <c:pt idx="17">
                  <c:v>82.5</c:v>
                </c:pt>
                <c:pt idx="18">
                  <c:v>85</c:v>
                </c:pt>
                <c:pt idx="19">
                  <c:v>87.5</c:v>
                </c:pt>
                <c:pt idx="20">
                  <c:v>90</c:v>
                </c:pt>
                <c:pt idx="21">
                  <c:v>92.5</c:v>
                </c:pt>
                <c:pt idx="22">
                  <c:v>95</c:v>
                </c:pt>
                <c:pt idx="23">
                  <c:v>97.5</c:v>
                </c:pt>
                <c:pt idx="24">
                  <c:v>100</c:v>
                </c:pt>
                <c:pt idx="25">
                  <c:v>102.5</c:v>
                </c:pt>
                <c:pt idx="26">
                  <c:v>105</c:v>
                </c:pt>
                <c:pt idx="27">
                  <c:v>107.5</c:v>
                </c:pt>
                <c:pt idx="28">
                  <c:v>110</c:v>
                </c:pt>
                <c:pt idx="29">
                  <c:v>112.5</c:v>
                </c:pt>
                <c:pt idx="30">
                  <c:v>115</c:v>
                </c:pt>
                <c:pt idx="31">
                  <c:v>117.5</c:v>
                </c:pt>
                <c:pt idx="32">
                  <c:v>120</c:v>
                </c:pt>
                <c:pt idx="33">
                  <c:v>122.5</c:v>
                </c:pt>
                <c:pt idx="34">
                  <c:v>125</c:v>
                </c:pt>
                <c:pt idx="35">
                  <c:v>127.5</c:v>
                </c:pt>
                <c:pt idx="36">
                  <c:v>130</c:v>
                </c:pt>
                <c:pt idx="37">
                  <c:v>132.5</c:v>
                </c:pt>
                <c:pt idx="38">
                  <c:v>135</c:v>
                </c:pt>
                <c:pt idx="39">
                  <c:v>137.5</c:v>
                </c:pt>
                <c:pt idx="40">
                  <c:v>140</c:v>
                </c:pt>
                <c:pt idx="41">
                  <c:v>142.5</c:v>
                </c:pt>
                <c:pt idx="42">
                  <c:v>145</c:v>
                </c:pt>
                <c:pt idx="43">
                  <c:v>147.5</c:v>
                </c:pt>
                <c:pt idx="44">
                  <c:v>150</c:v>
                </c:pt>
                <c:pt idx="45">
                  <c:v>152.5</c:v>
                </c:pt>
                <c:pt idx="46">
                  <c:v>155</c:v>
                </c:pt>
                <c:pt idx="47">
                  <c:v>157.5</c:v>
                </c:pt>
                <c:pt idx="48">
                  <c:v>160</c:v>
                </c:pt>
                <c:pt idx="49">
                  <c:v>162.5</c:v>
                </c:pt>
                <c:pt idx="50">
                  <c:v>165</c:v>
                </c:pt>
                <c:pt idx="51">
                  <c:v>167.5</c:v>
                </c:pt>
                <c:pt idx="52">
                  <c:v>170</c:v>
                </c:pt>
                <c:pt idx="53">
                  <c:v>172.5</c:v>
                </c:pt>
                <c:pt idx="54">
                  <c:v>175</c:v>
                </c:pt>
                <c:pt idx="55">
                  <c:v>177.5</c:v>
                </c:pt>
                <c:pt idx="56">
                  <c:v>180</c:v>
                </c:pt>
                <c:pt idx="57">
                  <c:v>182.5</c:v>
                </c:pt>
                <c:pt idx="58">
                  <c:v>1000</c:v>
                </c:pt>
              </c:numCache>
            </c:numRef>
          </c:cat>
          <c:val>
            <c:numRef>
              <c:f>Sheet1!$B$12:$BH$12</c:f>
              <c:numCache>
                <c:formatCode>General</c:formatCode>
                <c:ptCount val="59"/>
                <c:pt idx="0">
                  <c:v>0.40109999999664109</c:v>
                </c:pt>
                <c:pt idx="1">
                  <c:v>0.38927460225009941</c:v>
                </c:pt>
                <c:pt idx="2">
                  <c:v>0.37802466197393397</c:v>
                </c:pt>
                <c:pt idx="3">
                  <c:v>0.36728493923532413</c:v>
                </c:pt>
                <c:pt idx="4">
                  <c:v>0.3569999999973803</c:v>
                </c:pt>
                <c:pt idx="5">
                  <c:v>0.3471222897325954</c:v>
                </c:pt>
                <c:pt idx="6">
                  <c:v>0.33761115060474839</c:v>
                </c:pt>
                <c:pt idx="7">
                  <c:v>0.32849936156320131</c:v>
                </c:pt>
                <c:pt idx="8">
                  <c:v>0.31979999999801939</c:v>
                </c:pt>
                <c:pt idx="9">
                  <c:v>0.31148029562093599</c:v>
                </c:pt>
                <c:pt idx="10">
                  <c:v>0.30351105780011178</c:v>
                </c:pt>
                <c:pt idx="11">
                  <c:v>0.29580609110698058</c:v>
                </c:pt>
                <c:pt idx="12">
                  <c:v>0.2882999999985425</c:v>
                </c:pt>
                <c:pt idx="13">
                  <c:v>0.28097555822198939</c:v>
                </c:pt>
                <c:pt idx="14">
                  <c:v>0.27381689874326948</c:v>
                </c:pt>
                <c:pt idx="15">
                  <c:v>0.26677220577654298</c:v>
                </c:pt>
                <c:pt idx="16">
                  <c:v>0.25979999999904868</c:v>
                </c:pt>
                <c:pt idx="17">
                  <c:v>0.25288865616574802</c:v>
                </c:pt>
                <c:pt idx="18">
                  <c:v>0.24602670198311249</c:v>
                </c:pt>
                <c:pt idx="19">
                  <c:v>0.23914866892090031</c:v>
                </c:pt>
                <c:pt idx="20">
                  <c:v>0.2321999999995713</c:v>
                </c:pt>
                <c:pt idx="21">
                  <c:v>0.22516857779898231</c:v>
                </c:pt>
                <c:pt idx="22">
                  <c:v>0.2180999999998777</c:v>
                </c:pt>
                <c:pt idx="23">
                  <c:v>0.21103691080437259</c:v>
                </c:pt>
                <c:pt idx="24">
                  <c:v>0.20420000000018931</c:v>
                </c:pt>
                <c:pt idx="25">
                  <c:v>0.19780566471141611</c:v>
                </c:pt>
                <c:pt idx="26">
                  <c:v>0.1916000000004312</c:v>
                </c:pt>
                <c:pt idx="27">
                  <c:v>0.18533406863421861</c:v>
                </c:pt>
                <c:pt idx="28">
                  <c:v>0.17920000000068631</c:v>
                </c:pt>
                <c:pt idx="29">
                  <c:v>0.17338905521925371</c:v>
                </c:pt>
                <c:pt idx="30">
                  <c:v>0.16790194602681571</c:v>
                </c:pt>
                <c:pt idx="31">
                  <c:v>0.1630489012416704</c:v>
                </c:pt>
                <c:pt idx="32">
                  <c:v>0.15910000000094859</c:v>
                </c:pt>
                <c:pt idx="33">
                  <c:v>0.15606010685105001</c:v>
                </c:pt>
                <c:pt idx="34">
                  <c:v>0.15380000000081001</c:v>
                </c:pt>
                <c:pt idx="35">
                  <c:v>0.15218835398077099</c:v>
                </c:pt>
                <c:pt idx="36">
                  <c:v>0.15110000000062879</c:v>
                </c:pt>
                <c:pt idx="37">
                  <c:v>0.1504145943812642</c:v>
                </c:pt>
                <c:pt idx="38">
                  <c:v>0.15011492613603319</c:v>
                </c:pt>
                <c:pt idx="39">
                  <c:v>0.1500776282280929</c:v>
                </c:pt>
                <c:pt idx="40">
                  <c:v>0.15020000000017311</c:v>
                </c:pt>
                <c:pt idx="41">
                  <c:v>0.15047322956523029</c:v>
                </c:pt>
                <c:pt idx="42">
                  <c:v>0.15088859863586679</c:v>
                </c:pt>
                <c:pt idx="43">
                  <c:v>0.15140809215748841</c:v>
                </c:pt>
                <c:pt idx="44">
                  <c:v>0.151999999999886</c:v>
                </c:pt>
                <c:pt idx="45">
                  <c:v>0.1526596859467933</c:v>
                </c:pt>
                <c:pt idx="46">
                  <c:v>0.15338270021441691</c:v>
                </c:pt>
                <c:pt idx="47">
                  <c:v>0.1541379753045726</c:v>
                </c:pt>
                <c:pt idx="48">
                  <c:v>0.15489999999971679</c:v>
                </c:pt>
                <c:pt idx="49">
                  <c:v>0.15566801282701381</c:v>
                </c:pt>
                <c:pt idx="50">
                  <c:v>0.15644130670307521</c:v>
                </c:pt>
                <c:pt idx="51">
                  <c:v>0.15721892114272451</c:v>
                </c:pt>
                <c:pt idx="52">
                  <c:v>0.15799999999962111</c:v>
                </c:pt>
                <c:pt idx="53">
                  <c:v>0.15878401023487809</c:v>
                </c:pt>
                <c:pt idx="54">
                  <c:v>0.1595704474100777</c:v>
                </c:pt>
                <c:pt idx="55">
                  <c:v>0.16034608216218951</c:v>
                </c:pt>
                <c:pt idx="56">
                  <c:v>0.161099999999534</c:v>
                </c:pt>
                <c:pt idx="57">
                  <c:v>0.1618330966770064</c:v>
                </c:pt>
                <c:pt idx="58">
                  <c:v>0.1953999999982289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E27E-4C0A-99B7-33696A982CB4}"/>
            </c:ext>
          </c:extLst>
        </c:ser>
        <c:ser>
          <c:idx val="11"/>
          <c:order val="11"/>
          <c:tx>
            <c:strRef>
              <c:f>Sheet1!$A$13</c:f>
              <c:strCache>
                <c:ptCount val="1"/>
                <c:pt idx="0">
                  <c:v>2.25</c:v>
                </c:pt>
              </c:strCache>
            </c:strRef>
          </c:tx>
          <c:spPr>
            <a:gradFill rotWithShape="1">
              <a:gsLst>
                <a:gs pos="0">
                  <a:schemeClr val="accent6">
                    <a:lumMod val="60000"/>
                    <a:tint val="50000"/>
                    <a:satMod val="300000"/>
                  </a:schemeClr>
                </a:gs>
                <a:gs pos="35000">
                  <a:schemeClr val="accent6">
                    <a:lumMod val="60000"/>
                    <a:tint val="37000"/>
                    <a:satMod val="300000"/>
                  </a:schemeClr>
                </a:gs>
                <a:gs pos="100000">
                  <a:schemeClr val="accent6">
                    <a:lumMod val="60000"/>
                    <a:tint val="15000"/>
                    <a:satMod val="350000"/>
                  </a:schemeClr>
                </a:gs>
              </a:gsLst>
              <a:lin ang="16200000" scaled="1"/>
            </a:gradFill>
            <a:ln w="9525" cap="flat" cmpd="sng" algn="ctr">
              <a:solidFill>
                <a:schemeClr val="accent6">
                  <a:lumMod val="60000"/>
                  <a:shade val="95000"/>
                </a:schemeClr>
              </a:solidFill>
              <a:round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  <a:sp3d contourW="9525">
              <a:contourClr>
                <a:schemeClr val="accent6">
                  <a:lumMod val="60000"/>
                  <a:shade val="95000"/>
                </a:schemeClr>
              </a:contourClr>
            </a:sp3d>
          </c:spPr>
          <c:cat>
            <c:numRef>
              <c:f>Sheet1!$B$1:$BH$1</c:f>
              <c:numCache>
                <c:formatCode>General</c:formatCode>
                <c:ptCount val="59"/>
                <c:pt idx="0">
                  <c:v>40</c:v>
                </c:pt>
                <c:pt idx="1">
                  <c:v>42.5</c:v>
                </c:pt>
                <c:pt idx="2">
                  <c:v>45</c:v>
                </c:pt>
                <c:pt idx="3">
                  <c:v>47.5</c:v>
                </c:pt>
                <c:pt idx="4">
                  <c:v>50</c:v>
                </c:pt>
                <c:pt idx="5">
                  <c:v>52.5</c:v>
                </c:pt>
                <c:pt idx="6">
                  <c:v>55</c:v>
                </c:pt>
                <c:pt idx="7">
                  <c:v>57.5</c:v>
                </c:pt>
                <c:pt idx="8">
                  <c:v>60</c:v>
                </c:pt>
                <c:pt idx="9">
                  <c:v>62.5</c:v>
                </c:pt>
                <c:pt idx="10">
                  <c:v>65</c:v>
                </c:pt>
                <c:pt idx="11">
                  <c:v>67.5</c:v>
                </c:pt>
                <c:pt idx="12">
                  <c:v>70</c:v>
                </c:pt>
                <c:pt idx="13">
                  <c:v>72.5</c:v>
                </c:pt>
                <c:pt idx="14">
                  <c:v>75</c:v>
                </c:pt>
                <c:pt idx="15">
                  <c:v>77.5</c:v>
                </c:pt>
                <c:pt idx="16">
                  <c:v>80</c:v>
                </c:pt>
                <c:pt idx="17">
                  <c:v>82.5</c:v>
                </c:pt>
                <c:pt idx="18">
                  <c:v>85</c:v>
                </c:pt>
                <c:pt idx="19">
                  <c:v>87.5</c:v>
                </c:pt>
                <c:pt idx="20">
                  <c:v>90</c:v>
                </c:pt>
                <c:pt idx="21">
                  <c:v>92.5</c:v>
                </c:pt>
                <c:pt idx="22">
                  <c:v>95</c:v>
                </c:pt>
                <c:pt idx="23">
                  <c:v>97.5</c:v>
                </c:pt>
                <c:pt idx="24">
                  <c:v>100</c:v>
                </c:pt>
                <c:pt idx="25">
                  <c:v>102.5</c:v>
                </c:pt>
                <c:pt idx="26">
                  <c:v>105</c:v>
                </c:pt>
                <c:pt idx="27">
                  <c:v>107.5</c:v>
                </c:pt>
                <c:pt idx="28">
                  <c:v>110</c:v>
                </c:pt>
                <c:pt idx="29">
                  <c:v>112.5</c:v>
                </c:pt>
                <c:pt idx="30">
                  <c:v>115</c:v>
                </c:pt>
                <c:pt idx="31">
                  <c:v>117.5</c:v>
                </c:pt>
                <c:pt idx="32">
                  <c:v>120</c:v>
                </c:pt>
                <c:pt idx="33">
                  <c:v>122.5</c:v>
                </c:pt>
                <c:pt idx="34">
                  <c:v>125</c:v>
                </c:pt>
                <c:pt idx="35">
                  <c:v>127.5</c:v>
                </c:pt>
                <c:pt idx="36">
                  <c:v>130</c:v>
                </c:pt>
                <c:pt idx="37">
                  <c:v>132.5</c:v>
                </c:pt>
                <c:pt idx="38">
                  <c:v>135</c:v>
                </c:pt>
                <c:pt idx="39">
                  <c:v>137.5</c:v>
                </c:pt>
                <c:pt idx="40">
                  <c:v>140</c:v>
                </c:pt>
                <c:pt idx="41">
                  <c:v>142.5</c:v>
                </c:pt>
                <c:pt idx="42">
                  <c:v>145</c:v>
                </c:pt>
                <c:pt idx="43">
                  <c:v>147.5</c:v>
                </c:pt>
                <c:pt idx="44">
                  <c:v>150</c:v>
                </c:pt>
                <c:pt idx="45">
                  <c:v>152.5</c:v>
                </c:pt>
                <c:pt idx="46">
                  <c:v>155</c:v>
                </c:pt>
                <c:pt idx="47">
                  <c:v>157.5</c:v>
                </c:pt>
                <c:pt idx="48">
                  <c:v>160</c:v>
                </c:pt>
                <c:pt idx="49">
                  <c:v>162.5</c:v>
                </c:pt>
                <c:pt idx="50">
                  <c:v>165</c:v>
                </c:pt>
                <c:pt idx="51">
                  <c:v>167.5</c:v>
                </c:pt>
                <c:pt idx="52">
                  <c:v>170</c:v>
                </c:pt>
                <c:pt idx="53">
                  <c:v>172.5</c:v>
                </c:pt>
                <c:pt idx="54">
                  <c:v>175</c:v>
                </c:pt>
                <c:pt idx="55">
                  <c:v>177.5</c:v>
                </c:pt>
                <c:pt idx="56">
                  <c:v>180</c:v>
                </c:pt>
                <c:pt idx="57">
                  <c:v>182.5</c:v>
                </c:pt>
                <c:pt idx="58">
                  <c:v>1000</c:v>
                </c:pt>
              </c:numCache>
            </c:numRef>
          </c:cat>
          <c:val>
            <c:numRef>
              <c:f>Sheet1!$B$13:$BH$13</c:f>
              <c:numCache>
                <c:formatCode>General</c:formatCode>
                <c:ptCount val="59"/>
                <c:pt idx="0">
                  <c:v>0.38696846641417848</c:v>
                </c:pt>
                <c:pt idx="1">
                  <c:v>0.37597391081130599</c:v>
                </c:pt>
                <c:pt idx="2">
                  <c:v>0.36552047897910311</c:v>
                </c:pt>
                <c:pt idx="3">
                  <c:v>0.35554732409925038</c:v>
                </c:pt>
                <c:pt idx="4">
                  <c:v>0.3460027846287021</c:v>
                </c:pt>
                <c:pt idx="5">
                  <c:v>0.33684258414422652</c:v>
                </c:pt>
                <c:pt idx="6">
                  <c:v>0.32802883636923491</c:v>
                </c:pt>
                <c:pt idx="7">
                  <c:v>0.31958166690897277</c:v>
                </c:pt>
                <c:pt idx="8">
                  <c:v>0.3115063097551512</c:v>
                </c:pt>
                <c:pt idx="9">
                  <c:v>0.30377280867195949</c:v>
                </c:pt>
                <c:pt idx="10">
                  <c:v>0.29635452312455629</c:v>
                </c:pt>
                <c:pt idx="11">
                  <c:v>0.28918462869102612</c:v>
                </c:pt>
                <c:pt idx="12">
                  <c:v>0.28221193735559258</c:v>
                </c:pt>
                <c:pt idx="13">
                  <c:v>0.27542030229997072</c:v>
                </c:pt>
                <c:pt idx="14">
                  <c:v>0.2687949005364641</c:v>
                </c:pt>
                <c:pt idx="15">
                  <c:v>0.26228160697317032</c:v>
                </c:pt>
                <c:pt idx="16">
                  <c:v>0.2558377156193099</c:v>
                </c:pt>
                <c:pt idx="17">
                  <c:v>0.24945311723381949</c:v>
                </c:pt>
                <c:pt idx="18">
                  <c:v>0.24311794133648859</c:v>
                </c:pt>
                <c:pt idx="19">
                  <c:v>0.23678665206083591</c:v>
                </c:pt>
                <c:pt idx="20">
                  <c:v>0.23042133689538841</c:v>
                </c:pt>
                <c:pt idx="21">
                  <c:v>0.2240124882435883</c:v>
                </c:pt>
                <c:pt idx="22">
                  <c:v>0.21759390084497199</c:v>
                </c:pt>
                <c:pt idx="23">
                  <c:v>0.21119696187091119</c:v>
                </c:pt>
                <c:pt idx="24">
                  <c:v>0.20498068100305181</c:v>
                </c:pt>
                <c:pt idx="25">
                  <c:v>0.19909903387460301</c:v>
                </c:pt>
                <c:pt idx="26">
                  <c:v>0.19337413720688429</c:v>
                </c:pt>
                <c:pt idx="27">
                  <c:v>0.1876334956732485</c:v>
                </c:pt>
                <c:pt idx="28">
                  <c:v>0.18201434617202031</c:v>
                </c:pt>
                <c:pt idx="29">
                  <c:v>0.1766516269163273</c:v>
                </c:pt>
                <c:pt idx="30">
                  <c:v>0.1715433152848421</c:v>
                </c:pt>
                <c:pt idx="31">
                  <c:v>0.16691811300402731</c:v>
                </c:pt>
                <c:pt idx="32">
                  <c:v>0.1629736697237566</c:v>
                </c:pt>
                <c:pt idx="33">
                  <c:v>0.15971153425795009</c:v>
                </c:pt>
                <c:pt idx="34">
                  <c:v>0.15711209653083771</c:v>
                </c:pt>
                <c:pt idx="35">
                  <c:v>0.15515100186098121</c:v>
                </c:pt>
                <c:pt idx="36">
                  <c:v>0.15367724745630201</c:v>
                </c:pt>
                <c:pt idx="37">
                  <c:v>0.1525465078521866</c:v>
                </c:pt>
                <c:pt idx="38">
                  <c:v>0.15174686501830009</c:v>
                </c:pt>
                <c:pt idx="39">
                  <c:v>0.15121945128191441</c:v>
                </c:pt>
                <c:pt idx="40">
                  <c:v>0.15091342897327231</c:v>
                </c:pt>
                <c:pt idx="41">
                  <c:v>0.15081849558876281</c:v>
                </c:pt>
                <c:pt idx="42">
                  <c:v>0.150924094352438</c:v>
                </c:pt>
                <c:pt idx="43">
                  <c:v>0.15117581034794009</c:v>
                </c:pt>
                <c:pt idx="44">
                  <c:v>0.1515280082793202</c:v>
                </c:pt>
                <c:pt idx="45">
                  <c:v>0.1519749471729894</c:v>
                </c:pt>
                <c:pt idx="46">
                  <c:v>0.15251104242468719</c:v>
                </c:pt>
                <c:pt idx="47">
                  <c:v>0.15310355841103551</c:v>
                </c:pt>
                <c:pt idx="48">
                  <c:v>0.15372531971016379</c:v>
                </c:pt>
                <c:pt idx="49">
                  <c:v>0.15437437437463031</c:v>
                </c:pt>
                <c:pt idx="50">
                  <c:v>0.1550488702850793</c:v>
                </c:pt>
                <c:pt idx="51">
                  <c:v>0.1557363358929586</c:v>
                </c:pt>
                <c:pt idx="52">
                  <c:v>0.15642640064899099</c:v>
                </c:pt>
                <c:pt idx="53">
                  <c:v>0.15711863983753591</c:v>
                </c:pt>
                <c:pt idx="54">
                  <c:v>0.15781265061569241</c:v>
                </c:pt>
                <c:pt idx="55">
                  <c:v>0.15849700679778331</c:v>
                </c:pt>
                <c:pt idx="56">
                  <c:v>0.15916226272285119</c:v>
                </c:pt>
                <c:pt idx="57">
                  <c:v>0.15980919159937509</c:v>
                </c:pt>
                <c:pt idx="58">
                  <c:v>0.187937322933998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E27E-4C0A-99B7-33696A982CB4}"/>
            </c:ext>
          </c:extLst>
        </c:ser>
        <c:ser>
          <c:idx val="12"/>
          <c:order val="12"/>
          <c:tx>
            <c:strRef>
              <c:f>Sheet1!$A$14</c:f>
              <c:strCache>
                <c:ptCount val="1"/>
                <c:pt idx="0">
                  <c:v>2.5</c:v>
                </c:pt>
              </c:strCache>
            </c:strRef>
          </c:tx>
          <c:spPr>
            <a:gradFill rotWithShape="1">
              <a:gsLst>
                <a:gs pos="0">
                  <a:schemeClr val="accent1">
                    <a:lumMod val="80000"/>
                    <a:lumOff val="20000"/>
                    <a:tint val="50000"/>
                    <a:satMod val="300000"/>
                  </a:schemeClr>
                </a:gs>
                <a:gs pos="35000">
                  <a:schemeClr val="accent1">
                    <a:lumMod val="80000"/>
                    <a:lumOff val="20000"/>
                    <a:tint val="37000"/>
                    <a:satMod val="300000"/>
                  </a:schemeClr>
                </a:gs>
                <a:gs pos="100000">
                  <a:schemeClr val="accent1">
                    <a:lumMod val="80000"/>
                    <a:lumOff val="20000"/>
                    <a:tint val="15000"/>
                    <a:satMod val="350000"/>
                  </a:schemeClr>
                </a:gs>
              </a:gsLst>
              <a:lin ang="16200000" scaled="1"/>
            </a:gradFill>
            <a:ln w="9525" cap="flat" cmpd="sng" algn="ctr">
              <a:solidFill>
                <a:schemeClr val="accent1">
                  <a:lumMod val="80000"/>
                  <a:lumOff val="20000"/>
                  <a:shade val="95000"/>
                </a:schemeClr>
              </a:solidFill>
              <a:round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  <a:sp3d contourW="9525">
              <a:contourClr>
                <a:schemeClr val="accent1">
                  <a:lumMod val="80000"/>
                  <a:lumOff val="20000"/>
                  <a:shade val="95000"/>
                </a:schemeClr>
              </a:contourClr>
            </a:sp3d>
          </c:spPr>
          <c:cat>
            <c:numRef>
              <c:f>Sheet1!$B$1:$BH$1</c:f>
              <c:numCache>
                <c:formatCode>General</c:formatCode>
                <c:ptCount val="59"/>
                <c:pt idx="0">
                  <c:v>40</c:v>
                </c:pt>
                <c:pt idx="1">
                  <c:v>42.5</c:v>
                </c:pt>
                <c:pt idx="2">
                  <c:v>45</c:v>
                </c:pt>
                <c:pt idx="3">
                  <c:v>47.5</c:v>
                </c:pt>
                <c:pt idx="4">
                  <c:v>50</c:v>
                </c:pt>
                <c:pt idx="5">
                  <c:v>52.5</c:v>
                </c:pt>
                <c:pt idx="6">
                  <c:v>55</c:v>
                </c:pt>
                <c:pt idx="7">
                  <c:v>57.5</c:v>
                </c:pt>
                <c:pt idx="8">
                  <c:v>60</c:v>
                </c:pt>
                <c:pt idx="9">
                  <c:v>62.5</c:v>
                </c:pt>
                <c:pt idx="10">
                  <c:v>65</c:v>
                </c:pt>
                <c:pt idx="11">
                  <c:v>67.5</c:v>
                </c:pt>
                <c:pt idx="12">
                  <c:v>70</c:v>
                </c:pt>
                <c:pt idx="13">
                  <c:v>72.5</c:v>
                </c:pt>
                <c:pt idx="14">
                  <c:v>75</c:v>
                </c:pt>
                <c:pt idx="15">
                  <c:v>77.5</c:v>
                </c:pt>
                <c:pt idx="16">
                  <c:v>80</c:v>
                </c:pt>
                <c:pt idx="17">
                  <c:v>82.5</c:v>
                </c:pt>
                <c:pt idx="18">
                  <c:v>85</c:v>
                </c:pt>
                <c:pt idx="19">
                  <c:v>87.5</c:v>
                </c:pt>
                <c:pt idx="20">
                  <c:v>90</c:v>
                </c:pt>
                <c:pt idx="21">
                  <c:v>92.5</c:v>
                </c:pt>
                <c:pt idx="22">
                  <c:v>95</c:v>
                </c:pt>
                <c:pt idx="23">
                  <c:v>97.5</c:v>
                </c:pt>
                <c:pt idx="24">
                  <c:v>100</c:v>
                </c:pt>
                <c:pt idx="25">
                  <c:v>102.5</c:v>
                </c:pt>
                <c:pt idx="26">
                  <c:v>105</c:v>
                </c:pt>
                <c:pt idx="27">
                  <c:v>107.5</c:v>
                </c:pt>
                <c:pt idx="28">
                  <c:v>110</c:v>
                </c:pt>
                <c:pt idx="29">
                  <c:v>112.5</c:v>
                </c:pt>
                <c:pt idx="30">
                  <c:v>115</c:v>
                </c:pt>
                <c:pt idx="31">
                  <c:v>117.5</c:v>
                </c:pt>
                <c:pt idx="32">
                  <c:v>120</c:v>
                </c:pt>
                <c:pt idx="33">
                  <c:v>122.5</c:v>
                </c:pt>
                <c:pt idx="34">
                  <c:v>125</c:v>
                </c:pt>
                <c:pt idx="35">
                  <c:v>127.5</c:v>
                </c:pt>
                <c:pt idx="36">
                  <c:v>130</c:v>
                </c:pt>
                <c:pt idx="37">
                  <c:v>132.5</c:v>
                </c:pt>
                <c:pt idx="38">
                  <c:v>135</c:v>
                </c:pt>
                <c:pt idx="39">
                  <c:v>137.5</c:v>
                </c:pt>
                <c:pt idx="40">
                  <c:v>140</c:v>
                </c:pt>
                <c:pt idx="41">
                  <c:v>142.5</c:v>
                </c:pt>
                <c:pt idx="42">
                  <c:v>145</c:v>
                </c:pt>
                <c:pt idx="43">
                  <c:v>147.5</c:v>
                </c:pt>
                <c:pt idx="44">
                  <c:v>150</c:v>
                </c:pt>
                <c:pt idx="45">
                  <c:v>152.5</c:v>
                </c:pt>
                <c:pt idx="46">
                  <c:v>155</c:v>
                </c:pt>
                <c:pt idx="47">
                  <c:v>157.5</c:v>
                </c:pt>
                <c:pt idx="48">
                  <c:v>160</c:v>
                </c:pt>
                <c:pt idx="49">
                  <c:v>162.5</c:v>
                </c:pt>
                <c:pt idx="50">
                  <c:v>165</c:v>
                </c:pt>
                <c:pt idx="51">
                  <c:v>167.5</c:v>
                </c:pt>
                <c:pt idx="52">
                  <c:v>170</c:v>
                </c:pt>
                <c:pt idx="53">
                  <c:v>172.5</c:v>
                </c:pt>
                <c:pt idx="54">
                  <c:v>175</c:v>
                </c:pt>
                <c:pt idx="55">
                  <c:v>177.5</c:v>
                </c:pt>
                <c:pt idx="56">
                  <c:v>180</c:v>
                </c:pt>
                <c:pt idx="57">
                  <c:v>182.5</c:v>
                </c:pt>
                <c:pt idx="58">
                  <c:v>1000</c:v>
                </c:pt>
              </c:numCache>
            </c:numRef>
          </c:cat>
          <c:val>
            <c:numRef>
              <c:f>Sheet1!$B$14:$BH$14</c:f>
              <c:numCache>
                <c:formatCode>General</c:formatCode>
                <c:ptCount val="59"/>
                <c:pt idx="0">
                  <c:v>0.37556659959251149</c:v>
                </c:pt>
                <c:pt idx="1">
                  <c:v>0.36525359135984259</c:v>
                </c:pt>
                <c:pt idx="2">
                  <c:v>0.3554528782512702</c:v>
                </c:pt>
                <c:pt idx="3">
                  <c:v>0.34610722423958451</c:v>
                </c:pt>
                <c:pt idx="4">
                  <c:v>0.33716806055191978</c:v>
                </c:pt>
                <c:pt idx="5">
                  <c:v>0.3285937897736616</c:v>
                </c:pt>
                <c:pt idx="6">
                  <c:v>0.32034878125384869</c:v>
                </c:pt>
                <c:pt idx="7">
                  <c:v>0.31244277890657868</c:v>
                </c:pt>
                <c:pt idx="8">
                  <c:v>0.30487466498600302</c:v>
                </c:pt>
                <c:pt idx="9">
                  <c:v>0.29761688581393991</c:v>
                </c:pt>
                <c:pt idx="10">
                  <c:v>0.29064497772498088</c:v>
                </c:pt>
                <c:pt idx="11">
                  <c:v>0.28390795000703872</c:v>
                </c:pt>
                <c:pt idx="12">
                  <c:v>0.27736613496855961</c:v>
                </c:pt>
                <c:pt idx="13">
                  <c:v>0.27100418760126888</c:v>
                </c:pt>
                <c:pt idx="14">
                  <c:v>0.26480804862487578</c:v>
                </c:pt>
                <c:pt idx="15">
                  <c:v>0.25872163797792519</c:v>
                </c:pt>
                <c:pt idx="16">
                  <c:v>0.25270119120858348</c:v>
                </c:pt>
                <c:pt idx="17">
                  <c:v>0.2467377539722051</c:v>
                </c:pt>
                <c:pt idx="18">
                  <c:v>0.2408226608412587</c:v>
                </c:pt>
                <c:pt idx="19">
                  <c:v>0.23492612569744301</c:v>
                </c:pt>
                <c:pt idx="20">
                  <c:v>0.22902313830141061</c:v>
                </c:pt>
                <c:pt idx="21">
                  <c:v>0.22310576853718889</c:v>
                </c:pt>
                <c:pt idx="22">
                  <c:v>0.2171979710228398</c:v>
                </c:pt>
                <c:pt idx="23">
                  <c:v>0.21132182900778551</c:v>
                </c:pt>
                <c:pt idx="24">
                  <c:v>0.20558809577898091</c:v>
                </c:pt>
                <c:pt idx="25">
                  <c:v>0.20010295267527761</c:v>
                </c:pt>
                <c:pt idx="26">
                  <c:v>0.19474796696695079</c:v>
                </c:pt>
                <c:pt idx="27">
                  <c:v>0.18940924904915649</c:v>
                </c:pt>
                <c:pt idx="28">
                  <c:v>0.18418160860332111</c:v>
                </c:pt>
                <c:pt idx="29">
                  <c:v>0.1791574138820165</c:v>
                </c:pt>
                <c:pt idx="30">
                  <c:v>0.17433326167580071</c:v>
                </c:pt>
                <c:pt idx="31">
                  <c:v>0.16987754984003431</c:v>
                </c:pt>
                <c:pt idx="32">
                  <c:v>0.16593498771203211</c:v>
                </c:pt>
                <c:pt idx="33">
                  <c:v>0.16250517321680849</c:v>
                </c:pt>
                <c:pt idx="34">
                  <c:v>0.15965008600873601</c:v>
                </c:pt>
                <c:pt idx="35">
                  <c:v>0.15742518203025321</c:v>
                </c:pt>
                <c:pt idx="36">
                  <c:v>0.15565963924745929</c:v>
                </c:pt>
                <c:pt idx="37">
                  <c:v>0.15419039860176381</c:v>
                </c:pt>
                <c:pt idx="38">
                  <c:v>0.15300881680337119</c:v>
                </c:pt>
                <c:pt idx="39">
                  <c:v>0.15210491133817089</c:v>
                </c:pt>
                <c:pt idx="40">
                  <c:v>0.15146806515488001</c:v>
                </c:pt>
                <c:pt idx="41">
                  <c:v>0.15108749532549781</c:v>
                </c:pt>
                <c:pt idx="42">
                  <c:v>0.15095179995198069</c:v>
                </c:pt>
                <c:pt idx="43">
                  <c:v>0.15099422024666559</c:v>
                </c:pt>
                <c:pt idx="44">
                  <c:v>0.15115850131669639</c:v>
                </c:pt>
                <c:pt idx="45">
                  <c:v>0.15143822157415271</c:v>
                </c:pt>
                <c:pt idx="46">
                  <c:v>0.15182706335124571</c:v>
                </c:pt>
                <c:pt idx="47">
                  <c:v>0.15229110845547389</c:v>
                </c:pt>
                <c:pt idx="48">
                  <c:v>0.15280197338866769</c:v>
                </c:pt>
                <c:pt idx="49">
                  <c:v>0.15335684966863911</c:v>
                </c:pt>
                <c:pt idx="50">
                  <c:v>0.15395304555871911</c:v>
                </c:pt>
                <c:pt idx="51">
                  <c:v>0.15456900166663881</c:v>
                </c:pt>
                <c:pt idx="52">
                  <c:v>0.15518680553420719</c:v>
                </c:pt>
                <c:pt idx="53">
                  <c:v>0.155806117435351</c:v>
                </c:pt>
                <c:pt idx="54">
                  <c:v>0.15642661448430689</c:v>
                </c:pt>
                <c:pt idx="55">
                  <c:v>0.15703830610481739</c:v>
                </c:pt>
                <c:pt idx="56">
                  <c:v>0.15763292066968901</c:v>
                </c:pt>
                <c:pt idx="57">
                  <c:v>0.15821113949002161</c:v>
                </c:pt>
                <c:pt idx="58">
                  <c:v>0.1818985420954173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E27E-4C0A-99B7-33696A982CB4}"/>
            </c:ext>
          </c:extLst>
        </c:ser>
        <c:ser>
          <c:idx val="13"/>
          <c:order val="13"/>
          <c:tx>
            <c:strRef>
              <c:f>Sheet1!$A$15</c:f>
              <c:strCache>
                <c:ptCount val="1"/>
                <c:pt idx="0">
                  <c:v>2.75</c:v>
                </c:pt>
              </c:strCache>
            </c:strRef>
          </c:tx>
          <c:spPr>
            <a:gradFill rotWithShape="1">
              <a:gsLst>
                <a:gs pos="0">
                  <a:schemeClr val="accent2">
                    <a:lumMod val="80000"/>
                    <a:lumOff val="20000"/>
                    <a:tint val="50000"/>
                    <a:satMod val="300000"/>
                  </a:schemeClr>
                </a:gs>
                <a:gs pos="35000">
                  <a:schemeClr val="accent2">
                    <a:lumMod val="80000"/>
                    <a:lumOff val="20000"/>
                    <a:tint val="37000"/>
                    <a:satMod val="300000"/>
                  </a:schemeClr>
                </a:gs>
                <a:gs pos="100000">
                  <a:schemeClr val="accent2">
                    <a:lumMod val="80000"/>
                    <a:lumOff val="20000"/>
                    <a:tint val="15000"/>
                    <a:satMod val="350000"/>
                  </a:schemeClr>
                </a:gs>
              </a:gsLst>
              <a:lin ang="16200000" scaled="1"/>
            </a:gradFill>
            <a:ln w="9525" cap="flat" cmpd="sng" algn="ctr">
              <a:solidFill>
                <a:schemeClr val="accent2">
                  <a:lumMod val="80000"/>
                  <a:lumOff val="20000"/>
                  <a:shade val="95000"/>
                </a:schemeClr>
              </a:solidFill>
              <a:round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  <a:sp3d contourW="9525">
              <a:contourClr>
                <a:schemeClr val="accent2">
                  <a:lumMod val="80000"/>
                  <a:lumOff val="20000"/>
                  <a:shade val="95000"/>
                </a:schemeClr>
              </a:contourClr>
            </a:sp3d>
          </c:spPr>
          <c:cat>
            <c:numRef>
              <c:f>Sheet1!$B$1:$BH$1</c:f>
              <c:numCache>
                <c:formatCode>General</c:formatCode>
                <c:ptCount val="59"/>
                <c:pt idx="0">
                  <c:v>40</c:v>
                </c:pt>
                <c:pt idx="1">
                  <c:v>42.5</c:v>
                </c:pt>
                <c:pt idx="2">
                  <c:v>45</c:v>
                </c:pt>
                <c:pt idx="3">
                  <c:v>47.5</c:v>
                </c:pt>
                <c:pt idx="4">
                  <c:v>50</c:v>
                </c:pt>
                <c:pt idx="5">
                  <c:v>52.5</c:v>
                </c:pt>
                <c:pt idx="6">
                  <c:v>55</c:v>
                </c:pt>
                <c:pt idx="7">
                  <c:v>57.5</c:v>
                </c:pt>
                <c:pt idx="8">
                  <c:v>60</c:v>
                </c:pt>
                <c:pt idx="9">
                  <c:v>62.5</c:v>
                </c:pt>
                <c:pt idx="10">
                  <c:v>65</c:v>
                </c:pt>
                <c:pt idx="11">
                  <c:v>67.5</c:v>
                </c:pt>
                <c:pt idx="12">
                  <c:v>70</c:v>
                </c:pt>
                <c:pt idx="13">
                  <c:v>72.5</c:v>
                </c:pt>
                <c:pt idx="14">
                  <c:v>75</c:v>
                </c:pt>
                <c:pt idx="15">
                  <c:v>77.5</c:v>
                </c:pt>
                <c:pt idx="16">
                  <c:v>80</c:v>
                </c:pt>
                <c:pt idx="17">
                  <c:v>82.5</c:v>
                </c:pt>
                <c:pt idx="18">
                  <c:v>85</c:v>
                </c:pt>
                <c:pt idx="19">
                  <c:v>87.5</c:v>
                </c:pt>
                <c:pt idx="20">
                  <c:v>90</c:v>
                </c:pt>
                <c:pt idx="21">
                  <c:v>92.5</c:v>
                </c:pt>
                <c:pt idx="22">
                  <c:v>95</c:v>
                </c:pt>
                <c:pt idx="23">
                  <c:v>97.5</c:v>
                </c:pt>
                <c:pt idx="24">
                  <c:v>100</c:v>
                </c:pt>
                <c:pt idx="25">
                  <c:v>102.5</c:v>
                </c:pt>
                <c:pt idx="26">
                  <c:v>105</c:v>
                </c:pt>
                <c:pt idx="27">
                  <c:v>107.5</c:v>
                </c:pt>
                <c:pt idx="28">
                  <c:v>110</c:v>
                </c:pt>
                <c:pt idx="29">
                  <c:v>112.5</c:v>
                </c:pt>
                <c:pt idx="30">
                  <c:v>115</c:v>
                </c:pt>
                <c:pt idx="31">
                  <c:v>117.5</c:v>
                </c:pt>
                <c:pt idx="32">
                  <c:v>120</c:v>
                </c:pt>
                <c:pt idx="33">
                  <c:v>122.5</c:v>
                </c:pt>
                <c:pt idx="34">
                  <c:v>125</c:v>
                </c:pt>
                <c:pt idx="35">
                  <c:v>127.5</c:v>
                </c:pt>
                <c:pt idx="36">
                  <c:v>130</c:v>
                </c:pt>
                <c:pt idx="37">
                  <c:v>132.5</c:v>
                </c:pt>
                <c:pt idx="38">
                  <c:v>135</c:v>
                </c:pt>
                <c:pt idx="39">
                  <c:v>137.5</c:v>
                </c:pt>
                <c:pt idx="40">
                  <c:v>140</c:v>
                </c:pt>
                <c:pt idx="41">
                  <c:v>142.5</c:v>
                </c:pt>
                <c:pt idx="42">
                  <c:v>145</c:v>
                </c:pt>
                <c:pt idx="43">
                  <c:v>147.5</c:v>
                </c:pt>
                <c:pt idx="44">
                  <c:v>150</c:v>
                </c:pt>
                <c:pt idx="45">
                  <c:v>152.5</c:v>
                </c:pt>
                <c:pt idx="46">
                  <c:v>155</c:v>
                </c:pt>
                <c:pt idx="47">
                  <c:v>157.5</c:v>
                </c:pt>
                <c:pt idx="48">
                  <c:v>160</c:v>
                </c:pt>
                <c:pt idx="49">
                  <c:v>162.5</c:v>
                </c:pt>
                <c:pt idx="50">
                  <c:v>165</c:v>
                </c:pt>
                <c:pt idx="51">
                  <c:v>167.5</c:v>
                </c:pt>
                <c:pt idx="52">
                  <c:v>170</c:v>
                </c:pt>
                <c:pt idx="53">
                  <c:v>172.5</c:v>
                </c:pt>
                <c:pt idx="54">
                  <c:v>175</c:v>
                </c:pt>
                <c:pt idx="55">
                  <c:v>177.5</c:v>
                </c:pt>
                <c:pt idx="56">
                  <c:v>180</c:v>
                </c:pt>
                <c:pt idx="57">
                  <c:v>182.5</c:v>
                </c:pt>
                <c:pt idx="58">
                  <c:v>1000</c:v>
                </c:pt>
              </c:numCache>
            </c:numRef>
          </c:cat>
          <c:val>
            <c:numRef>
              <c:f>Sheet1!$B$15:$BH$15</c:f>
              <c:numCache>
                <c:formatCode>General</c:formatCode>
                <c:ptCount val="59"/>
                <c:pt idx="0">
                  <c:v>0.36597367871066239</c:v>
                </c:pt>
                <c:pt idx="1">
                  <c:v>0.35624254831486107</c:v>
                </c:pt>
                <c:pt idx="2">
                  <c:v>0.34699855752440939</c:v>
                </c:pt>
                <c:pt idx="3">
                  <c:v>0.33818756446539122</c:v>
                </c:pt>
                <c:pt idx="4">
                  <c:v>0.32976364516388762</c:v>
                </c:pt>
                <c:pt idx="5">
                  <c:v>0.32168748741027631</c:v>
                </c:pt>
                <c:pt idx="6">
                  <c:v>0.31392537845347551</c:v>
                </c:pt>
                <c:pt idx="7">
                  <c:v>0.30647821002159431</c:v>
                </c:pt>
                <c:pt idx="8">
                  <c:v>0.29933951503132872</c:v>
                </c:pt>
                <c:pt idx="9">
                  <c:v>0.29248386759485567</c:v>
                </c:pt>
                <c:pt idx="10">
                  <c:v>0.28588873092160833</c:v>
                </c:pt>
                <c:pt idx="11">
                  <c:v>0.27951658534358009</c:v>
                </c:pt>
                <c:pt idx="12">
                  <c:v>0.27333749672486513</c:v>
                </c:pt>
                <c:pt idx="13">
                  <c:v>0.26733674843085581</c:v>
                </c:pt>
                <c:pt idx="14">
                  <c:v>0.26150087177685782</c:v>
                </c:pt>
                <c:pt idx="15">
                  <c:v>0.25577208372650029</c:v>
                </c:pt>
                <c:pt idx="16">
                  <c:v>0.25010568859892729</c:v>
                </c:pt>
                <c:pt idx="17">
                  <c:v>0.24449366331739211</c:v>
                </c:pt>
                <c:pt idx="18">
                  <c:v>0.2389283039848884</c:v>
                </c:pt>
                <c:pt idx="19">
                  <c:v>0.23339284544549679</c:v>
                </c:pt>
                <c:pt idx="20">
                  <c:v>0.2278727765220637</c:v>
                </c:pt>
                <c:pt idx="21">
                  <c:v>0.22236115690258981</c:v>
                </c:pt>
                <c:pt idx="22">
                  <c:v>0.21687349080729981</c:v>
                </c:pt>
                <c:pt idx="23">
                  <c:v>0.2114239381760101</c:v>
                </c:pt>
                <c:pt idx="24">
                  <c:v>0.206083739877369</c:v>
                </c:pt>
                <c:pt idx="25">
                  <c:v>0.20092060978023699</c:v>
                </c:pt>
                <c:pt idx="26">
                  <c:v>0.19586484214901609</c:v>
                </c:pt>
                <c:pt idx="27">
                  <c:v>0.19084984917236081</c:v>
                </c:pt>
                <c:pt idx="28">
                  <c:v>0.18593603471044631</c:v>
                </c:pt>
                <c:pt idx="29">
                  <c:v>0.18118182814464079</c:v>
                </c:pt>
                <c:pt idx="30">
                  <c:v>0.17658316128932031</c:v>
                </c:pt>
                <c:pt idx="31">
                  <c:v>0.17226109431315961</c:v>
                </c:pt>
                <c:pt idx="32">
                  <c:v>0.16831913674240481</c:v>
                </c:pt>
                <c:pt idx="33">
                  <c:v>0.16475564795650441</c:v>
                </c:pt>
                <c:pt idx="34">
                  <c:v>0.16169699535216489</c:v>
                </c:pt>
                <c:pt idx="35">
                  <c:v>0.15926172237117661</c:v>
                </c:pt>
                <c:pt idx="36">
                  <c:v>0.15726301025562661</c:v>
                </c:pt>
                <c:pt idx="37">
                  <c:v>0.15552247627633101</c:v>
                </c:pt>
                <c:pt idx="38">
                  <c:v>0.1540336329877379</c:v>
                </c:pt>
                <c:pt idx="39">
                  <c:v>0.152825562786117</c:v>
                </c:pt>
                <c:pt idx="40">
                  <c:v>0.15192035228878109</c:v>
                </c:pt>
                <c:pt idx="41">
                  <c:v>0.1513072303054368</c:v>
                </c:pt>
                <c:pt idx="42">
                  <c:v>0.1509744643880738</c:v>
                </c:pt>
                <c:pt idx="43">
                  <c:v>0.15084548393178671</c:v>
                </c:pt>
                <c:pt idx="44">
                  <c:v>0.15085550424414701</c:v>
                </c:pt>
                <c:pt idx="45">
                  <c:v>0.15099766342465129</c:v>
                </c:pt>
                <c:pt idx="46">
                  <c:v>0.15126514372394431</c:v>
                </c:pt>
                <c:pt idx="47">
                  <c:v>0.15162313864820059</c:v>
                </c:pt>
                <c:pt idx="48">
                  <c:v>0.1520423374498916</c:v>
                </c:pt>
                <c:pt idx="49">
                  <c:v>0.15251928034119749</c:v>
                </c:pt>
                <c:pt idx="50">
                  <c:v>0.15305062595161309</c:v>
                </c:pt>
                <c:pt idx="51">
                  <c:v>0.1536073118134644</c:v>
                </c:pt>
                <c:pt idx="52">
                  <c:v>0.15416517790351561</c:v>
                </c:pt>
                <c:pt idx="53">
                  <c:v>0.1547239541147665</c:v>
                </c:pt>
                <c:pt idx="54">
                  <c:v>0.15528338321547469</c:v>
                </c:pt>
                <c:pt idx="55">
                  <c:v>0.15583466798638559</c:v>
                </c:pt>
                <c:pt idx="56">
                  <c:v>0.15637051590885259</c:v>
                </c:pt>
                <c:pt idx="57">
                  <c:v>0.1568915356943392</c:v>
                </c:pt>
                <c:pt idx="58">
                  <c:v>0.1768043747310424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D-E27E-4C0A-99B7-33696A982CB4}"/>
            </c:ext>
          </c:extLst>
        </c:ser>
        <c:ser>
          <c:idx val="14"/>
          <c:order val="14"/>
          <c:tx>
            <c:strRef>
              <c:f>Sheet1!$A$16</c:f>
              <c:strCache>
                <c:ptCount val="1"/>
                <c:pt idx="0">
                  <c:v>3.002739726</c:v>
                </c:pt>
              </c:strCache>
            </c:strRef>
          </c:tx>
          <c:spPr>
            <a:gradFill rotWithShape="1">
              <a:gsLst>
                <a:gs pos="0">
                  <a:schemeClr val="accent3">
                    <a:lumMod val="80000"/>
                    <a:lumOff val="20000"/>
                    <a:tint val="50000"/>
                    <a:satMod val="300000"/>
                  </a:schemeClr>
                </a:gs>
                <a:gs pos="35000">
                  <a:schemeClr val="accent3">
                    <a:lumMod val="80000"/>
                    <a:lumOff val="20000"/>
                    <a:tint val="37000"/>
                    <a:satMod val="300000"/>
                  </a:schemeClr>
                </a:gs>
                <a:gs pos="100000">
                  <a:schemeClr val="accent3">
                    <a:lumMod val="80000"/>
                    <a:lumOff val="20000"/>
                    <a:tint val="15000"/>
                    <a:satMod val="350000"/>
                  </a:schemeClr>
                </a:gs>
              </a:gsLst>
              <a:lin ang="16200000" scaled="1"/>
            </a:gradFill>
            <a:ln w="9525" cap="flat" cmpd="sng" algn="ctr">
              <a:solidFill>
                <a:schemeClr val="accent3">
                  <a:lumMod val="80000"/>
                  <a:lumOff val="20000"/>
                  <a:shade val="95000"/>
                </a:schemeClr>
              </a:solidFill>
              <a:round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  <a:sp3d contourW="9525">
              <a:contourClr>
                <a:schemeClr val="accent3">
                  <a:lumMod val="80000"/>
                  <a:lumOff val="20000"/>
                  <a:shade val="95000"/>
                </a:schemeClr>
              </a:contourClr>
            </a:sp3d>
          </c:spPr>
          <c:cat>
            <c:numRef>
              <c:f>Sheet1!$B$1:$BH$1</c:f>
              <c:numCache>
                <c:formatCode>General</c:formatCode>
                <c:ptCount val="59"/>
                <c:pt idx="0">
                  <c:v>40</c:v>
                </c:pt>
                <c:pt idx="1">
                  <c:v>42.5</c:v>
                </c:pt>
                <c:pt idx="2">
                  <c:v>45</c:v>
                </c:pt>
                <c:pt idx="3">
                  <c:v>47.5</c:v>
                </c:pt>
                <c:pt idx="4">
                  <c:v>50</c:v>
                </c:pt>
                <c:pt idx="5">
                  <c:v>52.5</c:v>
                </c:pt>
                <c:pt idx="6">
                  <c:v>55</c:v>
                </c:pt>
                <c:pt idx="7">
                  <c:v>57.5</c:v>
                </c:pt>
                <c:pt idx="8">
                  <c:v>60</c:v>
                </c:pt>
                <c:pt idx="9">
                  <c:v>62.5</c:v>
                </c:pt>
                <c:pt idx="10">
                  <c:v>65</c:v>
                </c:pt>
                <c:pt idx="11">
                  <c:v>67.5</c:v>
                </c:pt>
                <c:pt idx="12">
                  <c:v>70</c:v>
                </c:pt>
                <c:pt idx="13">
                  <c:v>72.5</c:v>
                </c:pt>
                <c:pt idx="14">
                  <c:v>75</c:v>
                </c:pt>
                <c:pt idx="15">
                  <c:v>77.5</c:v>
                </c:pt>
                <c:pt idx="16">
                  <c:v>80</c:v>
                </c:pt>
                <c:pt idx="17">
                  <c:v>82.5</c:v>
                </c:pt>
                <c:pt idx="18">
                  <c:v>85</c:v>
                </c:pt>
                <c:pt idx="19">
                  <c:v>87.5</c:v>
                </c:pt>
                <c:pt idx="20">
                  <c:v>90</c:v>
                </c:pt>
                <c:pt idx="21">
                  <c:v>92.5</c:v>
                </c:pt>
                <c:pt idx="22">
                  <c:v>95</c:v>
                </c:pt>
                <c:pt idx="23">
                  <c:v>97.5</c:v>
                </c:pt>
                <c:pt idx="24">
                  <c:v>100</c:v>
                </c:pt>
                <c:pt idx="25">
                  <c:v>102.5</c:v>
                </c:pt>
                <c:pt idx="26">
                  <c:v>105</c:v>
                </c:pt>
                <c:pt idx="27">
                  <c:v>107.5</c:v>
                </c:pt>
                <c:pt idx="28">
                  <c:v>110</c:v>
                </c:pt>
                <c:pt idx="29">
                  <c:v>112.5</c:v>
                </c:pt>
                <c:pt idx="30">
                  <c:v>115</c:v>
                </c:pt>
                <c:pt idx="31">
                  <c:v>117.5</c:v>
                </c:pt>
                <c:pt idx="32">
                  <c:v>120</c:v>
                </c:pt>
                <c:pt idx="33">
                  <c:v>122.5</c:v>
                </c:pt>
                <c:pt idx="34">
                  <c:v>125</c:v>
                </c:pt>
                <c:pt idx="35">
                  <c:v>127.5</c:v>
                </c:pt>
                <c:pt idx="36">
                  <c:v>130</c:v>
                </c:pt>
                <c:pt idx="37">
                  <c:v>132.5</c:v>
                </c:pt>
                <c:pt idx="38">
                  <c:v>135</c:v>
                </c:pt>
                <c:pt idx="39">
                  <c:v>137.5</c:v>
                </c:pt>
                <c:pt idx="40">
                  <c:v>140</c:v>
                </c:pt>
                <c:pt idx="41">
                  <c:v>142.5</c:v>
                </c:pt>
                <c:pt idx="42">
                  <c:v>145</c:v>
                </c:pt>
                <c:pt idx="43">
                  <c:v>147.5</c:v>
                </c:pt>
                <c:pt idx="44">
                  <c:v>150</c:v>
                </c:pt>
                <c:pt idx="45">
                  <c:v>152.5</c:v>
                </c:pt>
                <c:pt idx="46">
                  <c:v>155</c:v>
                </c:pt>
                <c:pt idx="47">
                  <c:v>157.5</c:v>
                </c:pt>
                <c:pt idx="48">
                  <c:v>160</c:v>
                </c:pt>
                <c:pt idx="49">
                  <c:v>162.5</c:v>
                </c:pt>
                <c:pt idx="50">
                  <c:v>165</c:v>
                </c:pt>
                <c:pt idx="51">
                  <c:v>167.5</c:v>
                </c:pt>
                <c:pt idx="52">
                  <c:v>170</c:v>
                </c:pt>
                <c:pt idx="53">
                  <c:v>172.5</c:v>
                </c:pt>
                <c:pt idx="54">
                  <c:v>175</c:v>
                </c:pt>
                <c:pt idx="55">
                  <c:v>177.5</c:v>
                </c:pt>
                <c:pt idx="56">
                  <c:v>180</c:v>
                </c:pt>
                <c:pt idx="57">
                  <c:v>182.5</c:v>
                </c:pt>
                <c:pt idx="58">
                  <c:v>1000</c:v>
                </c:pt>
              </c:numCache>
            </c:numRef>
          </c:cat>
          <c:val>
            <c:numRef>
              <c:f>Sheet1!$B$16:$BH$16</c:f>
              <c:numCache>
                <c:formatCode>General</c:formatCode>
                <c:ptCount val="59"/>
                <c:pt idx="0">
                  <c:v>0.35770000000083091</c:v>
                </c:pt>
                <c:pt idx="1">
                  <c:v>0.34847742573803858</c:v>
                </c:pt>
                <c:pt idx="2">
                  <c:v>0.33971954699956458</c:v>
                </c:pt>
                <c:pt idx="3">
                  <c:v>0.33137493995071421</c:v>
                </c:pt>
                <c:pt idx="4">
                  <c:v>0.32340000000063801</c:v>
                </c:pt>
                <c:pt idx="5">
                  <c:v>0.3157574148625566</c:v>
                </c:pt>
                <c:pt idx="6">
                  <c:v>0.30841514607454579</c:v>
                </c:pt>
                <c:pt idx="7">
                  <c:v>0.30136636658538618</c:v>
                </c:pt>
                <c:pt idx="8">
                  <c:v>0.29460000000047432</c:v>
                </c:pt>
                <c:pt idx="9">
                  <c:v>0.2880925443315373</c:v>
                </c:pt>
                <c:pt idx="10">
                  <c:v>0.28182320360612462</c:v>
                </c:pt>
                <c:pt idx="11">
                  <c:v>0.27576619151379889</c:v>
                </c:pt>
                <c:pt idx="12">
                  <c:v>0.26990000000034342</c:v>
                </c:pt>
                <c:pt idx="13">
                  <c:v>0.26421042191146638</c:v>
                </c:pt>
                <c:pt idx="14">
                  <c:v>0.25868446184427368</c:v>
                </c:pt>
                <c:pt idx="15">
                  <c:v>0.25326282918620058</c:v>
                </c:pt>
                <c:pt idx="16">
                  <c:v>0.24790000000022</c:v>
                </c:pt>
                <c:pt idx="17">
                  <c:v>0.24258872936741921</c:v>
                </c:pt>
                <c:pt idx="18">
                  <c:v>0.2373221095907857</c:v>
                </c:pt>
                <c:pt idx="19">
                  <c:v>0.23209443711407129</c:v>
                </c:pt>
                <c:pt idx="20">
                  <c:v>0.2269000000000968</c:v>
                </c:pt>
                <c:pt idx="21">
                  <c:v>0.22173248138053339</c:v>
                </c:pt>
                <c:pt idx="22">
                  <c:v>0.21660000000002719</c:v>
                </c:pt>
                <c:pt idx="23">
                  <c:v>0.21150984495777281</c:v>
                </c:pt>
                <c:pt idx="24">
                  <c:v>0.20649999999995869</c:v>
                </c:pt>
                <c:pt idx="25">
                  <c:v>0.20160625910260371</c:v>
                </c:pt>
                <c:pt idx="26">
                  <c:v>0.19679999999990741</c:v>
                </c:pt>
                <c:pt idx="27">
                  <c:v>0.19205402283475201</c:v>
                </c:pt>
                <c:pt idx="28">
                  <c:v>0.18739999999985521</c:v>
                </c:pt>
                <c:pt idx="29">
                  <c:v>0.18286840237104779</c:v>
                </c:pt>
                <c:pt idx="30">
                  <c:v>0.17845491080272891</c:v>
                </c:pt>
                <c:pt idx="31">
                  <c:v>0.1742420466874727</c:v>
                </c:pt>
                <c:pt idx="32">
                  <c:v>0.1702999999998045</c:v>
                </c:pt>
                <c:pt idx="33">
                  <c:v>0.16662630907948181</c:v>
                </c:pt>
                <c:pt idx="34">
                  <c:v>0.16339999999983179</c:v>
                </c:pt>
                <c:pt idx="35">
                  <c:v>0.1607912752603271</c:v>
                </c:pt>
                <c:pt idx="36">
                  <c:v>0.15859999999986779</c:v>
                </c:pt>
                <c:pt idx="37">
                  <c:v>0.15663490200598801</c:v>
                </c:pt>
                <c:pt idx="38">
                  <c:v>0.15489096241716541</c:v>
                </c:pt>
                <c:pt idx="39">
                  <c:v>0.1534295095004245</c:v>
                </c:pt>
                <c:pt idx="40">
                  <c:v>0.15229999999996241</c:v>
                </c:pt>
                <c:pt idx="41">
                  <c:v>0.15149193356484431</c:v>
                </c:pt>
                <c:pt idx="42">
                  <c:v>0.15099353834096829</c:v>
                </c:pt>
                <c:pt idx="43">
                  <c:v>0.15072017924540271</c:v>
                </c:pt>
                <c:pt idx="44">
                  <c:v>0.15060000000002541</c:v>
                </c:pt>
                <c:pt idx="45">
                  <c:v>0.150625848183191</c:v>
                </c:pt>
                <c:pt idx="46">
                  <c:v>0.15079055462392749</c:v>
                </c:pt>
                <c:pt idx="47">
                  <c:v>0.15105862107920401</c:v>
                </c:pt>
                <c:pt idx="48">
                  <c:v>0.1514000000000639</c:v>
                </c:pt>
                <c:pt idx="49">
                  <c:v>0.1518107190762952</c:v>
                </c:pt>
                <c:pt idx="50">
                  <c:v>0.15228691730830829</c:v>
                </c:pt>
                <c:pt idx="51">
                  <c:v>0.1527931688609275</c:v>
                </c:pt>
                <c:pt idx="52">
                  <c:v>0.15330000000008609</c:v>
                </c:pt>
                <c:pt idx="53">
                  <c:v>0.15380719914888899</c:v>
                </c:pt>
                <c:pt idx="54">
                  <c:v>0.1543145643790437</c:v>
                </c:pt>
                <c:pt idx="55">
                  <c:v>0.1548143163478963</c:v>
                </c:pt>
                <c:pt idx="56">
                  <c:v>0.1553000000001066</c:v>
                </c:pt>
                <c:pt idx="57">
                  <c:v>0.15577216481782491</c:v>
                </c:pt>
                <c:pt idx="58">
                  <c:v>0.1724000000004428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E27E-4C0A-99B7-33696A982CB4}"/>
            </c:ext>
          </c:extLst>
        </c:ser>
        <c:ser>
          <c:idx val="15"/>
          <c:order val="15"/>
          <c:tx>
            <c:strRef>
              <c:f>Sheet1!$A$17</c:f>
              <c:strCache>
                <c:ptCount val="1"/>
                <c:pt idx="0">
                  <c:v>3.25</c:v>
                </c:pt>
              </c:strCache>
            </c:strRef>
          </c:tx>
          <c:spPr>
            <a:gradFill rotWithShape="1">
              <a:gsLst>
                <a:gs pos="0">
                  <a:schemeClr val="accent4">
                    <a:lumMod val="80000"/>
                    <a:lumOff val="20000"/>
                    <a:tint val="50000"/>
                    <a:satMod val="300000"/>
                  </a:schemeClr>
                </a:gs>
                <a:gs pos="35000">
                  <a:schemeClr val="accent4">
                    <a:lumMod val="80000"/>
                    <a:lumOff val="20000"/>
                    <a:tint val="37000"/>
                    <a:satMod val="300000"/>
                  </a:schemeClr>
                </a:gs>
                <a:gs pos="100000">
                  <a:schemeClr val="accent4">
                    <a:lumMod val="80000"/>
                    <a:lumOff val="20000"/>
                    <a:tint val="15000"/>
                    <a:satMod val="350000"/>
                  </a:schemeClr>
                </a:gs>
              </a:gsLst>
              <a:lin ang="16200000" scaled="1"/>
            </a:gradFill>
            <a:ln w="9525" cap="flat" cmpd="sng" algn="ctr">
              <a:solidFill>
                <a:schemeClr val="accent4">
                  <a:lumMod val="80000"/>
                  <a:lumOff val="20000"/>
                  <a:shade val="95000"/>
                </a:schemeClr>
              </a:solidFill>
              <a:round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  <a:sp3d contourW="9525">
              <a:contourClr>
                <a:schemeClr val="accent4">
                  <a:lumMod val="80000"/>
                  <a:lumOff val="20000"/>
                  <a:shade val="95000"/>
                </a:schemeClr>
              </a:contourClr>
            </a:sp3d>
          </c:spPr>
          <c:cat>
            <c:numRef>
              <c:f>Sheet1!$B$1:$BH$1</c:f>
              <c:numCache>
                <c:formatCode>General</c:formatCode>
                <c:ptCount val="59"/>
                <c:pt idx="0">
                  <c:v>40</c:v>
                </c:pt>
                <c:pt idx="1">
                  <c:v>42.5</c:v>
                </c:pt>
                <c:pt idx="2">
                  <c:v>45</c:v>
                </c:pt>
                <c:pt idx="3">
                  <c:v>47.5</c:v>
                </c:pt>
                <c:pt idx="4">
                  <c:v>50</c:v>
                </c:pt>
                <c:pt idx="5">
                  <c:v>52.5</c:v>
                </c:pt>
                <c:pt idx="6">
                  <c:v>55</c:v>
                </c:pt>
                <c:pt idx="7">
                  <c:v>57.5</c:v>
                </c:pt>
                <c:pt idx="8">
                  <c:v>60</c:v>
                </c:pt>
                <c:pt idx="9">
                  <c:v>62.5</c:v>
                </c:pt>
                <c:pt idx="10">
                  <c:v>65</c:v>
                </c:pt>
                <c:pt idx="11">
                  <c:v>67.5</c:v>
                </c:pt>
                <c:pt idx="12">
                  <c:v>70</c:v>
                </c:pt>
                <c:pt idx="13">
                  <c:v>72.5</c:v>
                </c:pt>
                <c:pt idx="14">
                  <c:v>75</c:v>
                </c:pt>
                <c:pt idx="15">
                  <c:v>77.5</c:v>
                </c:pt>
                <c:pt idx="16">
                  <c:v>80</c:v>
                </c:pt>
                <c:pt idx="17">
                  <c:v>82.5</c:v>
                </c:pt>
                <c:pt idx="18">
                  <c:v>85</c:v>
                </c:pt>
                <c:pt idx="19">
                  <c:v>87.5</c:v>
                </c:pt>
                <c:pt idx="20">
                  <c:v>90</c:v>
                </c:pt>
                <c:pt idx="21">
                  <c:v>92.5</c:v>
                </c:pt>
                <c:pt idx="22">
                  <c:v>95</c:v>
                </c:pt>
                <c:pt idx="23">
                  <c:v>97.5</c:v>
                </c:pt>
                <c:pt idx="24">
                  <c:v>100</c:v>
                </c:pt>
                <c:pt idx="25">
                  <c:v>102.5</c:v>
                </c:pt>
                <c:pt idx="26">
                  <c:v>105</c:v>
                </c:pt>
                <c:pt idx="27">
                  <c:v>107.5</c:v>
                </c:pt>
                <c:pt idx="28">
                  <c:v>110</c:v>
                </c:pt>
                <c:pt idx="29">
                  <c:v>112.5</c:v>
                </c:pt>
                <c:pt idx="30">
                  <c:v>115</c:v>
                </c:pt>
                <c:pt idx="31">
                  <c:v>117.5</c:v>
                </c:pt>
                <c:pt idx="32">
                  <c:v>120</c:v>
                </c:pt>
                <c:pt idx="33">
                  <c:v>122.5</c:v>
                </c:pt>
                <c:pt idx="34">
                  <c:v>125</c:v>
                </c:pt>
                <c:pt idx="35">
                  <c:v>127.5</c:v>
                </c:pt>
                <c:pt idx="36">
                  <c:v>130</c:v>
                </c:pt>
                <c:pt idx="37">
                  <c:v>132.5</c:v>
                </c:pt>
                <c:pt idx="38">
                  <c:v>135</c:v>
                </c:pt>
                <c:pt idx="39">
                  <c:v>137.5</c:v>
                </c:pt>
                <c:pt idx="40">
                  <c:v>140</c:v>
                </c:pt>
                <c:pt idx="41">
                  <c:v>142.5</c:v>
                </c:pt>
                <c:pt idx="42">
                  <c:v>145</c:v>
                </c:pt>
                <c:pt idx="43">
                  <c:v>147.5</c:v>
                </c:pt>
                <c:pt idx="44">
                  <c:v>150</c:v>
                </c:pt>
                <c:pt idx="45">
                  <c:v>152.5</c:v>
                </c:pt>
                <c:pt idx="46">
                  <c:v>155</c:v>
                </c:pt>
                <c:pt idx="47">
                  <c:v>157.5</c:v>
                </c:pt>
                <c:pt idx="48">
                  <c:v>160</c:v>
                </c:pt>
                <c:pt idx="49">
                  <c:v>162.5</c:v>
                </c:pt>
                <c:pt idx="50">
                  <c:v>165</c:v>
                </c:pt>
                <c:pt idx="51">
                  <c:v>167.5</c:v>
                </c:pt>
                <c:pt idx="52">
                  <c:v>170</c:v>
                </c:pt>
                <c:pt idx="53">
                  <c:v>172.5</c:v>
                </c:pt>
                <c:pt idx="54">
                  <c:v>175</c:v>
                </c:pt>
                <c:pt idx="55">
                  <c:v>177.5</c:v>
                </c:pt>
                <c:pt idx="56">
                  <c:v>180</c:v>
                </c:pt>
                <c:pt idx="57">
                  <c:v>182.5</c:v>
                </c:pt>
                <c:pt idx="58">
                  <c:v>1000</c:v>
                </c:pt>
              </c:numCache>
            </c:numRef>
          </c:cat>
          <c:val>
            <c:numRef>
              <c:f>Sheet1!$B$17:$BH$17</c:f>
              <c:numCache>
                <c:formatCode>General</c:formatCode>
                <c:ptCount val="59"/>
                <c:pt idx="0">
                  <c:v>0.34995799036118103</c:v>
                </c:pt>
                <c:pt idx="1">
                  <c:v>0.34113203424879418</c:v>
                </c:pt>
                <c:pt idx="2">
                  <c:v>0.33275924032555859</c:v>
                </c:pt>
                <c:pt idx="3">
                  <c:v>0.3247897265139309</c:v>
                </c:pt>
                <c:pt idx="4">
                  <c:v>0.31718121741371569</c:v>
                </c:pt>
                <c:pt idx="5">
                  <c:v>0.30989755958709181</c:v>
                </c:pt>
                <c:pt idx="6">
                  <c:v>0.30290775626616029</c:v>
                </c:pt>
                <c:pt idx="7">
                  <c:v>0.29620869373478381</c:v>
                </c:pt>
                <c:pt idx="8">
                  <c:v>0.28979182250958918</c:v>
                </c:pt>
                <c:pt idx="9">
                  <c:v>0.28363402999701071</c:v>
                </c:pt>
                <c:pt idx="10">
                  <c:v>0.27771490315854519</c:v>
                </c:pt>
                <c:pt idx="11">
                  <c:v>0.27201290782841497</c:v>
                </c:pt>
                <c:pt idx="12">
                  <c:v>0.26650956629092709</c:v>
                </c:pt>
                <c:pt idx="13">
                  <c:v>0.26119072044961111</c:v>
                </c:pt>
                <c:pt idx="14">
                  <c:v>0.2560434068592557</c:v>
                </c:pt>
                <c:pt idx="15">
                  <c:v>0.25099714563101327</c:v>
                </c:pt>
                <c:pt idx="16">
                  <c:v>0.24599855474127891</c:v>
                </c:pt>
                <c:pt idx="17">
                  <c:v>0.2410415340515126</c:v>
                </c:pt>
                <c:pt idx="18">
                  <c:v>0.23612014193367131</c:v>
                </c:pt>
                <c:pt idx="19">
                  <c:v>0.23119438723819821</c:v>
                </c:pt>
                <c:pt idx="20">
                  <c:v>0.22623230222645691</c:v>
                </c:pt>
                <c:pt idx="21">
                  <c:v>0.22122948975987539</c:v>
                </c:pt>
                <c:pt idx="22">
                  <c:v>0.21629596081089009</c:v>
                </c:pt>
                <c:pt idx="23">
                  <c:v>0.21153391708173719</c:v>
                </c:pt>
                <c:pt idx="24">
                  <c:v>0.20692734332262361</c:v>
                </c:pt>
                <c:pt idx="25">
                  <c:v>0.20246134581959291</c:v>
                </c:pt>
                <c:pt idx="26">
                  <c:v>0.1980266713475918</c:v>
                </c:pt>
                <c:pt idx="27">
                  <c:v>0.19352000926483029</c:v>
                </c:pt>
                <c:pt idx="28">
                  <c:v>0.18906078900445469</c:v>
                </c:pt>
                <c:pt idx="29">
                  <c:v>0.18476285531026851</c:v>
                </c:pt>
                <c:pt idx="30">
                  <c:v>0.18062202306214989</c:v>
                </c:pt>
                <c:pt idx="31">
                  <c:v>0.1766698354926623</c:v>
                </c:pt>
                <c:pt idx="32">
                  <c:v>0.1729327425990323</c:v>
                </c:pt>
                <c:pt idx="33">
                  <c:v>0.16940757447522509</c:v>
                </c:pt>
                <c:pt idx="34">
                  <c:v>0.16625558442261129</c:v>
                </c:pt>
                <c:pt idx="35">
                  <c:v>0.16362998617937141</c:v>
                </c:pt>
                <c:pt idx="36">
                  <c:v>0.16136229677551889</c:v>
                </c:pt>
                <c:pt idx="37">
                  <c:v>0.15929188465442479</c:v>
                </c:pt>
                <c:pt idx="38">
                  <c:v>0.1574144731690158</c:v>
                </c:pt>
                <c:pt idx="39">
                  <c:v>0.1557976677131182</c:v>
                </c:pt>
                <c:pt idx="40">
                  <c:v>0.1544967103139244</c:v>
                </c:pt>
                <c:pt idx="41">
                  <c:v>0.15350243798787561</c:v>
                </c:pt>
                <c:pt idx="42">
                  <c:v>0.15280457237865849</c:v>
                </c:pt>
                <c:pt idx="43">
                  <c:v>0.15232168101670859</c:v>
                </c:pt>
                <c:pt idx="44">
                  <c:v>0.15198448937443421</c:v>
                </c:pt>
                <c:pt idx="45">
                  <c:v>0.1517868150435483</c:v>
                </c:pt>
                <c:pt idx="46">
                  <c:v>0.15172245679113511</c:v>
                </c:pt>
                <c:pt idx="47">
                  <c:v>0.15177231634950769</c:v>
                </c:pt>
                <c:pt idx="48">
                  <c:v>0.1519197134041026</c:v>
                </c:pt>
                <c:pt idx="49">
                  <c:v>0.1521598351826037</c:v>
                </c:pt>
                <c:pt idx="50">
                  <c:v>0.15248794189800541</c:v>
                </c:pt>
                <c:pt idx="51">
                  <c:v>0.152859977108326</c:v>
                </c:pt>
                <c:pt idx="52">
                  <c:v>0.15323912188674249</c:v>
                </c:pt>
                <c:pt idx="53">
                  <c:v>0.15362489500348769</c:v>
                </c:pt>
                <c:pt idx="54">
                  <c:v>0.15401683633695379</c:v>
                </c:pt>
                <c:pt idx="55">
                  <c:v>0.15440583443243139</c:v>
                </c:pt>
                <c:pt idx="56">
                  <c:v>0.15478427828423799</c:v>
                </c:pt>
                <c:pt idx="57">
                  <c:v>0.1551525655041826</c:v>
                </c:pt>
                <c:pt idx="58">
                  <c:v>0.1691841121382008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F-E27E-4C0A-99B7-33696A982CB4}"/>
            </c:ext>
          </c:extLst>
        </c:ser>
        <c:ser>
          <c:idx val="16"/>
          <c:order val="16"/>
          <c:tx>
            <c:strRef>
              <c:f>Sheet1!$A$18</c:f>
              <c:strCache>
                <c:ptCount val="1"/>
                <c:pt idx="0">
                  <c:v>3.5</c:v>
                </c:pt>
              </c:strCache>
            </c:strRef>
          </c:tx>
          <c:spPr>
            <a:gradFill rotWithShape="1">
              <a:gsLst>
                <a:gs pos="0">
                  <a:schemeClr val="accent5">
                    <a:lumMod val="80000"/>
                    <a:lumOff val="20000"/>
                    <a:tint val="50000"/>
                    <a:satMod val="300000"/>
                  </a:schemeClr>
                </a:gs>
                <a:gs pos="35000">
                  <a:schemeClr val="accent5">
                    <a:lumMod val="80000"/>
                    <a:lumOff val="20000"/>
                    <a:tint val="37000"/>
                    <a:satMod val="300000"/>
                  </a:schemeClr>
                </a:gs>
                <a:gs pos="100000">
                  <a:schemeClr val="accent5">
                    <a:lumMod val="80000"/>
                    <a:lumOff val="20000"/>
                    <a:tint val="15000"/>
                    <a:satMod val="350000"/>
                  </a:schemeClr>
                </a:gs>
              </a:gsLst>
              <a:lin ang="16200000" scaled="1"/>
            </a:gradFill>
            <a:ln w="9525" cap="flat" cmpd="sng" algn="ctr">
              <a:solidFill>
                <a:schemeClr val="accent5">
                  <a:lumMod val="80000"/>
                  <a:lumOff val="20000"/>
                  <a:shade val="95000"/>
                </a:schemeClr>
              </a:solidFill>
              <a:round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  <a:sp3d contourW="9525">
              <a:contourClr>
                <a:schemeClr val="accent5">
                  <a:lumMod val="80000"/>
                  <a:lumOff val="20000"/>
                  <a:shade val="95000"/>
                </a:schemeClr>
              </a:contourClr>
            </a:sp3d>
          </c:spPr>
          <c:cat>
            <c:numRef>
              <c:f>Sheet1!$B$1:$BH$1</c:f>
              <c:numCache>
                <c:formatCode>General</c:formatCode>
                <c:ptCount val="59"/>
                <c:pt idx="0">
                  <c:v>40</c:v>
                </c:pt>
                <c:pt idx="1">
                  <c:v>42.5</c:v>
                </c:pt>
                <c:pt idx="2">
                  <c:v>45</c:v>
                </c:pt>
                <c:pt idx="3">
                  <c:v>47.5</c:v>
                </c:pt>
                <c:pt idx="4">
                  <c:v>50</c:v>
                </c:pt>
                <c:pt idx="5">
                  <c:v>52.5</c:v>
                </c:pt>
                <c:pt idx="6">
                  <c:v>55</c:v>
                </c:pt>
                <c:pt idx="7">
                  <c:v>57.5</c:v>
                </c:pt>
                <c:pt idx="8">
                  <c:v>60</c:v>
                </c:pt>
                <c:pt idx="9">
                  <c:v>62.5</c:v>
                </c:pt>
                <c:pt idx="10">
                  <c:v>65</c:v>
                </c:pt>
                <c:pt idx="11">
                  <c:v>67.5</c:v>
                </c:pt>
                <c:pt idx="12">
                  <c:v>70</c:v>
                </c:pt>
                <c:pt idx="13">
                  <c:v>72.5</c:v>
                </c:pt>
                <c:pt idx="14">
                  <c:v>75</c:v>
                </c:pt>
                <c:pt idx="15">
                  <c:v>77.5</c:v>
                </c:pt>
                <c:pt idx="16">
                  <c:v>80</c:v>
                </c:pt>
                <c:pt idx="17">
                  <c:v>82.5</c:v>
                </c:pt>
                <c:pt idx="18">
                  <c:v>85</c:v>
                </c:pt>
                <c:pt idx="19">
                  <c:v>87.5</c:v>
                </c:pt>
                <c:pt idx="20">
                  <c:v>90</c:v>
                </c:pt>
                <c:pt idx="21">
                  <c:v>92.5</c:v>
                </c:pt>
                <c:pt idx="22">
                  <c:v>95</c:v>
                </c:pt>
                <c:pt idx="23">
                  <c:v>97.5</c:v>
                </c:pt>
                <c:pt idx="24">
                  <c:v>100</c:v>
                </c:pt>
                <c:pt idx="25">
                  <c:v>102.5</c:v>
                </c:pt>
                <c:pt idx="26">
                  <c:v>105</c:v>
                </c:pt>
                <c:pt idx="27">
                  <c:v>107.5</c:v>
                </c:pt>
                <c:pt idx="28">
                  <c:v>110</c:v>
                </c:pt>
                <c:pt idx="29">
                  <c:v>112.5</c:v>
                </c:pt>
                <c:pt idx="30">
                  <c:v>115</c:v>
                </c:pt>
                <c:pt idx="31">
                  <c:v>117.5</c:v>
                </c:pt>
                <c:pt idx="32">
                  <c:v>120</c:v>
                </c:pt>
                <c:pt idx="33">
                  <c:v>122.5</c:v>
                </c:pt>
                <c:pt idx="34">
                  <c:v>125</c:v>
                </c:pt>
                <c:pt idx="35">
                  <c:v>127.5</c:v>
                </c:pt>
                <c:pt idx="36">
                  <c:v>130</c:v>
                </c:pt>
                <c:pt idx="37">
                  <c:v>132.5</c:v>
                </c:pt>
                <c:pt idx="38">
                  <c:v>135</c:v>
                </c:pt>
                <c:pt idx="39">
                  <c:v>137.5</c:v>
                </c:pt>
                <c:pt idx="40">
                  <c:v>140</c:v>
                </c:pt>
                <c:pt idx="41">
                  <c:v>142.5</c:v>
                </c:pt>
                <c:pt idx="42">
                  <c:v>145</c:v>
                </c:pt>
                <c:pt idx="43">
                  <c:v>147.5</c:v>
                </c:pt>
                <c:pt idx="44">
                  <c:v>150</c:v>
                </c:pt>
                <c:pt idx="45">
                  <c:v>152.5</c:v>
                </c:pt>
                <c:pt idx="46">
                  <c:v>155</c:v>
                </c:pt>
                <c:pt idx="47">
                  <c:v>157.5</c:v>
                </c:pt>
                <c:pt idx="48">
                  <c:v>160</c:v>
                </c:pt>
                <c:pt idx="49">
                  <c:v>162.5</c:v>
                </c:pt>
                <c:pt idx="50">
                  <c:v>165</c:v>
                </c:pt>
                <c:pt idx="51">
                  <c:v>167.5</c:v>
                </c:pt>
                <c:pt idx="52">
                  <c:v>170</c:v>
                </c:pt>
                <c:pt idx="53">
                  <c:v>172.5</c:v>
                </c:pt>
                <c:pt idx="54">
                  <c:v>175</c:v>
                </c:pt>
                <c:pt idx="55">
                  <c:v>177.5</c:v>
                </c:pt>
                <c:pt idx="56">
                  <c:v>180</c:v>
                </c:pt>
                <c:pt idx="57">
                  <c:v>182.5</c:v>
                </c:pt>
                <c:pt idx="58">
                  <c:v>1000</c:v>
                </c:pt>
              </c:numCache>
            </c:numRef>
          </c:cat>
          <c:val>
            <c:numRef>
              <c:f>Sheet1!$B$18:$BH$18</c:f>
              <c:numCache>
                <c:formatCode>General</c:formatCode>
                <c:ptCount val="59"/>
                <c:pt idx="0">
                  <c:v>0.34310086142603702</c:v>
                </c:pt>
                <c:pt idx="1">
                  <c:v>0.33462984241222971</c:v>
                </c:pt>
                <c:pt idx="2">
                  <c:v>0.32660153124103852</c:v>
                </c:pt>
                <c:pt idx="3">
                  <c:v>0.31896740815246499</c:v>
                </c:pt>
                <c:pt idx="4">
                  <c:v>0.31168636956713031</c:v>
                </c:pt>
                <c:pt idx="5">
                  <c:v>0.30472328088160622</c:v>
                </c:pt>
                <c:pt idx="6">
                  <c:v>0.29804805862947581</c:v>
                </c:pt>
                <c:pt idx="7">
                  <c:v>0.29166090204215428</c:v>
                </c:pt>
                <c:pt idx="8">
                  <c:v>0.28555549196873659</c:v>
                </c:pt>
                <c:pt idx="9">
                  <c:v>0.27970901866957959</c:v>
                </c:pt>
                <c:pt idx="10">
                  <c:v>0.27410136475925279</c:v>
                </c:pt>
                <c:pt idx="11">
                  <c:v>0.26871473366226001</c:v>
                </c:pt>
                <c:pt idx="12">
                  <c:v>0.26353327036349339</c:v>
                </c:pt>
                <c:pt idx="13">
                  <c:v>0.25854277139047871</c:v>
                </c:pt>
                <c:pt idx="14">
                  <c:v>0.25373020740681318</c:v>
                </c:pt>
                <c:pt idx="15">
                  <c:v>0.2490151239691312</c:v>
                </c:pt>
                <c:pt idx="16">
                  <c:v>0.24433719634499609</c:v>
                </c:pt>
                <c:pt idx="17">
                  <c:v>0.23969135899561361</c:v>
                </c:pt>
                <c:pt idx="18">
                  <c:v>0.2350725393363633</c:v>
                </c:pt>
                <c:pt idx="19">
                  <c:v>0.23041080781949841</c:v>
                </c:pt>
                <c:pt idx="20">
                  <c:v>0.22565151980214901</c:v>
                </c:pt>
                <c:pt idx="21">
                  <c:v>0.22079225078162579</c:v>
                </c:pt>
                <c:pt idx="22">
                  <c:v>0.21603188099887849</c:v>
                </c:pt>
                <c:pt idx="23">
                  <c:v>0.21155479578755679</c:v>
                </c:pt>
                <c:pt idx="24">
                  <c:v>0.20729732095793479</c:v>
                </c:pt>
                <c:pt idx="25">
                  <c:v>0.2032001608158833</c:v>
                </c:pt>
                <c:pt idx="26">
                  <c:v>0.1990846034452558</c:v>
                </c:pt>
                <c:pt idx="27">
                  <c:v>0.1947827162886836</c:v>
                </c:pt>
                <c:pt idx="28">
                  <c:v>0.19048968290088999</c:v>
                </c:pt>
                <c:pt idx="29">
                  <c:v>0.1863905692658962</c:v>
                </c:pt>
                <c:pt idx="30">
                  <c:v>0.18248100152546051</c:v>
                </c:pt>
                <c:pt idx="31">
                  <c:v>0.17874907136653159</c:v>
                </c:pt>
                <c:pt idx="32">
                  <c:v>0.17518442419811031</c:v>
                </c:pt>
                <c:pt idx="33">
                  <c:v>0.171783664768246</c:v>
                </c:pt>
                <c:pt idx="34">
                  <c:v>0.16869346261642071</c:v>
                </c:pt>
                <c:pt idx="35">
                  <c:v>0.16605307398531599</c:v>
                </c:pt>
                <c:pt idx="36">
                  <c:v>0.1637206575996728</c:v>
                </c:pt>
                <c:pt idx="37">
                  <c:v>0.16156124881221251</c:v>
                </c:pt>
                <c:pt idx="38">
                  <c:v>0.15957112717472879</c:v>
                </c:pt>
                <c:pt idx="39">
                  <c:v>0.15782310525992471</c:v>
                </c:pt>
                <c:pt idx="40">
                  <c:v>0.15637721533824181</c:v>
                </c:pt>
                <c:pt idx="41">
                  <c:v>0.15522532374707351</c:v>
                </c:pt>
                <c:pt idx="42">
                  <c:v>0.15435831204130579</c:v>
                </c:pt>
                <c:pt idx="43">
                  <c:v>0.15369735937632351</c:v>
                </c:pt>
                <c:pt idx="44">
                  <c:v>0.15317530434099891</c:v>
                </c:pt>
                <c:pt idx="45">
                  <c:v>0.15278672968116291</c:v>
                </c:pt>
                <c:pt idx="46">
                  <c:v>0.15252620683416329</c:v>
                </c:pt>
                <c:pt idx="47">
                  <c:v>0.15238869108554309</c:v>
                </c:pt>
                <c:pt idx="48">
                  <c:v>0.15236909355466391</c:v>
                </c:pt>
                <c:pt idx="49">
                  <c:v>0.15246202209197171</c:v>
                </c:pt>
                <c:pt idx="50">
                  <c:v>0.15266210261104429</c:v>
                </c:pt>
                <c:pt idx="51">
                  <c:v>0.15291790506226161</c:v>
                </c:pt>
                <c:pt idx="52">
                  <c:v>0.1531862946838746</c:v>
                </c:pt>
                <c:pt idx="53">
                  <c:v>0.15346658320222811</c:v>
                </c:pt>
                <c:pt idx="54">
                  <c:v>0.1537581106552747</c:v>
                </c:pt>
                <c:pt idx="55">
                  <c:v>0.15405062698954189</c:v>
                </c:pt>
                <c:pt idx="56">
                  <c:v>0.15433552913314569</c:v>
                </c:pt>
                <c:pt idx="57">
                  <c:v>0.15461309434553941</c:v>
                </c:pt>
                <c:pt idx="58">
                  <c:v>0.1663442013803566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0-E27E-4C0A-99B7-33696A982CB4}"/>
            </c:ext>
          </c:extLst>
        </c:ser>
        <c:ser>
          <c:idx val="17"/>
          <c:order val="17"/>
          <c:tx>
            <c:strRef>
              <c:f>Sheet1!$A$19</c:f>
              <c:strCache>
                <c:ptCount val="1"/>
                <c:pt idx="0">
                  <c:v>3.75</c:v>
                </c:pt>
              </c:strCache>
            </c:strRef>
          </c:tx>
          <c:spPr>
            <a:gradFill rotWithShape="1">
              <a:gsLst>
                <a:gs pos="0">
                  <a:schemeClr val="accent6">
                    <a:lumMod val="80000"/>
                    <a:lumOff val="20000"/>
                    <a:tint val="50000"/>
                    <a:satMod val="300000"/>
                  </a:schemeClr>
                </a:gs>
                <a:gs pos="35000">
                  <a:schemeClr val="accent6">
                    <a:lumMod val="80000"/>
                    <a:lumOff val="20000"/>
                    <a:tint val="37000"/>
                    <a:satMod val="300000"/>
                  </a:schemeClr>
                </a:gs>
                <a:gs pos="100000">
                  <a:schemeClr val="accent6">
                    <a:lumMod val="80000"/>
                    <a:lumOff val="20000"/>
                    <a:tint val="15000"/>
                    <a:satMod val="350000"/>
                  </a:schemeClr>
                </a:gs>
              </a:gsLst>
              <a:lin ang="16200000" scaled="1"/>
            </a:gradFill>
            <a:ln w="9525" cap="flat" cmpd="sng" algn="ctr">
              <a:solidFill>
                <a:schemeClr val="accent6">
                  <a:lumMod val="80000"/>
                  <a:lumOff val="20000"/>
                  <a:shade val="95000"/>
                </a:schemeClr>
              </a:solidFill>
              <a:round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  <a:sp3d contourW="9525">
              <a:contourClr>
                <a:schemeClr val="accent6">
                  <a:lumMod val="80000"/>
                  <a:lumOff val="20000"/>
                  <a:shade val="95000"/>
                </a:schemeClr>
              </a:contourClr>
            </a:sp3d>
          </c:spPr>
          <c:cat>
            <c:numRef>
              <c:f>Sheet1!$B$1:$BH$1</c:f>
              <c:numCache>
                <c:formatCode>General</c:formatCode>
                <c:ptCount val="59"/>
                <c:pt idx="0">
                  <c:v>40</c:v>
                </c:pt>
                <c:pt idx="1">
                  <c:v>42.5</c:v>
                </c:pt>
                <c:pt idx="2">
                  <c:v>45</c:v>
                </c:pt>
                <c:pt idx="3">
                  <c:v>47.5</c:v>
                </c:pt>
                <c:pt idx="4">
                  <c:v>50</c:v>
                </c:pt>
                <c:pt idx="5">
                  <c:v>52.5</c:v>
                </c:pt>
                <c:pt idx="6">
                  <c:v>55</c:v>
                </c:pt>
                <c:pt idx="7">
                  <c:v>57.5</c:v>
                </c:pt>
                <c:pt idx="8">
                  <c:v>60</c:v>
                </c:pt>
                <c:pt idx="9">
                  <c:v>62.5</c:v>
                </c:pt>
                <c:pt idx="10">
                  <c:v>65</c:v>
                </c:pt>
                <c:pt idx="11">
                  <c:v>67.5</c:v>
                </c:pt>
                <c:pt idx="12">
                  <c:v>70</c:v>
                </c:pt>
                <c:pt idx="13">
                  <c:v>72.5</c:v>
                </c:pt>
                <c:pt idx="14">
                  <c:v>75</c:v>
                </c:pt>
                <c:pt idx="15">
                  <c:v>77.5</c:v>
                </c:pt>
                <c:pt idx="16">
                  <c:v>80</c:v>
                </c:pt>
                <c:pt idx="17">
                  <c:v>82.5</c:v>
                </c:pt>
                <c:pt idx="18">
                  <c:v>85</c:v>
                </c:pt>
                <c:pt idx="19">
                  <c:v>87.5</c:v>
                </c:pt>
                <c:pt idx="20">
                  <c:v>90</c:v>
                </c:pt>
                <c:pt idx="21">
                  <c:v>92.5</c:v>
                </c:pt>
                <c:pt idx="22">
                  <c:v>95</c:v>
                </c:pt>
                <c:pt idx="23">
                  <c:v>97.5</c:v>
                </c:pt>
                <c:pt idx="24">
                  <c:v>100</c:v>
                </c:pt>
                <c:pt idx="25">
                  <c:v>102.5</c:v>
                </c:pt>
                <c:pt idx="26">
                  <c:v>105</c:v>
                </c:pt>
                <c:pt idx="27">
                  <c:v>107.5</c:v>
                </c:pt>
                <c:pt idx="28">
                  <c:v>110</c:v>
                </c:pt>
                <c:pt idx="29">
                  <c:v>112.5</c:v>
                </c:pt>
                <c:pt idx="30">
                  <c:v>115</c:v>
                </c:pt>
                <c:pt idx="31">
                  <c:v>117.5</c:v>
                </c:pt>
                <c:pt idx="32">
                  <c:v>120</c:v>
                </c:pt>
                <c:pt idx="33">
                  <c:v>122.5</c:v>
                </c:pt>
                <c:pt idx="34">
                  <c:v>125</c:v>
                </c:pt>
                <c:pt idx="35">
                  <c:v>127.5</c:v>
                </c:pt>
                <c:pt idx="36">
                  <c:v>130</c:v>
                </c:pt>
                <c:pt idx="37">
                  <c:v>132.5</c:v>
                </c:pt>
                <c:pt idx="38">
                  <c:v>135</c:v>
                </c:pt>
                <c:pt idx="39">
                  <c:v>137.5</c:v>
                </c:pt>
                <c:pt idx="40">
                  <c:v>140</c:v>
                </c:pt>
                <c:pt idx="41">
                  <c:v>142.5</c:v>
                </c:pt>
                <c:pt idx="42">
                  <c:v>145</c:v>
                </c:pt>
                <c:pt idx="43">
                  <c:v>147.5</c:v>
                </c:pt>
                <c:pt idx="44">
                  <c:v>150</c:v>
                </c:pt>
                <c:pt idx="45">
                  <c:v>152.5</c:v>
                </c:pt>
                <c:pt idx="46">
                  <c:v>155</c:v>
                </c:pt>
                <c:pt idx="47">
                  <c:v>157.5</c:v>
                </c:pt>
                <c:pt idx="48">
                  <c:v>160</c:v>
                </c:pt>
                <c:pt idx="49">
                  <c:v>162.5</c:v>
                </c:pt>
                <c:pt idx="50">
                  <c:v>165</c:v>
                </c:pt>
                <c:pt idx="51">
                  <c:v>167.5</c:v>
                </c:pt>
                <c:pt idx="52">
                  <c:v>170</c:v>
                </c:pt>
                <c:pt idx="53">
                  <c:v>172.5</c:v>
                </c:pt>
                <c:pt idx="54">
                  <c:v>175</c:v>
                </c:pt>
                <c:pt idx="55">
                  <c:v>177.5</c:v>
                </c:pt>
                <c:pt idx="56">
                  <c:v>180</c:v>
                </c:pt>
                <c:pt idx="57">
                  <c:v>182.5</c:v>
                </c:pt>
                <c:pt idx="58">
                  <c:v>1000</c:v>
                </c:pt>
              </c:numCache>
            </c:numRef>
          </c:cat>
          <c:val>
            <c:numRef>
              <c:f>Sheet1!$B$19:$BH$19</c:f>
              <c:numCache>
                <c:formatCode>General</c:formatCode>
                <c:ptCount val="59"/>
                <c:pt idx="0">
                  <c:v>0.3370451894416937</c:v>
                </c:pt>
                <c:pt idx="1">
                  <c:v>0.32889064422083891</c:v>
                </c:pt>
                <c:pt idx="2">
                  <c:v>0.32116936648910449</c:v>
                </c:pt>
                <c:pt idx="3">
                  <c:v>0.31383403736594179</c:v>
                </c:pt>
                <c:pt idx="4">
                  <c:v>0.30684458416052129</c:v>
                </c:pt>
                <c:pt idx="5">
                  <c:v>0.30016676640611528</c:v>
                </c:pt>
                <c:pt idx="6">
                  <c:v>0.29377130023174941</c:v>
                </c:pt>
                <c:pt idx="7">
                  <c:v>0.28766133058028931</c:v>
                </c:pt>
                <c:pt idx="8">
                  <c:v>0.28183250187580361</c:v>
                </c:pt>
                <c:pt idx="9">
                  <c:v>0.27626223832466262</c:v>
                </c:pt>
                <c:pt idx="10">
                  <c:v>0.27093064941519601</c:v>
                </c:pt>
                <c:pt idx="11">
                  <c:v>0.26582321695850353</c:v>
                </c:pt>
                <c:pt idx="12">
                  <c:v>0.26092635390825919</c:v>
                </c:pt>
                <c:pt idx="13">
                  <c:v>0.25622574786500429</c:v>
                </c:pt>
                <c:pt idx="14">
                  <c:v>0.25170823952485111</c:v>
                </c:pt>
                <c:pt idx="15">
                  <c:v>0.2472845220302882</c:v>
                </c:pt>
                <c:pt idx="16">
                  <c:v>0.24288816059305349</c:v>
                </c:pt>
                <c:pt idx="17">
                  <c:v>0.238515025014891</c:v>
                </c:pt>
                <c:pt idx="18">
                  <c:v>0.23416082599404309</c:v>
                </c:pt>
                <c:pt idx="19">
                  <c:v>0.22972954375455651</c:v>
                </c:pt>
                <c:pt idx="20">
                  <c:v>0.225146963185334</c:v>
                </c:pt>
                <c:pt idx="21">
                  <c:v>0.22041260873396279</c:v>
                </c:pt>
                <c:pt idx="22">
                  <c:v>0.21580275043060371</c:v>
                </c:pt>
                <c:pt idx="23">
                  <c:v>0.21157288899931609</c:v>
                </c:pt>
                <c:pt idx="24">
                  <c:v>0.2076174349371411</c:v>
                </c:pt>
                <c:pt idx="25">
                  <c:v>0.20383830107755729</c:v>
                </c:pt>
                <c:pt idx="26">
                  <c:v>0.19999695128770351</c:v>
                </c:pt>
                <c:pt idx="27">
                  <c:v>0.19587047795216761</c:v>
                </c:pt>
                <c:pt idx="28">
                  <c:v>0.1917194434514933</c:v>
                </c:pt>
                <c:pt idx="29">
                  <c:v>0.18778984274700519</c:v>
                </c:pt>
                <c:pt idx="30">
                  <c:v>0.1840769310009184</c:v>
                </c:pt>
                <c:pt idx="31">
                  <c:v>0.18053170623726469</c:v>
                </c:pt>
                <c:pt idx="32">
                  <c:v>0.17711272765647601</c:v>
                </c:pt>
                <c:pt idx="33">
                  <c:v>0.17381667118151231</c:v>
                </c:pt>
                <c:pt idx="34">
                  <c:v>0.17077814256208629</c:v>
                </c:pt>
                <c:pt idx="35">
                  <c:v>0.1681248372960685</c:v>
                </c:pt>
                <c:pt idx="36">
                  <c:v>0.1657374276031463</c:v>
                </c:pt>
                <c:pt idx="37">
                  <c:v>0.16350255463436739</c:v>
                </c:pt>
                <c:pt idx="38">
                  <c:v>0.16141692122342749</c:v>
                </c:pt>
                <c:pt idx="39">
                  <c:v>0.1595576884318593</c:v>
                </c:pt>
                <c:pt idx="40">
                  <c:v>0.1579888818625495</c:v>
                </c:pt>
                <c:pt idx="41">
                  <c:v>0.15670316985091379</c:v>
                </c:pt>
                <c:pt idx="42">
                  <c:v>0.1556923445938668</c:v>
                </c:pt>
                <c:pt idx="43">
                  <c:v>0.15487973037560579</c:v>
                </c:pt>
                <c:pt idx="44">
                  <c:v>0.15419990552169971</c:v>
                </c:pt>
                <c:pt idx="45">
                  <c:v>0.15364805879949059</c:v>
                </c:pt>
                <c:pt idx="46">
                  <c:v>0.15321937974954111</c:v>
                </c:pt>
                <c:pt idx="47">
                  <c:v>0.15292087292674961</c:v>
                </c:pt>
                <c:pt idx="48">
                  <c:v>0.15275748701968911</c:v>
                </c:pt>
                <c:pt idx="49">
                  <c:v>0.152723433760524</c:v>
                </c:pt>
                <c:pt idx="50">
                  <c:v>0.15281288133874421</c:v>
                </c:pt>
                <c:pt idx="51">
                  <c:v>0.15296809154448099</c:v>
                </c:pt>
                <c:pt idx="52">
                  <c:v>0.15314049636749419</c:v>
                </c:pt>
                <c:pt idx="53">
                  <c:v>0.1533292474232352</c:v>
                </c:pt>
                <c:pt idx="54">
                  <c:v>0.15353352906464429</c:v>
                </c:pt>
                <c:pt idx="55">
                  <c:v>0.15374211670549859</c:v>
                </c:pt>
                <c:pt idx="56">
                  <c:v>0.1539455551002766</c:v>
                </c:pt>
                <c:pt idx="57">
                  <c:v>0.15414402547271361</c:v>
                </c:pt>
                <c:pt idx="58">
                  <c:v>0.1638431330918765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1-E27E-4C0A-99B7-33696A982CB4}"/>
            </c:ext>
          </c:extLst>
        </c:ser>
        <c:ser>
          <c:idx val="18"/>
          <c:order val="18"/>
          <c:tx>
            <c:strRef>
              <c:f>Sheet1!$A$20</c:f>
              <c:strCache>
                <c:ptCount val="1"/>
                <c:pt idx="0">
                  <c:v>4.002739726</c:v>
                </c:pt>
              </c:strCache>
            </c:strRef>
          </c:tx>
          <c:spPr>
            <a:gradFill rotWithShape="1">
              <a:gsLst>
                <a:gs pos="0">
                  <a:schemeClr val="accent1">
                    <a:lumMod val="80000"/>
                    <a:tint val="50000"/>
                    <a:satMod val="300000"/>
                  </a:schemeClr>
                </a:gs>
                <a:gs pos="35000">
                  <a:schemeClr val="accent1">
                    <a:lumMod val="80000"/>
                    <a:tint val="37000"/>
                    <a:satMod val="300000"/>
                  </a:schemeClr>
                </a:gs>
                <a:gs pos="100000">
                  <a:schemeClr val="accent1">
                    <a:lumMod val="80000"/>
                    <a:tint val="15000"/>
                    <a:satMod val="350000"/>
                  </a:schemeClr>
                </a:gs>
              </a:gsLst>
              <a:lin ang="16200000" scaled="1"/>
            </a:gradFill>
            <a:ln w="9525" cap="flat" cmpd="sng" algn="ctr">
              <a:solidFill>
                <a:schemeClr val="accent1">
                  <a:lumMod val="80000"/>
                  <a:shade val="95000"/>
                </a:schemeClr>
              </a:solidFill>
              <a:round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  <a:sp3d contourW="9525">
              <a:contourClr>
                <a:schemeClr val="accent1">
                  <a:lumMod val="80000"/>
                  <a:shade val="95000"/>
                </a:schemeClr>
              </a:contourClr>
            </a:sp3d>
          </c:spPr>
          <c:cat>
            <c:numRef>
              <c:f>Sheet1!$B$1:$BH$1</c:f>
              <c:numCache>
                <c:formatCode>General</c:formatCode>
                <c:ptCount val="59"/>
                <c:pt idx="0">
                  <c:v>40</c:v>
                </c:pt>
                <c:pt idx="1">
                  <c:v>42.5</c:v>
                </c:pt>
                <c:pt idx="2">
                  <c:v>45</c:v>
                </c:pt>
                <c:pt idx="3">
                  <c:v>47.5</c:v>
                </c:pt>
                <c:pt idx="4">
                  <c:v>50</c:v>
                </c:pt>
                <c:pt idx="5">
                  <c:v>52.5</c:v>
                </c:pt>
                <c:pt idx="6">
                  <c:v>55</c:v>
                </c:pt>
                <c:pt idx="7">
                  <c:v>57.5</c:v>
                </c:pt>
                <c:pt idx="8">
                  <c:v>60</c:v>
                </c:pt>
                <c:pt idx="9">
                  <c:v>62.5</c:v>
                </c:pt>
                <c:pt idx="10">
                  <c:v>65</c:v>
                </c:pt>
                <c:pt idx="11">
                  <c:v>67.5</c:v>
                </c:pt>
                <c:pt idx="12">
                  <c:v>70</c:v>
                </c:pt>
                <c:pt idx="13">
                  <c:v>72.5</c:v>
                </c:pt>
                <c:pt idx="14">
                  <c:v>75</c:v>
                </c:pt>
                <c:pt idx="15">
                  <c:v>77.5</c:v>
                </c:pt>
                <c:pt idx="16">
                  <c:v>80</c:v>
                </c:pt>
                <c:pt idx="17">
                  <c:v>82.5</c:v>
                </c:pt>
                <c:pt idx="18">
                  <c:v>85</c:v>
                </c:pt>
                <c:pt idx="19">
                  <c:v>87.5</c:v>
                </c:pt>
                <c:pt idx="20">
                  <c:v>90</c:v>
                </c:pt>
                <c:pt idx="21">
                  <c:v>92.5</c:v>
                </c:pt>
                <c:pt idx="22">
                  <c:v>95</c:v>
                </c:pt>
                <c:pt idx="23">
                  <c:v>97.5</c:v>
                </c:pt>
                <c:pt idx="24">
                  <c:v>100</c:v>
                </c:pt>
                <c:pt idx="25">
                  <c:v>102.5</c:v>
                </c:pt>
                <c:pt idx="26">
                  <c:v>105</c:v>
                </c:pt>
                <c:pt idx="27">
                  <c:v>107.5</c:v>
                </c:pt>
                <c:pt idx="28">
                  <c:v>110</c:v>
                </c:pt>
                <c:pt idx="29">
                  <c:v>112.5</c:v>
                </c:pt>
                <c:pt idx="30">
                  <c:v>115</c:v>
                </c:pt>
                <c:pt idx="31">
                  <c:v>117.5</c:v>
                </c:pt>
                <c:pt idx="32">
                  <c:v>120</c:v>
                </c:pt>
                <c:pt idx="33">
                  <c:v>122.5</c:v>
                </c:pt>
                <c:pt idx="34">
                  <c:v>125</c:v>
                </c:pt>
                <c:pt idx="35">
                  <c:v>127.5</c:v>
                </c:pt>
                <c:pt idx="36">
                  <c:v>130</c:v>
                </c:pt>
                <c:pt idx="37">
                  <c:v>132.5</c:v>
                </c:pt>
                <c:pt idx="38">
                  <c:v>135</c:v>
                </c:pt>
                <c:pt idx="39">
                  <c:v>137.5</c:v>
                </c:pt>
                <c:pt idx="40">
                  <c:v>140</c:v>
                </c:pt>
                <c:pt idx="41">
                  <c:v>142.5</c:v>
                </c:pt>
                <c:pt idx="42">
                  <c:v>145</c:v>
                </c:pt>
                <c:pt idx="43">
                  <c:v>147.5</c:v>
                </c:pt>
                <c:pt idx="44">
                  <c:v>150</c:v>
                </c:pt>
                <c:pt idx="45">
                  <c:v>152.5</c:v>
                </c:pt>
                <c:pt idx="46">
                  <c:v>155</c:v>
                </c:pt>
                <c:pt idx="47">
                  <c:v>157.5</c:v>
                </c:pt>
                <c:pt idx="48">
                  <c:v>160</c:v>
                </c:pt>
                <c:pt idx="49">
                  <c:v>162.5</c:v>
                </c:pt>
                <c:pt idx="50">
                  <c:v>165</c:v>
                </c:pt>
                <c:pt idx="51">
                  <c:v>167.5</c:v>
                </c:pt>
                <c:pt idx="52">
                  <c:v>170</c:v>
                </c:pt>
                <c:pt idx="53">
                  <c:v>172.5</c:v>
                </c:pt>
                <c:pt idx="54">
                  <c:v>175</c:v>
                </c:pt>
                <c:pt idx="55">
                  <c:v>177.5</c:v>
                </c:pt>
                <c:pt idx="56">
                  <c:v>180</c:v>
                </c:pt>
                <c:pt idx="57">
                  <c:v>182.5</c:v>
                </c:pt>
                <c:pt idx="58">
                  <c:v>1000</c:v>
                </c:pt>
              </c:numCache>
            </c:numRef>
          </c:cat>
          <c:val>
            <c:numRef>
              <c:f>Sheet1!$B$20:$BH$20</c:f>
              <c:numCache>
                <c:formatCode>General</c:formatCode>
                <c:ptCount val="59"/>
                <c:pt idx="0">
                  <c:v>0.3316000000005575</c:v>
                </c:pt>
                <c:pt idx="1">
                  <c:v>0.32373257420604767</c:v>
                </c:pt>
                <c:pt idx="2">
                  <c:v>0.3162897439573768</c:v>
                </c:pt>
                <c:pt idx="3">
                  <c:v>0.30922526875105177</c:v>
                </c:pt>
                <c:pt idx="4">
                  <c:v>0.30250000000044441</c:v>
                </c:pt>
                <c:pt idx="5">
                  <c:v>0.29608049706860018</c:v>
                </c:pt>
                <c:pt idx="6">
                  <c:v>0.28993818986322029</c:v>
                </c:pt>
                <c:pt idx="7">
                  <c:v>0.28407888908270312</c:v>
                </c:pt>
                <c:pt idx="8">
                  <c:v>0.27850000000034048</c:v>
                </c:pt>
                <c:pt idx="9">
                  <c:v>0.27317912997834631</c:v>
                </c:pt>
                <c:pt idx="10">
                  <c:v>0.26809656508368229</c:v>
                </c:pt>
                <c:pt idx="11">
                  <c:v>0.26324071721402542</c:v>
                </c:pt>
                <c:pt idx="12">
                  <c:v>0.25860000000023731</c:v>
                </c:pt>
                <c:pt idx="13">
                  <c:v>0.25415994857992469</c:v>
                </c:pt>
                <c:pt idx="14">
                  <c:v>0.2499072308727</c:v>
                </c:pt>
                <c:pt idx="15">
                  <c:v>0.24574455005643511</c:v>
                </c:pt>
                <c:pt idx="16">
                  <c:v>0.24160000000013121</c:v>
                </c:pt>
                <c:pt idx="17">
                  <c:v>0.2374703128982244</c:v>
                </c:pt>
                <c:pt idx="18">
                  <c:v>0.2333519202216629</c:v>
                </c:pt>
                <c:pt idx="19">
                  <c:v>0.22912563077684259</c:v>
                </c:pt>
                <c:pt idx="20">
                  <c:v>0.22470000000004539</c:v>
                </c:pt>
                <c:pt idx="21">
                  <c:v>0.22007646606225481</c:v>
                </c:pt>
                <c:pt idx="22">
                  <c:v>0.21560000000002061</c:v>
                </c:pt>
                <c:pt idx="23">
                  <c:v>0.2115888818129526</c:v>
                </c:pt>
                <c:pt idx="24">
                  <c:v>0.20789999999997141</c:v>
                </c:pt>
                <c:pt idx="25">
                  <c:v>0.20440074761286059</c:v>
                </c:pt>
                <c:pt idx="26">
                  <c:v>0.20079999999991849</c:v>
                </c:pt>
                <c:pt idx="27">
                  <c:v>0.19682703565098811</c:v>
                </c:pt>
                <c:pt idx="28">
                  <c:v>0.1927999999998905</c:v>
                </c:pt>
                <c:pt idx="29">
                  <c:v>0.18901815204168021</c:v>
                </c:pt>
                <c:pt idx="30">
                  <c:v>0.1854762719464082</c:v>
                </c:pt>
                <c:pt idx="31">
                  <c:v>0.18209299484350611</c:v>
                </c:pt>
                <c:pt idx="32">
                  <c:v>0.17879999999982951</c:v>
                </c:pt>
                <c:pt idx="33">
                  <c:v>0.17559421643388379</c:v>
                </c:pt>
                <c:pt idx="34">
                  <c:v>0.17259999999981601</c:v>
                </c:pt>
                <c:pt idx="35">
                  <c:v>0.16993521096101141</c:v>
                </c:pt>
                <c:pt idx="36">
                  <c:v>0.1674999999998219</c:v>
                </c:pt>
                <c:pt idx="37">
                  <c:v>0.16519964183474189</c:v>
                </c:pt>
                <c:pt idx="38">
                  <c:v>0.16303117225157809</c:v>
                </c:pt>
                <c:pt idx="39">
                  <c:v>0.16107547785268861</c:v>
                </c:pt>
                <c:pt idx="40">
                  <c:v>0.15939999999985729</c:v>
                </c:pt>
                <c:pt idx="41">
                  <c:v>0.15799805134805231</c:v>
                </c:pt>
                <c:pt idx="42">
                  <c:v>0.1568621604781088</c:v>
                </c:pt>
                <c:pt idx="43">
                  <c:v>0.1559174608177458</c:v>
                </c:pt>
                <c:pt idx="44">
                  <c:v>0.15509999999990881</c:v>
                </c:pt>
                <c:pt idx="45">
                  <c:v>0.15440545865774141</c:v>
                </c:pt>
                <c:pt idx="46">
                  <c:v>0.15382953227532251</c:v>
                </c:pt>
                <c:pt idx="47">
                  <c:v>0.15338977544025931</c:v>
                </c:pt>
                <c:pt idx="48">
                  <c:v>0.15309999999996521</c:v>
                </c:pt>
                <c:pt idx="49">
                  <c:v>0.1529541453499732</c:v>
                </c:pt>
                <c:pt idx="50">
                  <c:v>0.15294604348213051</c:v>
                </c:pt>
                <c:pt idx="51">
                  <c:v>0.15301244186347729</c:v>
                </c:pt>
                <c:pt idx="52">
                  <c:v>0.15310000000000409</c:v>
                </c:pt>
                <c:pt idx="53">
                  <c:v>0.15320774233790671</c:v>
                </c:pt>
                <c:pt idx="54">
                  <c:v>0.15333472872356699</c:v>
                </c:pt>
                <c:pt idx="55">
                  <c:v>0.15346888225464811</c:v>
                </c:pt>
                <c:pt idx="56">
                  <c:v>0.1536000000000351</c:v>
                </c:pt>
                <c:pt idx="57">
                  <c:v>0.1537281844782204</c:v>
                </c:pt>
                <c:pt idx="58">
                  <c:v>0.1616000000002293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2-E27E-4C0A-99B7-33696A982CB4}"/>
            </c:ext>
          </c:extLst>
        </c:ser>
        <c:ser>
          <c:idx val="19"/>
          <c:order val="19"/>
          <c:tx>
            <c:strRef>
              <c:f>Sheet1!$A$21</c:f>
              <c:strCache>
                <c:ptCount val="1"/>
                <c:pt idx="0">
                  <c:v>4.25</c:v>
                </c:pt>
              </c:strCache>
            </c:strRef>
          </c:tx>
          <c:spPr>
            <a:gradFill rotWithShape="1">
              <a:gsLst>
                <a:gs pos="0">
                  <a:schemeClr val="accent2">
                    <a:lumMod val="80000"/>
                    <a:tint val="50000"/>
                    <a:satMod val="300000"/>
                  </a:schemeClr>
                </a:gs>
                <a:gs pos="35000">
                  <a:schemeClr val="accent2">
                    <a:lumMod val="80000"/>
                    <a:tint val="37000"/>
                    <a:satMod val="300000"/>
                  </a:schemeClr>
                </a:gs>
                <a:gs pos="100000">
                  <a:schemeClr val="accent2">
                    <a:lumMod val="80000"/>
                    <a:tint val="15000"/>
                    <a:satMod val="350000"/>
                  </a:schemeClr>
                </a:gs>
              </a:gsLst>
              <a:lin ang="16200000" scaled="1"/>
            </a:gradFill>
            <a:ln w="9525" cap="flat" cmpd="sng" algn="ctr">
              <a:solidFill>
                <a:schemeClr val="accent2">
                  <a:lumMod val="80000"/>
                  <a:shade val="95000"/>
                </a:schemeClr>
              </a:solidFill>
              <a:round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  <a:sp3d contourW="9525">
              <a:contourClr>
                <a:schemeClr val="accent2">
                  <a:lumMod val="80000"/>
                  <a:shade val="95000"/>
                </a:schemeClr>
              </a:contourClr>
            </a:sp3d>
          </c:spPr>
          <c:cat>
            <c:numRef>
              <c:f>Sheet1!$B$1:$BH$1</c:f>
              <c:numCache>
                <c:formatCode>General</c:formatCode>
                <c:ptCount val="59"/>
                <c:pt idx="0">
                  <c:v>40</c:v>
                </c:pt>
                <c:pt idx="1">
                  <c:v>42.5</c:v>
                </c:pt>
                <c:pt idx="2">
                  <c:v>45</c:v>
                </c:pt>
                <c:pt idx="3">
                  <c:v>47.5</c:v>
                </c:pt>
                <c:pt idx="4">
                  <c:v>50</c:v>
                </c:pt>
                <c:pt idx="5">
                  <c:v>52.5</c:v>
                </c:pt>
                <c:pt idx="6">
                  <c:v>55</c:v>
                </c:pt>
                <c:pt idx="7">
                  <c:v>57.5</c:v>
                </c:pt>
                <c:pt idx="8">
                  <c:v>60</c:v>
                </c:pt>
                <c:pt idx="9">
                  <c:v>62.5</c:v>
                </c:pt>
                <c:pt idx="10">
                  <c:v>65</c:v>
                </c:pt>
                <c:pt idx="11">
                  <c:v>67.5</c:v>
                </c:pt>
                <c:pt idx="12">
                  <c:v>70</c:v>
                </c:pt>
                <c:pt idx="13">
                  <c:v>72.5</c:v>
                </c:pt>
                <c:pt idx="14">
                  <c:v>75</c:v>
                </c:pt>
                <c:pt idx="15">
                  <c:v>77.5</c:v>
                </c:pt>
                <c:pt idx="16">
                  <c:v>80</c:v>
                </c:pt>
                <c:pt idx="17">
                  <c:v>82.5</c:v>
                </c:pt>
                <c:pt idx="18">
                  <c:v>85</c:v>
                </c:pt>
                <c:pt idx="19">
                  <c:v>87.5</c:v>
                </c:pt>
                <c:pt idx="20">
                  <c:v>90</c:v>
                </c:pt>
                <c:pt idx="21">
                  <c:v>92.5</c:v>
                </c:pt>
                <c:pt idx="22">
                  <c:v>95</c:v>
                </c:pt>
                <c:pt idx="23">
                  <c:v>97.5</c:v>
                </c:pt>
                <c:pt idx="24">
                  <c:v>100</c:v>
                </c:pt>
                <c:pt idx="25">
                  <c:v>102.5</c:v>
                </c:pt>
                <c:pt idx="26">
                  <c:v>105</c:v>
                </c:pt>
                <c:pt idx="27">
                  <c:v>107.5</c:v>
                </c:pt>
                <c:pt idx="28">
                  <c:v>110</c:v>
                </c:pt>
                <c:pt idx="29">
                  <c:v>112.5</c:v>
                </c:pt>
                <c:pt idx="30">
                  <c:v>115</c:v>
                </c:pt>
                <c:pt idx="31">
                  <c:v>117.5</c:v>
                </c:pt>
                <c:pt idx="32">
                  <c:v>120</c:v>
                </c:pt>
                <c:pt idx="33">
                  <c:v>122.5</c:v>
                </c:pt>
                <c:pt idx="34">
                  <c:v>125</c:v>
                </c:pt>
                <c:pt idx="35">
                  <c:v>127.5</c:v>
                </c:pt>
                <c:pt idx="36">
                  <c:v>130</c:v>
                </c:pt>
                <c:pt idx="37">
                  <c:v>132.5</c:v>
                </c:pt>
                <c:pt idx="38">
                  <c:v>135</c:v>
                </c:pt>
                <c:pt idx="39">
                  <c:v>137.5</c:v>
                </c:pt>
                <c:pt idx="40">
                  <c:v>140</c:v>
                </c:pt>
                <c:pt idx="41">
                  <c:v>142.5</c:v>
                </c:pt>
                <c:pt idx="42">
                  <c:v>145</c:v>
                </c:pt>
                <c:pt idx="43">
                  <c:v>147.5</c:v>
                </c:pt>
                <c:pt idx="44">
                  <c:v>150</c:v>
                </c:pt>
                <c:pt idx="45">
                  <c:v>152.5</c:v>
                </c:pt>
                <c:pt idx="46">
                  <c:v>155</c:v>
                </c:pt>
                <c:pt idx="47">
                  <c:v>157.5</c:v>
                </c:pt>
                <c:pt idx="48">
                  <c:v>160</c:v>
                </c:pt>
                <c:pt idx="49">
                  <c:v>162.5</c:v>
                </c:pt>
                <c:pt idx="50">
                  <c:v>165</c:v>
                </c:pt>
                <c:pt idx="51">
                  <c:v>167.5</c:v>
                </c:pt>
                <c:pt idx="52">
                  <c:v>170</c:v>
                </c:pt>
                <c:pt idx="53">
                  <c:v>172.5</c:v>
                </c:pt>
                <c:pt idx="54">
                  <c:v>175</c:v>
                </c:pt>
                <c:pt idx="55">
                  <c:v>177.5</c:v>
                </c:pt>
                <c:pt idx="56">
                  <c:v>180</c:v>
                </c:pt>
                <c:pt idx="57">
                  <c:v>182.5</c:v>
                </c:pt>
                <c:pt idx="58">
                  <c:v>1000</c:v>
                </c:pt>
              </c:numCache>
            </c:numRef>
          </c:cat>
          <c:val>
            <c:numRef>
              <c:f>Sheet1!$B$21:$BH$21</c:f>
              <c:numCache>
                <c:formatCode>General</c:formatCode>
                <c:ptCount val="59"/>
                <c:pt idx="0">
                  <c:v>0.32579431570535189</c:v>
                </c:pt>
                <c:pt idx="1">
                  <c:v>0.31820947451849479</c:v>
                </c:pt>
                <c:pt idx="2">
                  <c:v>0.31106813211488071</c:v>
                </c:pt>
                <c:pt idx="3">
                  <c:v>0.30432240775662461</c:v>
                </c:pt>
                <c:pt idx="4">
                  <c:v>0.29793180203978559</c:v>
                </c:pt>
                <c:pt idx="5">
                  <c:v>0.29186175441409512</c:v>
                </c:pt>
                <c:pt idx="6">
                  <c:v>0.28608263018299868</c:v>
                </c:pt>
                <c:pt idx="7">
                  <c:v>0.28058147046165782</c:v>
                </c:pt>
                <c:pt idx="8">
                  <c:v>0.27534375001424349</c:v>
                </c:pt>
                <c:pt idx="9">
                  <c:v>0.27034834927458018</c:v>
                </c:pt>
                <c:pt idx="10">
                  <c:v>0.26557647928964762</c:v>
                </c:pt>
                <c:pt idx="11">
                  <c:v>0.26098063482418538</c:v>
                </c:pt>
                <c:pt idx="12">
                  <c:v>0.25652526253935642</c:v>
                </c:pt>
                <c:pt idx="13">
                  <c:v>0.25220010488123928</c:v>
                </c:pt>
                <c:pt idx="14">
                  <c:v>0.2479958425186059</c:v>
                </c:pt>
                <c:pt idx="15">
                  <c:v>0.24388346210841791</c:v>
                </c:pt>
                <c:pt idx="16">
                  <c:v>0.23984057854300511</c:v>
                </c:pt>
                <c:pt idx="17">
                  <c:v>0.23586181470397091</c:v>
                </c:pt>
                <c:pt idx="18">
                  <c:v>0.23194181003900449</c:v>
                </c:pt>
                <c:pt idx="19">
                  <c:v>0.22795409859961849</c:v>
                </c:pt>
                <c:pt idx="20">
                  <c:v>0.22380216327997129</c:v>
                </c:pt>
                <c:pt idx="21">
                  <c:v>0.21948769309445451</c:v>
                </c:pt>
                <c:pt idx="22">
                  <c:v>0.21528042066223871</c:v>
                </c:pt>
                <c:pt idx="23">
                  <c:v>0.21142798673186489</c:v>
                </c:pt>
                <c:pt idx="24">
                  <c:v>0.2078418090887944</c:v>
                </c:pt>
                <c:pt idx="25">
                  <c:v>0.2044400232734096</c:v>
                </c:pt>
                <c:pt idx="26">
                  <c:v>0.20100398918987611</c:v>
                </c:pt>
                <c:pt idx="27">
                  <c:v>0.1973311975117745</c:v>
                </c:pt>
                <c:pt idx="28">
                  <c:v>0.19361912835706341</c:v>
                </c:pt>
                <c:pt idx="29">
                  <c:v>0.19005240136193399</c:v>
                </c:pt>
                <c:pt idx="30">
                  <c:v>0.18662667687903839</c:v>
                </c:pt>
                <c:pt idx="31">
                  <c:v>0.18333745898760931</c:v>
                </c:pt>
                <c:pt idx="32">
                  <c:v>0.18018060211738249</c:v>
                </c:pt>
                <c:pt idx="33">
                  <c:v>0.1771526025209193</c:v>
                </c:pt>
                <c:pt idx="34">
                  <c:v>0.17430802447284691</c:v>
                </c:pt>
                <c:pt idx="35">
                  <c:v>0.17169833937744799</c:v>
                </c:pt>
                <c:pt idx="36">
                  <c:v>0.1692682667978119</c:v>
                </c:pt>
                <c:pt idx="37">
                  <c:v>0.16696547602480069</c:v>
                </c:pt>
                <c:pt idx="38">
                  <c:v>0.16478708622569929</c:v>
                </c:pt>
                <c:pt idx="39">
                  <c:v>0.16281294229333579</c:v>
                </c:pt>
                <c:pt idx="40">
                  <c:v>0.16110965592582191</c:v>
                </c:pt>
                <c:pt idx="41">
                  <c:v>0.15967078569452059</c:v>
                </c:pt>
                <c:pt idx="42">
                  <c:v>0.15848918636970469</c:v>
                </c:pt>
                <c:pt idx="43">
                  <c:v>0.15748795861941189</c:v>
                </c:pt>
                <c:pt idx="44">
                  <c:v>0.15660151115803059</c:v>
                </c:pt>
                <c:pt idx="45">
                  <c:v>0.15582606198328761</c:v>
                </c:pt>
                <c:pt idx="46">
                  <c:v>0.1551578769232102</c:v>
                </c:pt>
                <c:pt idx="47">
                  <c:v>0.1546237357295536</c:v>
                </c:pt>
                <c:pt idx="48">
                  <c:v>0.1542452838712442</c:v>
                </c:pt>
                <c:pt idx="49">
                  <c:v>0.15401648318896269</c:v>
                </c:pt>
                <c:pt idx="50">
                  <c:v>0.15393116029618131</c:v>
                </c:pt>
                <c:pt idx="51">
                  <c:v>0.15392657691694461</c:v>
                </c:pt>
                <c:pt idx="52">
                  <c:v>0.15394969225828911</c:v>
                </c:pt>
                <c:pt idx="53">
                  <c:v>0.15399928513211569</c:v>
                </c:pt>
                <c:pt idx="54">
                  <c:v>0.15407417481654789</c:v>
                </c:pt>
                <c:pt idx="55">
                  <c:v>0.15415972739161979</c:v>
                </c:pt>
                <c:pt idx="56">
                  <c:v>0.15424355585842359</c:v>
                </c:pt>
                <c:pt idx="57">
                  <c:v>0.1543257158434557</c:v>
                </c:pt>
                <c:pt idx="58">
                  <c:v>0.1607613412019316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3-E27E-4C0A-99B7-33696A982CB4}"/>
            </c:ext>
          </c:extLst>
        </c:ser>
        <c:ser>
          <c:idx val="20"/>
          <c:order val="20"/>
          <c:tx>
            <c:strRef>
              <c:f>Sheet1!$A$22</c:f>
              <c:strCache>
                <c:ptCount val="1"/>
                <c:pt idx="0">
                  <c:v>4.5</c:v>
                </c:pt>
              </c:strCache>
            </c:strRef>
          </c:tx>
          <c:spPr>
            <a:gradFill rotWithShape="1">
              <a:gsLst>
                <a:gs pos="0">
                  <a:schemeClr val="accent3">
                    <a:lumMod val="80000"/>
                    <a:tint val="50000"/>
                    <a:satMod val="300000"/>
                  </a:schemeClr>
                </a:gs>
                <a:gs pos="35000">
                  <a:schemeClr val="accent3">
                    <a:lumMod val="80000"/>
                    <a:tint val="37000"/>
                    <a:satMod val="300000"/>
                  </a:schemeClr>
                </a:gs>
                <a:gs pos="100000">
                  <a:schemeClr val="accent3">
                    <a:lumMod val="80000"/>
                    <a:tint val="15000"/>
                    <a:satMod val="350000"/>
                  </a:schemeClr>
                </a:gs>
              </a:gsLst>
              <a:lin ang="16200000" scaled="1"/>
            </a:gradFill>
            <a:ln w="9525" cap="flat" cmpd="sng" algn="ctr">
              <a:solidFill>
                <a:schemeClr val="accent3">
                  <a:lumMod val="80000"/>
                  <a:shade val="95000"/>
                </a:schemeClr>
              </a:solidFill>
              <a:round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  <a:sp3d contourW="9525">
              <a:contourClr>
                <a:schemeClr val="accent3">
                  <a:lumMod val="80000"/>
                  <a:shade val="95000"/>
                </a:schemeClr>
              </a:contourClr>
            </a:sp3d>
          </c:spPr>
          <c:cat>
            <c:numRef>
              <c:f>Sheet1!$B$1:$BH$1</c:f>
              <c:numCache>
                <c:formatCode>General</c:formatCode>
                <c:ptCount val="59"/>
                <c:pt idx="0">
                  <c:v>40</c:v>
                </c:pt>
                <c:pt idx="1">
                  <c:v>42.5</c:v>
                </c:pt>
                <c:pt idx="2">
                  <c:v>45</c:v>
                </c:pt>
                <c:pt idx="3">
                  <c:v>47.5</c:v>
                </c:pt>
                <c:pt idx="4">
                  <c:v>50</c:v>
                </c:pt>
                <c:pt idx="5">
                  <c:v>52.5</c:v>
                </c:pt>
                <c:pt idx="6">
                  <c:v>55</c:v>
                </c:pt>
                <c:pt idx="7">
                  <c:v>57.5</c:v>
                </c:pt>
                <c:pt idx="8">
                  <c:v>60</c:v>
                </c:pt>
                <c:pt idx="9">
                  <c:v>62.5</c:v>
                </c:pt>
                <c:pt idx="10">
                  <c:v>65</c:v>
                </c:pt>
                <c:pt idx="11">
                  <c:v>67.5</c:v>
                </c:pt>
                <c:pt idx="12">
                  <c:v>70</c:v>
                </c:pt>
                <c:pt idx="13">
                  <c:v>72.5</c:v>
                </c:pt>
                <c:pt idx="14">
                  <c:v>75</c:v>
                </c:pt>
                <c:pt idx="15">
                  <c:v>77.5</c:v>
                </c:pt>
                <c:pt idx="16">
                  <c:v>80</c:v>
                </c:pt>
                <c:pt idx="17">
                  <c:v>82.5</c:v>
                </c:pt>
                <c:pt idx="18">
                  <c:v>85</c:v>
                </c:pt>
                <c:pt idx="19">
                  <c:v>87.5</c:v>
                </c:pt>
                <c:pt idx="20">
                  <c:v>90</c:v>
                </c:pt>
                <c:pt idx="21">
                  <c:v>92.5</c:v>
                </c:pt>
                <c:pt idx="22">
                  <c:v>95</c:v>
                </c:pt>
                <c:pt idx="23">
                  <c:v>97.5</c:v>
                </c:pt>
                <c:pt idx="24">
                  <c:v>100</c:v>
                </c:pt>
                <c:pt idx="25">
                  <c:v>102.5</c:v>
                </c:pt>
                <c:pt idx="26">
                  <c:v>105</c:v>
                </c:pt>
                <c:pt idx="27">
                  <c:v>107.5</c:v>
                </c:pt>
                <c:pt idx="28">
                  <c:v>110</c:v>
                </c:pt>
                <c:pt idx="29">
                  <c:v>112.5</c:v>
                </c:pt>
                <c:pt idx="30">
                  <c:v>115</c:v>
                </c:pt>
                <c:pt idx="31">
                  <c:v>117.5</c:v>
                </c:pt>
                <c:pt idx="32">
                  <c:v>120</c:v>
                </c:pt>
                <c:pt idx="33">
                  <c:v>122.5</c:v>
                </c:pt>
                <c:pt idx="34">
                  <c:v>125</c:v>
                </c:pt>
                <c:pt idx="35">
                  <c:v>127.5</c:v>
                </c:pt>
                <c:pt idx="36">
                  <c:v>130</c:v>
                </c:pt>
                <c:pt idx="37">
                  <c:v>132.5</c:v>
                </c:pt>
                <c:pt idx="38">
                  <c:v>135</c:v>
                </c:pt>
                <c:pt idx="39">
                  <c:v>137.5</c:v>
                </c:pt>
                <c:pt idx="40">
                  <c:v>140</c:v>
                </c:pt>
                <c:pt idx="41">
                  <c:v>142.5</c:v>
                </c:pt>
                <c:pt idx="42">
                  <c:v>145</c:v>
                </c:pt>
                <c:pt idx="43">
                  <c:v>147.5</c:v>
                </c:pt>
                <c:pt idx="44">
                  <c:v>150</c:v>
                </c:pt>
                <c:pt idx="45">
                  <c:v>152.5</c:v>
                </c:pt>
                <c:pt idx="46">
                  <c:v>155</c:v>
                </c:pt>
                <c:pt idx="47">
                  <c:v>157.5</c:v>
                </c:pt>
                <c:pt idx="48">
                  <c:v>160</c:v>
                </c:pt>
                <c:pt idx="49">
                  <c:v>162.5</c:v>
                </c:pt>
                <c:pt idx="50">
                  <c:v>165</c:v>
                </c:pt>
                <c:pt idx="51">
                  <c:v>167.5</c:v>
                </c:pt>
                <c:pt idx="52">
                  <c:v>170</c:v>
                </c:pt>
                <c:pt idx="53">
                  <c:v>172.5</c:v>
                </c:pt>
                <c:pt idx="54">
                  <c:v>175</c:v>
                </c:pt>
                <c:pt idx="55">
                  <c:v>177.5</c:v>
                </c:pt>
                <c:pt idx="56">
                  <c:v>180</c:v>
                </c:pt>
                <c:pt idx="57">
                  <c:v>182.5</c:v>
                </c:pt>
                <c:pt idx="58">
                  <c:v>1000</c:v>
                </c:pt>
              </c:numCache>
            </c:numRef>
          </c:cat>
          <c:val>
            <c:numRef>
              <c:f>Sheet1!$B$22:$BH$22</c:f>
              <c:numCache>
                <c:formatCode>General</c:formatCode>
                <c:ptCount val="59"/>
                <c:pt idx="0">
                  <c:v>0.32048313771939629</c:v>
                </c:pt>
                <c:pt idx="1">
                  <c:v>0.31315906882570133</c:v>
                </c:pt>
                <c:pt idx="2">
                  <c:v>0.30629603779480807</c:v>
                </c:pt>
                <c:pt idx="3">
                  <c:v>0.29984453823212431</c:v>
                </c:pt>
                <c:pt idx="4">
                  <c:v>0.29376270924330289</c:v>
                </c:pt>
                <c:pt idx="5">
                  <c:v>0.28801483909534498</c:v>
                </c:pt>
                <c:pt idx="6">
                  <c:v>0.28257019018699009</c:v>
                </c:pt>
                <c:pt idx="7">
                  <c:v>0.27739839532380178</c:v>
                </c:pt>
                <c:pt idx="8">
                  <c:v>0.2724739403062128</c:v>
                </c:pt>
                <c:pt idx="9">
                  <c:v>0.26777691843832091</c:v>
                </c:pt>
                <c:pt idx="10">
                  <c:v>0.26328943002140681</c:v>
                </c:pt>
                <c:pt idx="11">
                  <c:v>0.25893117317128789</c:v>
                </c:pt>
                <c:pt idx="12">
                  <c:v>0.25464490255834521</c:v>
                </c:pt>
                <c:pt idx="13">
                  <c:v>0.25042441260772291</c:v>
                </c:pt>
                <c:pt idx="14">
                  <c:v>0.2462641579872494</c:v>
                </c:pt>
                <c:pt idx="15">
                  <c:v>0.24219747182788551</c:v>
                </c:pt>
                <c:pt idx="16">
                  <c:v>0.23824713936924161</c:v>
                </c:pt>
                <c:pt idx="17">
                  <c:v>0.23440577905283791</c:v>
                </c:pt>
                <c:pt idx="18">
                  <c:v>0.23066625986894301</c:v>
                </c:pt>
                <c:pt idx="19">
                  <c:v>0.22689531050731501</c:v>
                </c:pt>
                <c:pt idx="20">
                  <c:v>0.22299160303278531</c:v>
                </c:pt>
                <c:pt idx="21">
                  <c:v>0.21895682577442041</c:v>
                </c:pt>
                <c:pt idx="22">
                  <c:v>0.2149926000867235</c:v>
                </c:pt>
                <c:pt idx="23">
                  <c:v>0.21128318050684461</c:v>
                </c:pt>
                <c:pt idx="24">
                  <c:v>0.20778946096204109</c:v>
                </c:pt>
                <c:pt idx="25">
                  <c:v>0.20447533953856231</c:v>
                </c:pt>
                <c:pt idx="26">
                  <c:v>0.20118727095922781</c:v>
                </c:pt>
                <c:pt idx="27">
                  <c:v>0.19778351969242361</c:v>
                </c:pt>
                <c:pt idx="28">
                  <c:v>0.19435286583151079</c:v>
                </c:pt>
                <c:pt idx="29">
                  <c:v>0.19097777350922149</c:v>
                </c:pt>
                <c:pt idx="30">
                  <c:v>0.1876552743736645</c:v>
                </c:pt>
                <c:pt idx="31">
                  <c:v>0.18444950126412121</c:v>
                </c:pt>
                <c:pt idx="32">
                  <c:v>0.1814132781313276</c:v>
                </c:pt>
                <c:pt idx="33">
                  <c:v>0.17854252555352229</c:v>
                </c:pt>
                <c:pt idx="34">
                  <c:v>0.17582997204684531</c:v>
                </c:pt>
                <c:pt idx="35">
                  <c:v>0.1732686926622842</c:v>
                </c:pt>
                <c:pt idx="36">
                  <c:v>0.1708429330538484</c:v>
                </c:pt>
                <c:pt idx="37">
                  <c:v>0.16853778429947899</c:v>
                </c:pt>
                <c:pt idx="38">
                  <c:v>0.1663504443265936</c:v>
                </c:pt>
                <c:pt idx="39">
                  <c:v>0.16435985093118799</c:v>
                </c:pt>
                <c:pt idx="40">
                  <c:v>0.1626318916005853</c:v>
                </c:pt>
                <c:pt idx="41">
                  <c:v>0.16116033744470029</c:v>
                </c:pt>
                <c:pt idx="42">
                  <c:v>0.1599383221369394</c:v>
                </c:pt>
                <c:pt idx="43">
                  <c:v>0.1588871336630811</c:v>
                </c:pt>
                <c:pt idx="44">
                  <c:v>0.15793970924415071</c:v>
                </c:pt>
                <c:pt idx="45">
                  <c:v>0.15709271489212029</c:v>
                </c:pt>
                <c:pt idx="46">
                  <c:v>0.15634288942990099</c:v>
                </c:pt>
                <c:pt idx="47">
                  <c:v>0.15572515141980511</c:v>
                </c:pt>
                <c:pt idx="48">
                  <c:v>0.15526808403140679</c:v>
                </c:pt>
                <c:pt idx="49">
                  <c:v>0.15496568064186231</c:v>
                </c:pt>
                <c:pt idx="50">
                  <c:v>0.15481177479527769</c:v>
                </c:pt>
                <c:pt idx="51">
                  <c:v>0.15474409542863701</c:v>
                </c:pt>
                <c:pt idx="52">
                  <c:v>0.15470988037689309</c:v>
                </c:pt>
                <c:pt idx="53">
                  <c:v>0.15470770312837079</c:v>
                </c:pt>
                <c:pt idx="54">
                  <c:v>0.1547361803292189</c:v>
                </c:pt>
                <c:pt idx="55">
                  <c:v>0.15477840786183911</c:v>
                </c:pt>
                <c:pt idx="56">
                  <c:v>0.1548200553657505</c:v>
                </c:pt>
                <c:pt idx="57">
                  <c:v>0.15486113868920251</c:v>
                </c:pt>
                <c:pt idx="58">
                  <c:v>0.1600033359333538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4-E27E-4C0A-99B7-33696A982CB4}"/>
            </c:ext>
          </c:extLst>
        </c:ser>
        <c:ser>
          <c:idx val="21"/>
          <c:order val="21"/>
          <c:tx>
            <c:strRef>
              <c:f>Sheet1!$A$23</c:f>
              <c:strCache>
                <c:ptCount val="1"/>
                <c:pt idx="0">
                  <c:v>4.75</c:v>
                </c:pt>
              </c:strCache>
            </c:strRef>
          </c:tx>
          <c:spPr>
            <a:gradFill rotWithShape="1">
              <a:gsLst>
                <a:gs pos="0">
                  <a:schemeClr val="accent4">
                    <a:lumMod val="80000"/>
                    <a:tint val="50000"/>
                    <a:satMod val="300000"/>
                  </a:schemeClr>
                </a:gs>
                <a:gs pos="35000">
                  <a:schemeClr val="accent4">
                    <a:lumMod val="80000"/>
                    <a:tint val="37000"/>
                    <a:satMod val="300000"/>
                  </a:schemeClr>
                </a:gs>
                <a:gs pos="100000">
                  <a:schemeClr val="accent4">
                    <a:lumMod val="80000"/>
                    <a:tint val="15000"/>
                    <a:satMod val="350000"/>
                  </a:schemeClr>
                </a:gs>
              </a:gsLst>
              <a:lin ang="16200000" scaled="1"/>
            </a:gradFill>
            <a:ln w="9525" cap="flat" cmpd="sng" algn="ctr">
              <a:solidFill>
                <a:schemeClr val="accent4">
                  <a:lumMod val="80000"/>
                  <a:shade val="95000"/>
                </a:schemeClr>
              </a:solidFill>
              <a:round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  <a:sp3d contourW="9525">
              <a:contourClr>
                <a:schemeClr val="accent4">
                  <a:lumMod val="80000"/>
                  <a:shade val="95000"/>
                </a:schemeClr>
              </a:contourClr>
            </a:sp3d>
          </c:spPr>
          <c:cat>
            <c:numRef>
              <c:f>Sheet1!$B$1:$BH$1</c:f>
              <c:numCache>
                <c:formatCode>General</c:formatCode>
                <c:ptCount val="59"/>
                <c:pt idx="0">
                  <c:v>40</c:v>
                </c:pt>
                <c:pt idx="1">
                  <c:v>42.5</c:v>
                </c:pt>
                <c:pt idx="2">
                  <c:v>45</c:v>
                </c:pt>
                <c:pt idx="3">
                  <c:v>47.5</c:v>
                </c:pt>
                <c:pt idx="4">
                  <c:v>50</c:v>
                </c:pt>
                <c:pt idx="5">
                  <c:v>52.5</c:v>
                </c:pt>
                <c:pt idx="6">
                  <c:v>55</c:v>
                </c:pt>
                <c:pt idx="7">
                  <c:v>57.5</c:v>
                </c:pt>
                <c:pt idx="8">
                  <c:v>60</c:v>
                </c:pt>
                <c:pt idx="9">
                  <c:v>62.5</c:v>
                </c:pt>
                <c:pt idx="10">
                  <c:v>65</c:v>
                </c:pt>
                <c:pt idx="11">
                  <c:v>67.5</c:v>
                </c:pt>
                <c:pt idx="12">
                  <c:v>70</c:v>
                </c:pt>
                <c:pt idx="13">
                  <c:v>72.5</c:v>
                </c:pt>
                <c:pt idx="14">
                  <c:v>75</c:v>
                </c:pt>
                <c:pt idx="15">
                  <c:v>77.5</c:v>
                </c:pt>
                <c:pt idx="16">
                  <c:v>80</c:v>
                </c:pt>
                <c:pt idx="17">
                  <c:v>82.5</c:v>
                </c:pt>
                <c:pt idx="18">
                  <c:v>85</c:v>
                </c:pt>
                <c:pt idx="19">
                  <c:v>87.5</c:v>
                </c:pt>
                <c:pt idx="20">
                  <c:v>90</c:v>
                </c:pt>
                <c:pt idx="21">
                  <c:v>92.5</c:v>
                </c:pt>
                <c:pt idx="22">
                  <c:v>95</c:v>
                </c:pt>
                <c:pt idx="23">
                  <c:v>97.5</c:v>
                </c:pt>
                <c:pt idx="24">
                  <c:v>100</c:v>
                </c:pt>
                <c:pt idx="25">
                  <c:v>102.5</c:v>
                </c:pt>
                <c:pt idx="26">
                  <c:v>105</c:v>
                </c:pt>
                <c:pt idx="27">
                  <c:v>107.5</c:v>
                </c:pt>
                <c:pt idx="28">
                  <c:v>110</c:v>
                </c:pt>
                <c:pt idx="29">
                  <c:v>112.5</c:v>
                </c:pt>
                <c:pt idx="30">
                  <c:v>115</c:v>
                </c:pt>
                <c:pt idx="31">
                  <c:v>117.5</c:v>
                </c:pt>
                <c:pt idx="32">
                  <c:v>120</c:v>
                </c:pt>
                <c:pt idx="33">
                  <c:v>122.5</c:v>
                </c:pt>
                <c:pt idx="34">
                  <c:v>125</c:v>
                </c:pt>
                <c:pt idx="35">
                  <c:v>127.5</c:v>
                </c:pt>
                <c:pt idx="36">
                  <c:v>130</c:v>
                </c:pt>
                <c:pt idx="37">
                  <c:v>132.5</c:v>
                </c:pt>
                <c:pt idx="38">
                  <c:v>135</c:v>
                </c:pt>
                <c:pt idx="39">
                  <c:v>137.5</c:v>
                </c:pt>
                <c:pt idx="40">
                  <c:v>140</c:v>
                </c:pt>
                <c:pt idx="41">
                  <c:v>142.5</c:v>
                </c:pt>
                <c:pt idx="42">
                  <c:v>145</c:v>
                </c:pt>
                <c:pt idx="43">
                  <c:v>147.5</c:v>
                </c:pt>
                <c:pt idx="44">
                  <c:v>150</c:v>
                </c:pt>
                <c:pt idx="45">
                  <c:v>152.5</c:v>
                </c:pt>
                <c:pt idx="46">
                  <c:v>155</c:v>
                </c:pt>
                <c:pt idx="47">
                  <c:v>157.5</c:v>
                </c:pt>
                <c:pt idx="48">
                  <c:v>160</c:v>
                </c:pt>
                <c:pt idx="49">
                  <c:v>162.5</c:v>
                </c:pt>
                <c:pt idx="50">
                  <c:v>165</c:v>
                </c:pt>
                <c:pt idx="51">
                  <c:v>167.5</c:v>
                </c:pt>
                <c:pt idx="52">
                  <c:v>170</c:v>
                </c:pt>
                <c:pt idx="53">
                  <c:v>172.5</c:v>
                </c:pt>
                <c:pt idx="54">
                  <c:v>175</c:v>
                </c:pt>
                <c:pt idx="55">
                  <c:v>177.5</c:v>
                </c:pt>
                <c:pt idx="56">
                  <c:v>180</c:v>
                </c:pt>
                <c:pt idx="57">
                  <c:v>182.5</c:v>
                </c:pt>
                <c:pt idx="58">
                  <c:v>1000</c:v>
                </c:pt>
              </c:numCache>
            </c:numRef>
          </c:cat>
          <c:val>
            <c:numRef>
              <c:f>Sheet1!$B$23:$BH$23</c:f>
              <c:numCache>
                <c:formatCode>General</c:formatCode>
                <c:ptCount val="59"/>
                <c:pt idx="0">
                  <c:v>0.31565529014786192</c:v>
                </c:pt>
                <c:pt idx="1">
                  <c:v>0.30857022586467642</c:v>
                </c:pt>
                <c:pt idx="2">
                  <c:v>0.30196234967295721</c:v>
                </c:pt>
                <c:pt idx="3">
                  <c:v>0.2957805660858695</c:v>
                </c:pt>
                <c:pt idx="4">
                  <c:v>0.2899816653893188</c:v>
                </c:pt>
                <c:pt idx="5">
                  <c:v>0.28452877836907631</c:v>
                </c:pt>
                <c:pt idx="6">
                  <c:v>0.27939005311307807</c:v>
                </c:pt>
                <c:pt idx="7">
                  <c:v>0.27451909756083442</c:v>
                </c:pt>
                <c:pt idx="8">
                  <c:v>0.26988034988562543</c:v>
                </c:pt>
                <c:pt idx="9">
                  <c:v>0.26545505125472207</c:v>
                </c:pt>
                <c:pt idx="10">
                  <c:v>0.26122615072343403</c:v>
                </c:pt>
                <c:pt idx="11">
                  <c:v>0.25708359566388339</c:v>
                </c:pt>
                <c:pt idx="12">
                  <c:v>0.25295062706376759</c:v>
                </c:pt>
                <c:pt idx="13">
                  <c:v>0.24882489426792001</c:v>
                </c:pt>
                <c:pt idx="14">
                  <c:v>0.24470436878204449</c:v>
                </c:pt>
                <c:pt idx="15">
                  <c:v>0.24067894321379771</c:v>
                </c:pt>
                <c:pt idx="16">
                  <c:v>0.23681234254654129</c:v>
                </c:pt>
                <c:pt idx="17">
                  <c:v>0.23309530096627271</c:v>
                </c:pt>
                <c:pt idx="18">
                  <c:v>0.2295189693752519</c:v>
                </c:pt>
                <c:pt idx="19">
                  <c:v>0.22594376819365269</c:v>
                </c:pt>
                <c:pt idx="20">
                  <c:v>0.2222638593065758</c:v>
                </c:pt>
                <c:pt idx="21">
                  <c:v>0.21848074584283919</c:v>
                </c:pt>
                <c:pt idx="22">
                  <c:v>0.21473474940825751</c:v>
                </c:pt>
                <c:pt idx="23">
                  <c:v>0.2111535328659718</c:v>
                </c:pt>
                <c:pt idx="24">
                  <c:v>0.20774261198315541</c:v>
                </c:pt>
                <c:pt idx="25">
                  <c:v>0.2045069331325346</c:v>
                </c:pt>
                <c:pt idx="26">
                  <c:v>0.2013511184947484</c:v>
                </c:pt>
                <c:pt idx="27">
                  <c:v>0.19818735396149431</c:v>
                </c:pt>
                <c:pt idx="28">
                  <c:v>0.19500702763739081</c:v>
                </c:pt>
                <c:pt idx="29">
                  <c:v>0.19180195372543479</c:v>
                </c:pt>
                <c:pt idx="30">
                  <c:v>0.18857084263085039</c:v>
                </c:pt>
                <c:pt idx="31">
                  <c:v>0.18543883384249471</c:v>
                </c:pt>
                <c:pt idx="32">
                  <c:v>0.18250914179198</c:v>
                </c:pt>
                <c:pt idx="33">
                  <c:v>0.17977703232179371</c:v>
                </c:pt>
                <c:pt idx="34">
                  <c:v>0.1771806334899568</c:v>
                </c:pt>
                <c:pt idx="35">
                  <c:v>0.174661778300648</c:v>
                </c:pt>
                <c:pt idx="36">
                  <c:v>0.17223964263710631</c:v>
                </c:pt>
                <c:pt idx="37">
                  <c:v>0.1699322554471257</c:v>
                </c:pt>
                <c:pt idx="38">
                  <c:v>0.16773688785851351</c:v>
                </c:pt>
                <c:pt idx="39">
                  <c:v>0.16573168875637859</c:v>
                </c:pt>
                <c:pt idx="40">
                  <c:v>0.1639819144405098</c:v>
                </c:pt>
                <c:pt idx="41">
                  <c:v>0.16248151967421981</c:v>
                </c:pt>
                <c:pt idx="42">
                  <c:v>0.16122387681224529</c:v>
                </c:pt>
                <c:pt idx="43">
                  <c:v>0.16012866436914019</c:v>
                </c:pt>
                <c:pt idx="44">
                  <c:v>0.15912750550752941</c:v>
                </c:pt>
                <c:pt idx="45">
                  <c:v>0.15821744057062101</c:v>
                </c:pt>
                <c:pt idx="46">
                  <c:v>0.1573956014228651</c:v>
                </c:pt>
                <c:pt idx="47">
                  <c:v>0.15670406674996909</c:v>
                </c:pt>
                <c:pt idx="48">
                  <c:v>0.1561775433576483</c:v>
                </c:pt>
                <c:pt idx="49">
                  <c:v>0.15581006111835599</c:v>
                </c:pt>
                <c:pt idx="50">
                  <c:v>0.1555954684560861</c:v>
                </c:pt>
                <c:pt idx="51">
                  <c:v>0.1554719155782297</c:v>
                </c:pt>
                <c:pt idx="52">
                  <c:v>0.1553868963206628</c:v>
                </c:pt>
                <c:pt idx="53">
                  <c:v>0.15533881232914801</c:v>
                </c:pt>
                <c:pt idx="54">
                  <c:v>0.1553261094451136</c:v>
                </c:pt>
                <c:pt idx="55">
                  <c:v>0.15532987530923281</c:v>
                </c:pt>
                <c:pt idx="56">
                  <c:v>0.1553340571086588</c:v>
                </c:pt>
                <c:pt idx="57">
                  <c:v>0.15533863691270991</c:v>
                </c:pt>
                <c:pt idx="58">
                  <c:v>0.1593220638116913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5-E27E-4C0A-99B7-33696A982CB4}"/>
            </c:ext>
          </c:extLst>
        </c:ser>
        <c:ser>
          <c:idx val="22"/>
          <c:order val="22"/>
          <c:tx>
            <c:strRef>
              <c:f>Sheet1!$A$24</c:f>
              <c:strCache>
                <c:ptCount val="1"/>
                <c:pt idx="0">
                  <c:v>5.002739726</c:v>
                </c:pt>
              </c:strCache>
            </c:strRef>
          </c:tx>
          <c:spPr>
            <a:gradFill rotWithShape="1">
              <a:gsLst>
                <a:gs pos="0">
                  <a:schemeClr val="accent5">
                    <a:lumMod val="80000"/>
                    <a:tint val="50000"/>
                    <a:satMod val="300000"/>
                  </a:schemeClr>
                </a:gs>
                <a:gs pos="35000">
                  <a:schemeClr val="accent5">
                    <a:lumMod val="80000"/>
                    <a:tint val="37000"/>
                    <a:satMod val="300000"/>
                  </a:schemeClr>
                </a:gs>
                <a:gs pos="100000">
                  <a:schemeClr val="accent5">
                    <a:lumMod val="80000"/>
                    <a:tint val="15000"/>
                    <a:satMod val="350000"/>
                  </a:schemeClr>
                </a:gs>
              </a:gsLst>
              <a:lin ang="16200000" scaled="1"/>
            </a:gradFill>
            <a:ln w="9525" cap="flat" cmpd="sng" algn="ctr">
              <a:solidFill>
                <a:schemeClr val="accent5">
                  <a:lumMod val="80000"/>
                  <a:shade val="95000"/>
                </a:schemeClr>
              </a:solidFill>
              <a:round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  <a:sp3d contourW="9525">
              <a:contourClr>
                <a:schemeClr val="accent5">
                  <a:lumMod val="80000"/>
                  <a:shade val="95000"/>
                </a:schemeClr>
              </a:contourClr>
            </a:sp3d>
          </c:spPr>
          <c:cat>
            <c:numRef>
              <c:f>Sheet1!$B$1:$BH$1</c:f>
              <c:numCache>
                <c:formatCode>General</c:formatCode>
                <c:ptCount val="59"/>
                <c:pt idx="0">
                  <c:v>40</c:v>
                </c:pt>
                <c:pt idx="1">
                  <c:v>42.5</c:v>
                </c:pt>
                <c:pt idx="2">
                  <c:v>45</c:v>
                </c:pt>
                <c:pt idx="3">
                  <c:v>47.5</c:v>
                </c:pt>
                <c:pt idx="4">
                  <c:v>50</c:v>
                </c:pt>
                <c:pt idx="5">
                  <c:v>52.5</c:v>
                </c:pt>
                <c:pt idx="6">
                  <c:v>55</c:v>
                </c:pt>
                <c:pt idx="7">
                  <c:v>57.5</c:v>
                </c:pt>
                <c:pt idx="8">
                  <c:v>60</c:v>
                </c:pt>
                <c:pt idx="9">
                  <c:v>62.5</c:v>
                </c:pt>
                <c:pt idx="10">
                  <c:v>65</c:v>
                </c:pt>
                <c:pt idx="11">
                  <c:v>67.5</c:v>
                </c:pt>
                <c:pt idx="12">
                  <c:v>70</c:v>
                </c:pt>
                <c:pt idx="13">
                  <c:v>72.5</c:v>
                </c:pt>
                <c:pt idx="14">
                  <c:v>75</c:v>
                </c:pt>
                <c:pt idx="15">
                  <c:v>77.5</c:v>
                </c:pt>
                <c:pt idx="16">
                  <c:v>80</c:v>
                </c:pt>
                <c:pt idx="17">
                  <c:v>82.5</c:v>
                </c:pt>
                <c:pt idx="18">
                  <c:v>85</c:v>
                </c:pt>
                <c:pt idx="19">
                  <c:v>87.5</c:v>
                </c:pt>
                <c:pt idx="20">
                  <c:v>90</c:v>
                </c:pt>
                <c:pt idx="21">
                  <c:v>92.5</c:v>
                </c:pt>
                <c:pt idx="22">
                  <c:v>95</c:v>
                </c:pt>
                <c:pt idx="23">
                  <c:v>97.5</c:v>
                </c:pt>
                <c:pt idx="24">
                  <c:v>100</c:v>
                </c:pt>
                <c:pt idx="25">
                  <c:v>102.5</c:v>
                </c:pt>
                <c:pt idx="26">
                  <c:v>105</c:v>
                </c:pt>
                <c:pt idx="27">
                  <c:v>107.5</c:v>
                </c:pt>
                <c:pt idx="28">
                  <c:v>110</c:v>
                </c:pt>
                <c:pt idx="29">
                  <c:v>112.5</c:v>
                </c:pt>
                <c:pt idx="30">
                  <c:v>115</c:v>
                </c:pt>
                <c:pt idx="31">
                  <c:v>117.5</c:v>
                </c:pt>
                <c:pt idx="32">
                  <c:v>120</c:v>
                </c:pt>
                <c:pt idx="33">
                  <c:v>122.5</c:v>
                </c:pt>
                <c:pt idx="34">
                  <c:v>125</c:v>
                </c:pt>
                <c:pt idx="35">
                  <c:v>127.5</c:v>
                </c:pt>
                <c:pt idx="36">
                  <c:v>130</c:v>
                </c:pt>
                <c:pt idx="37">
                  <c:v>132.5</c:v>
                </c:pt>
                <c:pt idx="38">
                  <c:v>135</c:v>
                </c:pt>
                <c:pt idx="39">
                  <c:v>137.5</c:v>
                </c:pt>
                <c:pt idx="40">
                  <c:v>140</c:v>
                </c:pt>
                <c:pt idx="41">
                  <c:v>142.5</c:v>
                </c:pt>
                <c:pt idx="42">
                  <c:v>145</c:v>
                </c:pt>
                <c:pt idx="43">
                  <c:v>147.5</c:v>
                </c:pt>
                <c:pt idx="44">
                  <c:v>150</c:v>
                </c:pt>
                <c:pt idx="45">
                  <c:v>152.5</c:v>
                </c:pt>
                <c:pt idx="46">
                  <c:v>155</c:v>
                </c:pt>
                <c:pt idx="47">
                  <c:v>157.5</c:v>
                </c:pt>
                <c:pt idx="48">
                  <c:v>160</c:v>
                </c:pt>
                <c:pt idx="49">
                  <c:v>162.5</c:v>
                </c:pt>
                <c:pt idx="50">
                  <c:v>165</c:v>
                </c:pt>
                <c:pt idx="51">
                  <c:v>167.5</c:v>
                </c:pt>
                <c:pt idx="52">
                  <c:v>170</c:v>
                </c:pt>
                <c:pt idx="53">
                  <c:v>172.5</c:v>
                </c:pt>
                <c:pt idx="54">
                  <c:v>175</c:v>
                </c:pt>
                <c:pt idx="55">
                  <c:v>177.5</c:v>
                </c:pt>
                <c:pt idx="56">
                  <c:v>180</c:v>
                </c:pt>
                <c:pt idx="57">
                  <c:v>182.5</c:v>
                </c:pt>
                <c:pt idx="58">
                  <c:v>1000</c:v>
                </c:pt>
              </c:numCache>
            </c:numRef>
          </c:cat>
          <c:val>
            <c:numRef>
              <c:f>Sheet1!$B$24:$BH$24</c:f>
              <c:numCache>
                <c:formatCode>General</c:formatCode>
                <c:ptCount val="59"/>
                <c:pt idx="0">
                  <c:v>0.31120000000046188</c:v>
                </c:pt>
                <c:pt idx="1">
                  <c:v>0.3043372311330213</c:v>
                </c:pt>
                <c:pt idx="2">
                  <c:v>0.29796673175640059</c:v>
                </c:pt>
                <c:pt idx="3">
                  <c:v>0.29203583944228462</c:v>
                </c:pt>
                <c:pt idx="4">
                  <c:v>0.28650000000036052</c:v>
                </c:pt>
                <c:pt idx="5">
                  <c:v>0.28132117732428652</c:v>
                </c:pt>
                <c:pt idx="6">
                  <c:v>0.27646639293782288</c:v>
                </c:pt>
                <c:pt idx="7">
                  <c:v>0.27187429408171448</c:v>
                </c:pt>
                <c:pt idx="8">
                  <c:v>0.2675000000002461</c:v>
                </c:pt>
                <c:pt idx="9">
                  <c:v>0.26332585400971548</c:v>
                </c:pt>
                <c:pt idx="10">
                  <c:v>0.25933562650871261</c:v>
                </c:pt>
                <c:pt idx="11">
                  <c:v>0.25539187043603212</c:v>
                </c:pt>
                <c:pt idx="12">
                  <c:v>0.25140000000016011</c:v>
                </c:pt>
                <c:pt idx="13">
                  <c:v>0.24736136954251081</c:v>
                </c:pt>
                <c:pt idx="14">
                  <c:v>0.2432772694948698</c:v>
                </c:pt>
                <c:pt idx="15">
                  <c:v>0.2392896809726357</c:v>
                </c:pt>
                <c:pt idx="16">
                  <c:v>0.23550000000013549</c:v>
                </c:pt>
                <c:pt idx="17">
                  <c:v>0.2318971692405469</c:v>
                </c:pt>
                <c:pt idx="18">
                  <c:v>0.22847066226750101</c:v>
                </c:pt>
                <c:pt idx="19">
                  <c:v>0.2250749767838337</c:v>
                </c:pt>
                <c:pt idx="20">
                  <c:v>0.22160000000006849</c:v>
                </c:pt>
                <c:pt idx="21">
                  <c:v>0.218046913129466</c:v>
                </c:pt>
                <c:pt idx="22">
                  <c:v>0.2145000000000242</c:v>
                </c:pt>
                <c:pt idx="23">
                  <c:v>0.2110355667272818</c:v>
                </c:pt>
                <c:pt idx="24">
                  <c:v>0.20770000000000441</c:v>
                </c:pt>
                <c:pt idx="25">
                  <c:v>0.2045356589959525</c:v>
                </c:pt>
                <c:pt idx="26">
                  <c:v>0.20149999999998461</c:v>
                </c:pt>
                <c:pt idx="27">
                  <c:v>0.19855387354625489</c:v>
                </c:pt>
                <c:pt idx="28">
                  <c:v>0.19559999999993899</c:v>
                </c:pt>
                <c:pt idx="29">
                  <c:v>0.19254837149153001</c:v>
                </c:pt>
                <c:pt idx="30">
                  <c:v>0.18939958577999719</c:v>
                </c:pt>
                <c:pt idx="31">
                  <c:v>0.18633393779220239</c:v>
                </c:pt>
                <c:pt idx="32">
                  <c:v>0.1834999999998983</c:v>
                </c:pt>
                <c:pt idx="33">
                  <c:v>0.1808923352367747</c:v>
                </c:pt>
                <c:pt idx="34">
                  <c:v>0.17839999999987499</c:v>
                </c:pt>
                <c:pt idx="35">
                  <c:v>0.1759190242808315</c:v>
                </c:pt>
                <c:pt idx="36">
                  <c:v>0.17349999999987081</c:v>
                </c:pt>
                <c:pt idx="37">
                  <c:v>0.17119047725977601</c:v>
                </c:pt>
                <c:pt idx="38">
                  <c:v>0.16898779579412501</c:v>
                </c:pt>
                <c:pt idx="39">
                  <c:v>0.16696940487002729</c:v>
                </c:pt>
                <c:pt idx="40">
                  <c:v>0.16519999999987511</c:v>
                </c:pt>
                <c:pt idx="41">
                  <c:v>0.16367369789711619</c:v>
                </c:pt>
                <c:pt idx="42">
                  <c:v>0.16238407956296019</c:v>
                </c:pt>
                <c:pt idx="43">
                  <c:v>0.1612493700464265</c:v>
                </c:pt>
                <c:pt idx="44">
                  <c:v>0.16019999999989001</c:v>
                </c:pt>
                <c:pt idx="45">
                  <c:v>0.15923332964779841</c:v>
                </c:pt>
                <c:pt idx="46">
                  <c:v>0.15834682485187629</c:v>
                </c:pt>
                <c:pt idx="47">
                  <c:v>0.15758897879614231</c:v>
                </c:pt>
                <c:pt idx="48">
                  <c:v>0.15699999999991551</c:v>
                </c:pt>
                <c:pt idx="49">
                  <c:v>0.15657395774756669</c:v>
                </c:pt>
                <c:pt idx="50">
                  <c:v>0.15630472058712711</c:v>
                </c:pt>
                <c:pt idx="51">
                  <c:v>0.1561308240980776</c:v>
                </c:pt>
                <c:pt idx="52">
                  <c:v>0.15599999999993699</c:v>
                </c:pt>
                <c:pt idx="53">
                  <c:v>0.1559105029515935</c:v>
                </c:pt>
                <c:pt idx="54">
                  <c:v>0.1558606317141345</c:v>
                </c:pt>
                <c:pt idx="55">
                  <c:v>0.15582966608006529</c:v>
                </c:pt>
                <c:pt idx="56">
                  <c:v>0.15579999999995209</c:v>
                </c:pt>
                <c:pt idx="57">
                  <c:v>0.15577158623465259</c:v>
                </c:pt>
                <c:pt idx="58">
                  <c:v>0.1587000000000642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6-E27E-4C0A-99B7-33696A982CB4}"/>
            </c:ext>
          </c:extLst>
        </c:ser>
        <c:ser>
          <c:idx val="23"/>
          <c:order val="23"/>
          <c:tx>
            <c:strRef>
              <c:f>Sheet1!$A$25</c:f>
              <c:strCache>
                <c:ptCount val="1"/>
                <c:pt idx="0">
                  <c:v>5.25</c:v>
                </c:pt>
              </c:strCache>
            </c:strRef>
          </c:tx>
          <c:spPr>
            <a:gradFill rotWithShape="1">
              <a:gsLst>
                <a:gs pos="0">
                  <a:schemeClr val="accent6">
                    <a:lumMod val="80000"/>
                    <a:tint val="50000"/>
                    <a:satMod val="300000"/>
                  </a:schemeClr>
                </a:gs>
                <a:gs pos="35000">
                  <a:schemeClr val="accent6">
                    <a:lumMod val="80000"/>
                    <a:tint val="37000"/>
                    <a:satMod val="300000"/>
                  </a:schemeClr>
                </a:gs>
                <a:gs pos="100000">
                  <a:schemeClr val="accent6">
                    <a:lumMod val="80000"/>
                    <a:tint val="15000"/>
                    <a:satMod val="350000"/>
                  </a:schemeClr>
                </a:gs>
              </a:gsLst>
              <a:lin ang="16200000" scaled="1"/>
            </a:gradFill>
            <a:ln w="9525" cap="flat" cmpd="sng" algn="ctr">
              <a:solidFill>
                <a:schemeClr val="accent6">
                  <a:lumMod val="80000"/>
                  <a:shade val="95000"/>
                </a:schemeClr>
              </a:solidFill>
              <a:round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  <a:sp3d contourW="9525">
              <a:contourClr>
                <a:schemeClr val="accent6">
                  <a:lumMod val="80000"/>
                  <a:shade val="95000"/>
                </a:schemeClr>
              </a:contourClr>
            </a:sp3d>
          </c:spPr>
          <c:cat>
            <c:numRef>
              <c:f>Sheet1!$B$1:$BH$1</c:f>
              <c:numCache>
                <c:formatCode>General</c:formatCode>
                <c:ptCount val="59"/>
                <c:pt idx="0">
                  <c:v>40</c:v>
                </c:pt>
                <c:pt idx="1">
                  <c:v>42.5</c:v>
                </c:pt>
                <c:pt idx="2">
                  <c:v>45</c:v>
                </c:pt>
                <c:pt idx="3">
                  <c:v>47.5</c:v>
                </c:pt>
                <c:pt idx="4">
                  <c:v>50</c:v>
                </c:pt>
                <c:pt idx="5">
                  <c:v>52.5</c:v>
                </c:pt>
                <c:pt idx="6">
                  <c:v>55</c:v>
                </c:pt>
                <c:pt idx="7">
                  <c:v>57.5</c:v>
                </c:pt>
                <c:pt idx="8">
                  <c:v>60</c:v>
                </c:pt>
                <c:pt idx="9">
                  <c:v>62.5</c:v>
                </c:pt>
                <c:pt idx="10">
                  <c:v>65</c:v>
                </c:pt>
                <c:pt idx="11">
                  <c:v>67.5</c:v>
                </c:pt>
                <c:pt idx="12">
                  <c:v>70</c:v>
                </c:pt>
                <c:pt idx="13">
                  <c:v>72.5</c:v>
                </c:pt>
                <c:pt idx="14">
                  <c:v>75</c:v>
                </c:pt>
                <c:pt idx="15">
                  <c:v>77.5</c:v>
                </c:pt>
                <c:pt idx="16">
                  <c:v>80</c:v>
                </c:pt>
                <c:pt idx="17">
                  <c:v>82.5</c:v>
                </c:pt>
                <c:pt idx="18">
                  <c:v>85</c:v>
                </c:pt>
                <c:pt idx="19">
                  <c:v>87.5</c:v>
                </c:pt>
                <c:pt idx="20">
                  <c:v>90</c:v>
                </c:pt>
                <c:pt idx="21">
                  <c:v>92.5</c:v>
                </c:pt>
                <c:pt idx="22">
                  <c:v>95</c:v>
                </c:pt>
                <c:pt idx="23">
                  <c:v>97.5</c:v>
                </c:pt>
                <c:pt idx="24">
                  <c:v>100</c:v>
                </c:pt>
                <c:pt idx="25">
                  <c:v>102.5</c:v>
                </c:pt>
                <c:pt idx="26">
                  <c:v>105</c:v>
                </c:pt>
                <c:pt idx="27">
                  <c:v>107.5</c:v>
                </c:pt>
                <c:pt idx="28">
                  <c:v>110</c:v>
                </c:pt>
                <c:pt idx="29">
                  <c:v>112.5</c:v>
                </c:pt>
                <c:pt idx="30">
                  <c:v>115</c:v>
                </c:pt>
                <c:pt idx="31">
                  <c:v>117.5</c:v>
                </c:pt>
                <c:pt idx="32">
                  <c:v>120</c:v>
                </c:pt>
                <c:pt idx="33">
                  <c:v>122.5</c:v>
                </c:pt>
                <c:pt idx="34">
                  <c:v>125</c:v>
                </c:pt>
                <c:pt idx="35">
                  <c:v>127.5</c:v>
                </c:pt>
                <c:pt idx="36">
                  <c:v>130</c:v>
                </c:pt>
                <c:pt idx="37">
                  <c:v>132.5</c:v>
                </c:pt>
                <c:pt idx="38">
                  <c:v>135</c:v>
                </c:pt>
                <c:pt idx="39">
                  <c:v>137.5</c:v>
                </c:pt>
                <c:pt idx="40">
                  <c:v>140</c:v>
                </c:pt>
                <c:pt idx="41">
                  <c:v>142.5</c:v>
                </c:pt>
                <c:pt idx="42">
                  <c:v>145</c:v>
                </c:pt>
                <c:pt idx="43">
                  <c:v>147.5</c:v>
                </c:pt>
                <c:pt idx="44">
                  <c:v>150</c:v>
                </c:pt>
                <c:pt idx="45">
                  <c:v>152.5</c:v>
                </c:pt>
                <c:pt idx="46">
                  <c:v>155</c:v>
                </c:pt>
                <c:pt idx="47">
                  <c:v>157.5</c:v>
                </c:pt>
                <c:pt idx="48">
                  <c:v>160</c:v>
                </c:pt>
                <c:pt idx="49">
                  <c:v>162.5</c:v>
                </c:pt>
                <c:pt idx="50">
                  <c:v>165</c:v>
                </c:pt>
                <c:pt idx="51">
                  <c:v>167.5</c:v>
                </c:pt>
                <c:pt idx="52">
                  <c:v>170</c:v>
                </c:pt>
                <c:pt idx="53">
                  <c:v>172.5</c:v>
                </c:pt>
                <c:pt idx="54">
                  <c:v>175</c:v>
                </c:pt>
                <c:pt idx="55">
                  <c:v>177.5</c:v>
                </c:pt>
                <c:pt idx="56">
                  <c:v>180</c:v>
                </c:pt>
                <c:pt idx="57">
                  <c:v>182.5</c:v>
                </c:pt>
                <c:pt idx="58">
                  <c:v>1000</c:v>
                </c:pt>
              </c:numCache>
            </c:numRef>
          </c:cat>
          <c:val>
            <c:numRef>
              <c:f>Sheet1!$B$25:$BH$25</c:f>
              <c:numCache>
                <c:formatCode>General</c:formatCode>
                <c:ptCount val="59"/>
                <c:pt idx="0">
                  <c:v>0.30763043541971741</c:v>
                </c:pt>
                <c:pt idx="1">
                  <c:v>0.30103127300298221</c:v>
                </c:pt>
                <c:pt idx="2">
                  <c:v>0.29491025907050339</c:v>
                </c:pt>
                <c:pt idx="3">
                  <c:v>0.28921608868069187</c:v>
                </c:pt>
                <c:pt idx="4">
                  <c:v>0.2839053551633775</c:v>
                </c:pt>
                <c:pt idx="5">
                  <c:v>0.278941001067952</c:v>
                </c:pt>
                <c:pt idx="6">
                  <c:v>0.27429080993683569</c:v>
                </c:pt>
                <c:pt idx="7">
                  <c:v>0.26988335103743161</c:v>
                </c:pt>
                <c:pt idx="8">
                  <c:v>0.26566787346996962</c:v>
                </c:pt>
                <c:pt idx="9">
                  <c:v>0.26162871807667848</c:v>
                </c:pt>
                <c:pt idx="10">
                  <c:v>0.25775153323017969</c:v>
                </c:pt>
                <c:pt idx="11">
                  <c:v>0.25392297989185042</c:v>
                </c:pt>
                <c:pt idx="12">
                  <c:v>0.25006498615807948</c:v>
                </c:pt>
                <c:pt idx="13">
                  <c:v>0.24617805594449921</c:v>
                </c:pt>
                <c:pt idx="14">
                  <c:v>0.24226273932382389</c:v>
                </c:pt>
                <c:pt idx="15">
                  <c:v>0.2384399385560905</c:v>
                </c:pt>
                <c:pt idx="16">
                  <c:v>0.23479564156251609</c:v>
                </c:pt>
                <c:pt idx="17">
                  <c:v>0.23131966706136439</c:v>
                </c:pt>
                <c:pt idx="18">
                  <c:v>0.22800237124268449</c:v>
                </c:pt>
                <c:pt idx="19">
                  <c:v>0.22472185324901339</c:v>
                </c:pt>
                <c:pt idx="20">
                  <c:v>0.2213859398474527</c:v>
                </c:pt>
                <c:pt idx="21">
                  <c:v>0.21799525790708699</c:v>
                </c:pt>
                <c:pt idx="22">
                  <c:v>0.2146157037419171</c:v>
                </c:pt>
                <c:pt idx="23">
                  <c:v>0.21130675051379891</c:v>
                </c:pt>
                <c:pt idx="24">
                  <c:v>0.20811473522514609</c:v>
                </c:pt>
                <c:pt idx="25">
                  <c:v>0.2050818350196798</c:v>
                </c:pt>
                <c:pt idx="26">
                  <c:v>0.2021489435132216</c:v>
                </c:pt>
                <c:pt idx="27">
                  <c:v>0.19926184781715811</c:v>
                </c:pt>
                <c:pt idx="28">
                  <c:v>0.19638356300366769</c:v>
                </c:pt>
                <c:pt idx="29">
                  <c:v>0.19347988847069281</c:v>
                </c:pt>
                <c:pt idx="30">
                  <c:v>0.1905501166998925</c:v>
                </c:pt>
                <c:pt idx="31">
                  <c:v>0.1876819316632192</c:v>
                </c:pt>
                <c:pt idx="32">
                  <c:v>0.18494712910022229</c:v>
                </c:pt>
                <c:pt idx="33">
                  <c:v>0.182341870137361</c:v>
                </c:pt>
                <c:pt idx="34">
                  <c:v>0.1798650774242114</c:v>
                </c:pt>
                <c:pt idx="35">
                  <c:v>0.17751567299700599</c:v>
                </c:pt>
                <c:pt idx="36">
                  <c:v>0.17525922183348069</c:v>
                </c:pt>
                <c:pt idx="37">
                  <c:v>0.17306343581802311</c:v>
                </c:pt>
                <c:pt idx="38">
                  <c:v>0.17092649275372551</c:v>
                </c:pt>
                <c:pt idx="39">
                  <c:v>0.16893729068093721</c:v>
                </c:pt>
                <c:pt idx="40">
                  <c:v>0.16717024564439259</c:v>
                </c:pt>
                <c:pt idx="41">
                  <c:v>0.1656199844628827</c:v>
                </c:pt>
                <c:pt idx="42">
                  <c:v>0.1642807812230517</c:v>
                </c:pt>
                <c:pt idx="43">
                  <c:v>0.163090864464875</c:v>
                </c:pt>
                <c:pt idx="44">
                  <c:v>0.1619975049907503</c:v>
                </c:pt>
                <c:pt idx="45">
                  <c:v>0.1609977651200882</c:v>
                </c:pt>
                <c:pt idx="46">
                  <c:v>0.16008878069789459</c:v>
                </c:pt>
                <c:pt idx="47">
                  <c:v>0.15929644563726281</c:v>
                </c:pt>
                <c:pt idx="48">
                  <c:v>0.1586420184800825</c:v>
                </c:pt>
                <c:pt idx="49">
                  <c:v>0.15812080485053909</c:v>
                </c:pt>
                <c:pt idx="50">
                  <c:v>0.1577280234241745</c:v>
                </c:pt>
                <c:pt idx="51">
                  <c:v>0.15742010611467969</c:v>
                </c:pt>
                <c:pt idx="52">
                  <c:v>0.15715983436964631</c:v>
                </c:pt>
                <c:pt idx="53">
                  <c:v>0.15694540099393789</c:v>
                </c:pt>
                <c:pt idx="54">
                  <c:v>0.15677503866078751</c:v>
                </c:pt>
                <c:pt idx="55">
                  <c:v>0.15662737160098339</c:v>
                </c:pt>
                <c:pt idx="56">
                  <c:v>0.15648417449651419</c:v>
                </c:pt>
                <c:pt idx="57">
                  <c:v>0.1563452975195046</c:v>
                </c:pt>
                <c:pt idx="58">
                  <c:v>0.1580305583883858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7-E27E-4C0A-99B7-33696A982CB4}"/>
            </c:ext>
          </c:extLst>
        </c:ser>
        <c:ser>
          <c:idx val="24"/>
          <c:order val="24"/>
          <c:tx>
            <c:strRef>
              <c:f>Sheet1!$A$26</c:f>
              <c:strCache>
                <c:ptCount val="1"/>
                <c:pt idx="0">
                  <c:v>5.5</c:v>
                </c:pt>
              </c:strCache>
            </c:strRef>
          </c:tx>
          <c:spPr>
            <a:gradFill rotWithShape="1">
              <a:gsLst>
                <a:gs pos="0">
                  <a:schemeClr val="accent1">
                    <a:lumMod val="60000"/>
                    <a:lumOff val="40000"/>
                    <a:tint val="50000"/>
                    <a:satMod val="300000"/>
                  </a:schemeClr>
                </a:gs>
                <a:gs pos="35000">
                  <a:schemeClr val="accent1">
                    <a:lumMod val="60000"/>
                    <a:lumOff val="40000"/>
                    <a:tint val="37000"/>
                    <a:satMod val="300000"/>
                  </a:schemeClr>
                </a:gs>
                <a:gs pos="100000">
                  <a:schemeClr val="accent1">
                    <a:lumMod val="60000"/>
                    <a:lumOff val="40000"/>
                    <a:tint val="15000"/>
                    <a:satMod val="350000"/>
                  </a:schemeClr>
                </a:gs>
              </a:gsLst>
              <a:lin ang="16200000" scaled="1"/>
            </a:gradFill>
            <a:ln w="9525" cap="flat" cmpd="sng" algn="ctr">
              <a:solidFill>
                <a:schemeClr val="accent1">
                  <a:lumMod val="60000"/>
                  <a:lumOff val="40000"/>
                  <a:shade val="95000"/>
                </a:schemeClr>
              </a:solidFill>
              <a:round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  <a:sp3d contourW="9525">
              <a:contourClr>
                <a:schemeClr val="accent1">
                  <a:lumMod val="60000"/>
                  <a:lumOff val="40000"/>
                  <a:shade val="95000"/>
                </a:schemeClr>
              </a:contourClr>
            </a:sp3d>
          </c:spPr>
          <c:cat>
            <c:numRef>
              <c:f>Sheet1!$B$1:$BH$1</c:f>
              <c:numCache>
                <c:formatCode>General</c:formatCode>
                <c:ptCount val="59"/>
                <c:pt idx="0">
                  <c:v>40</c:v>
                </c:pt>
                <c:pt idx="1">
                  <c:v>42.5</c:v>
                </c:pt>
                <c:pt idx="2">
                  <c:v>45</c:v>
                </c:pt>
                <c:pt idx="3">
                  <c:v>47.5</c:v>
                </c:pt>
                <c:pt idx="4">
                  <c:v>50</c:v>
                </c:pt>
                <c:pt idx="5">
                  <c:v>52.5</c:v>
                </c:pt>
                <c:pt idx="6">
                  <c:v>55</c:v>
                </c:pt>
                <c:pt idx="7">
                  <c:v>57.5</c:v>
                </c:pt>
                <c:pt idx="8">
                  <c:v>60</c:v>
                </c:pt>
                <c:pt idx="9">
                  <c:v>62.5</c:v>
                </c:pt>
                <c:pt idx="10">
                  <c:v>65</c:v>
                </c:pt>
                <c:pt idx="11">
                  <c:v>67.5</c:v>
                </c:pt>
                <c:pt idx="12">
                  <c:v>70</c:v>
                </c:pt>
                <c:pt idx="13">
                  <c:v>72.5</c:v>
                </c:pt>
                <c:pt idx="14">
                  <c:v>75</c:v>
                </c:pt>
                <c:pt idx="15">
                  <c:v>77.5</c:v>
                </c:pt>
                <c:pt idx="16">
                  <c:v>80</c:v>
                </c:pt>
                <c:pt idx="17">
                  <c:v>82.5</c:v>
                </c:pt>
                <c:pt idx="18">
                  <c:v>85</c:v>
                </c:pt>
                <c:pt idx="19">
                  <c:v>87.5</c:v>
                </c:pt>
                <c:pt idx="20">
                  <c:v>90</c:v>
                </c:pt>
                <c:pt idx="21">
                  <c:v>92.5</c:v>
                </c:pt>
                <c:pt idx="22">
                  <c:v>95</c:v>
                </c:pt>
                <c:pt idx="23">
                  <c:v>97.5</c:v>
                </c:pt>
                <c:pt idx="24">
                  <c:v>100</c:v>
                </c:pt>
                <c:pt idx="25">
                  <c:v>102.5</c:v>
                </c:pt>
                <c:pt idx="26">
                  <c:v>105</c:v>
                </c:pt>
                <c:pt idx="27">
                  <c:v>107.5</c:v>
                </c:pt>
                <c:pt idx="28">
                  <c:v>110</c:v>
                </c:pt>
                <c:pt idx="29">
                  <c:v>112.5</c:v>
                </c:pt>
                <c:pt idx="30">
                  <c:v>115</c:v>
                </c:pt>
                <c:pt idx="31">
                  <c:v>117.5</c:v>
                </c:pt>
                <c:pt idx="32">
                  <c:v>120</c:v>
                </c:pt>
                <c:pt idx="33">
                  <c:v>122.5</c:v>
                </c:pt>
                <c:pt idx="34">
                  <c:v>125</c:v>
                </c:pt>
                <c:pt idx="35">
                  <c:v>127.5</c:v>
                </c:pt>
                <c:pt idx="36">
                  <c:v>130</c:v>
                </c:pt>
                <c:pt idx="37">
                  <c:v>132.5</c:v>
                </c:pt>
                <c:pt idx="38">
                  <c:v>135</c:v>
                </c:pt>
                <c:pt idx="39">
                  <c:v>137.5</c:v>
                </c:pt>
                <c:pt idx="40">
                  <c:v>140</c:v>
                </c:pt>
                <c:pt idx="41">
                  <c:v>142.5</c:v>
                </c:pt>
                <c:pt idx="42">
                  <c:v>145</c:v>
                </c:pt>
                <c:pt idx="43">
                  <c:v>147.5</c:v>
                </c:pt>
                <c:pt idx="44">
                  <c:v>150</c:v>
                </c:pt>
                <c:pt idx="45">
                  <c:v>152.5</c:v>
                </c:pt>
                <c:pt idx="46">
                  <c:v>155</c:v>
                </c:pt>
                <c:pt idx="47">
                  <c:v>157.5</c:v>
                </c:pt>
                <c:pt idx="48">
                  <c:v>160</c:v>
                </c:pt>
                <c:pt idx="49">
                  <c:v>162.5</c:v>
                </c:pt>
                <c:pt idx="50">
                  <c:v>165</c:v>
                </c:pt>
                <c:pt idx="51">
                  <c:v>167.5</c:v>
                </c:pt>
                <c:pt idx="52">
                  <c:v>170</c:v>
                </c:pt>
                <c:pt idx="53">
                  <c:v>172.5</c:v>
                </c:pt>
                <c:pt idx="54">
                  <c:v>175</c:v>
                </c:pt>
                <c:pt idx="55">
                  <c:v>177.5</c:v>
                </c:pt>
                <c:pt idx="56">
                  <c:v>180</c:v>
                </c:pt>
                <c:pt idx="57">
                  <c:v>182.5</c:v>
                </c:pt>
                <c:pt idx="58">
                  <c:v>1000</c:v>
                </c:pt>
              </c:numCache>
            </c:numRef>
          </c:cat>
          <c:val>
            <c:numRef>
              <c:f>Sheet1!$B$26:$BH$26</c:f>
              <c:numCache>
                <c:formatCode>General</c:formatCode>
                <c:ptCount val="59"/>
                <c:pt idx="0">
                  <c:v>0.30431066410506519</c:v>
                </c:pt>
                <c:pt idx="1">
                  <c:v>0.29795851303840271</c:v>
                </c:pt>
                <c:pt idx="2">
                  <c:v>0.29207108711269719</c:v>
                </c:pt>
                <c:pt idx="3">
                  <c:v>0.28659836713678488</c:v>
                </c:pt>
                <c:pt idx="4">
                  <c:v>0.28149803425988801</c:v>
                </c:pt>
                <c:pt idx="5">
                  <c:v>0.2767339596754132</c:v>
                </c:pt>
                <c:pt idx="6">
                  <c:v>0.27227465204823681</c:v>
                </c:pt>
                <c:pt idx="7">
                  <c:v>0.26803929148834149</c:v>
                </c:pt>
                <c:pt idx="8">
                  <c:v>0.26397170146997712</c:v>
                </c:pt>
                <c:pt idx="9">
                  <c:v>0.26005814070492361</c:v>
                </c:pt>
                <c:pt idx="10">
                  <c:v>0.25628605114936731</c:v>
                </c:pt>
                <c:pt idx="11">
                  <c:v>0.25256454790038191</c:v>
                </c:pt>
                <c:pt idx="12">
                  <c:v>0.24883089469834441</c:v>
                </c:pt>
                <c:pt idx="13">
                  <c:v>0.24508475758357301</c:v>
                </c:pt>
                <c:pt idx="14">
                  <c:v>0.2413259439411656</c:v>
                </c:pt>
                <c:pt idx="15">
                  <c:v>0.23765577604577889</c:v>
                </c:pt>
                <c:pt idx="16">
                  <c:v>0.23414599557284421</c:v>
                </c:pt>
                <c:pt idx="17">
                  <c:v>0.2307872814047538</c:v>
                </c:pt>
                <c:pt idx="18">
                  <c:v>0.2275708485336754</c:v>
                </c:pt>
                <c:pt idx="19">
                  <c:v>0.22439660645120349</c:v>
                </c:pt>
                <c:pt idx="20">
                  <c:v>0.22118889279594561</c:v>
                </c:pt>
                <c:pt idx="21">
                  <c:v>0.2179477414663038</c:v>
                </c:pt>
                <c:pt idx="22">
                  <c:v>0.21472205768763761</c:v>
                </c:pt>
                <c:pt idx="23">
                  <c:v>0.21155584260116661</c:v>
                </c:pt>
                <c:pt idx="24">
                  <c:v>0.20849542553527589</c:v>
                </c:pt>
                <c:pt idx="25">
                  <c:v>0.2055828545404442</c:v>
                </c:pt>
                <c:pt idx="26">
                  <c:v>0.20274392228792301</c:v>
                </c:pt>
                <c:pt idx="27">
                  <c:v>0.1999107355949592</c:v>
                </c:pt>
                <c:pt idx="28">
                  <c:v>0.19710143082413631</c:v>
                </c:pt>
                <c:pt idx="29">
                  <c:v>0.19433263297496459</c:v>
                </c:pt>
                <c:pt idx="30">
                  <c:v>0.1916021242929713</c:v>
                </c:pt>
                <c:pt idx="31">
                  <c:v>0.18891314748587071</c:v>
                </c:pt>
                <c:pt idx="32">
                  <c:v>0.18626808272480641</c:v>
                </c:pt>
                <c:pt idx="33">
                  <c:v>0.1836648621527518</c:v>
                </c:pt>
                <c:pt idx="34">
                  <c:v>0.1812020054804126</c:v>
                </c:pt>
                <c:pt idx="35">
                  <c:v>0.1789714858521414</c:v>
                </c:pt>
                <c:pt idx="36">
                  <c:v>0.17686167515863269</c:v>
                </c:pt>
                <c:pt idx="37">
                  <c:v>0.174768217750573</c:v>
                </c:pt>
                <c:pt idx="38">
                  <c:v>0.1726902382992466</c:v>
                </c:pt>
                <c:pt idx="39">
                  <c:v>0.1707270698785131</c:v>
                </c:pt>
                <c:pt idx="40">
                  <c:v>0.16896193741874621</c:v>
                </c:pt>
                <c:pt idx="41">
                  <c:v>0.16738994621092429</c:v>
                </c:pt>
                <c:pt idx="42">
                  <c:v>0.16600598797565741</c:v>
                </c:pt>
                <c:pt idx="43">
                  <c:v>0.16476626052116131</c:v>
                </c:pt>
                <c:pt idx="44">
                  <c:v>0.16363318306756439</c:v>
                </c:pt>
                <c:pt idx="45">
                  <c:v>0.16260355927129169</c:v>
                </c:pt>
                <c:pt idx="46">
                  <c:v>0.16167423425128291</c:v>
                </c:pt>
                <c:pt idx="47">
                  <c:v>0.1608507487747794</c:v>
                </c:pt>
                <c:pt idx="48">
                  <c:v>0.16013726789195959</c:v>
                </c:pt>
                <c:pt idx="49">
                  <c:v>0.15953015082351951</c:v>
                </c:pt>
                <c:pt idx="50">
                  <c:v>0.1590257444501528</c:v>
                </c:pt>
                <c:pt idx="51">
                  <c:v>0.15859656541084391</c:v>
                </c:pt>
                <c:pt idx="52">
                  <c:v>0.15821899146202159</c:v>
                </c:pt>
                <c:pt idx="53">
                  <c:v>0.1578911755386094</c:v>
                </c:pt>
                <c:pt idx="54">
                  <c:v>0.15761130622334091</c:v>
                </c:pt>
                <c:pt idx="55">
                  <c:v>0.15735742591168139</c:v>
                </c:pt>
                <c:pt idx="56">
                  <c:v>0.15711075763488969</c:v>
                </c:pt>
                <c:pt idx="57">
                  <c:v>0.15687106907774789</c:v>
                </c:pt>
                <c:pt idx="58">
                  <c:v>0.157412381533608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8-E27E-4C0A-99B7-33696A982CB4}"/>
            </c:ext>
          </c:extLst>
        </c:ser>
        <c:ser>
          <c:idx val="25"/>
          <c:order val="25"/>
          <c:tx>
            <c:strRef>
              <c:f>Sheet1!$A$27</c:f>
              <c:strCache>
                <c:ptCount val="1"/>
                <c:pt idx="0">
                  <c:v>5.75</c:v>
                </c:pt>
              </c:strCache>
            </c:strRef>
          </c:tx>
          <c:spPr>
            <a:gradFill rotWithShape="1">
              <a:gsLst>
                <a:gs pos="0">
                  <a:schemeClr val="accent2">
                    <a:lumMod val="60000"/>
                    <a:lumOff val="40000"/>
                    <a:tint val="50000"/>
                    <a:satMod val="300000"/>
                  </a:schemeClr>
                </a:gs>
                <a:gs pos="35000">
                  <a:schemeClr val="accent2">
                    <a:lumMod val="60000"/>
                    <a:lumOff val="40000"/>
                    <a:tint val="37000"/>
                    <a:satMod val="300000"/>
                  </a:schemeClr>
                </a:gs>
                <a:gs pos="100000">
                  <a:schemeClr val="accent2">
                    <a:lumMod val="60000"/>
                    <a:lumOff val="40000"/>
                    <a:tint val="15000"/>
                    <a:satMod val="350000"/>
                  </a:schemeClr>
                </a:gs>
              </a:gsLst>
              <a:lin ang="16200000" scaled="1"/>
            </a:gradFill>
            <a:ln w="9525" cap="flat" cmpd="sng" algn="ctr">
              <a:solidFill>
                <a:schemeClr val="accent2">
                  <a:lumMod val="60000"/>
                  <a:lumOff val="40000"/>
                  <a:shade val="95000"/>
                </a:schemeClr>
              </a:solidFill>
              <a:round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  <a:sp3d contourW="9525">
              <a:contourClr>
                <a:schemeClr val="accent2">
                  <a:lumMod val="60000"/>
                  <a:lumOff val="40000"/>
                  <a:shade val="95000"/>
                </a:schemeClr>
              </a:contourClr>
            </a:sp3d>
          </c:spPr>
          <c:cat>
            <c:numRef>
              <c:f>Sheet1!$B$1:$BH$1</c:f>
              <c:numCache>
                <c:formatCode>General</c:formatCode>
                <c:ptCount val="59"/>
                <c:pt idx="0">
                  <c:v>40</c:v>
                </c:pt>
                <c:pt idx="1">
                  <c:v>42.5</c:v>
                </c:pt>
                <c:pt idx="2">
                  <c:v>45</c:v>
                </c:pt>
                <c:pt idx="3">
                  <c:v>47.5</c:v>
                </c:pt>
                <c:pt idx="4">
                  <c:v>50</c:v>
                </c:pt>
                <c:pt idx="5">
                  <c:v>52.5</c:v>
                </c:pt>
                <c:pt idx="6">
                  <c:v>55</c:v>
                </c:pt>
                <c:pt idx="7">
                  <c:v>57.5</c:v>
                </c:pt>
                <c:pt idx="8">
                  <c:v>60</c:v>
                </c:pt>
                <c:pt idx="9">
                  <c:v>62.5</c:v>
                </c:pt>
                <c:pt idx="10">
                  <c:v>65</c:v>
                </c:pt>
                <c:pt idx="11">
                  <c:v>67.5</c:v>
                </c:pt>
                <c:pt idx="12">
                  <c:v>70</c:v>
                </c:pt>
                <c:pt idx="13">
                  <c:v>72.5</c:v>
                </c:pt>
                <c:pt idx="14">
                  <c:v>75</c:v>
                </c:pt>
                <c:pt idx="15">
                  <c:v>77.5</c:v>
                </c:pt>
                <c:pt idx="16">
                  <c:v>80</c:v>
                </c:pt>
                <c:pt idx="17">
                  <c:v>82.5</c:v>
                </c:pt>
                <c:pt idx="18">
                  <c:v>85</c:v>
                </c:pt>
                <c:pt idx="19">
                  <c:v>87.5</c:v>
                </c:pt>
                <c:pt idx="20">
                  <c:v>90</c:v>
                </c:pt>
                <c:pt idx="21">
                  <c:v>92.5</c:v>
                </c:pt>
                <c:pt idx="22">
                  <c:v>95</c:v>
                </c:pt>
                <c:pt idx="23">
                  <c:v>97.5</c:v>
                </c:pt>
                <c:pt idx="24">
                  <c:v>100</c:v>
                </c:pt>
                <c:pt idx="25">
                  <c:v>102.5</c:v>
                </c:pt>
                <c:pt idx="26">
                  <c:v>105</c:v>
                </c:pt>
                <c:pt idx="27">
                  <c:v>107.5</c:v>
                </c:pt>
                <c:pt idx="28">
                  <c:v>110</c:v>
                </c:pt>
                <c:pt idx="29">
                  <c:v>112.5</c:v>
                </c:pt>
                <c:pt idx="30">
                  <c:v>115</c:v>
                </c:pt>
                <c:pt idx="31">
                  <c:v>117.5</c:v>
                </c:pt>
                <c:pt idx="32">
                  <c:v>120</c:v>
                </c:pt>
                <c:pt idx="33">
                  <c:v>122.5</c:v>
                </c:pt>
                <c:pt idx="34">
                  <c:v>125</c:v>
                </c:pt>
                <c:pt idx="35">
                  <c:v>127.5</c:v>
                </c:pt>
                <c:pt idx="36">
                  <c:v>130</c:v>
                </c:pt>
                <c:pt idx="37">
                  <c:v>132.5</c:v>
                </c:pt>
                <c:pt idx="38">
                  <c:v>135</c:v>
                </c:pt>
                <c:pt idx="39">
                  <c:v>137.5</c:v>
                </c:pt>
                <c:pt idx="40">
                  <c:v>140</c:v>
                </c:pt>
                <c:pt idx="41">
                  <c:v>142.5</c:v>
                </c:pt>
                <c:pt idx="42">
                  <c:v>145</c:v>
                </c:pt>
                <c:pt idx="43">
                  <c:v>147.5</c:v>
                </c:pt>
                <c:pt idx="44">
                  <c:v>150</c:v>
                </c:pt>
                <c:pt idx="45">
                  <c:v>152.5</c:v>
                </c:pt>
                <c:pt idx="46">
                  <c:v>155</c:v>
                </c:pt>
                <c:pt idx="47">
                  <c:v>157.5</c:v>
                </c:pt>
                <c:pt idx="48">
                  <c:v>160</c:v>
                </c:pt>
                <c:pt idx="49">
                  <c:v>162.5</c:v>
                </c:pt>
                <c:pt idx="50">
                  <c:v>165</c:v>
                </c:pt>
                <c:pt idx="51">
                  <c:v>167.5</c:v>
                </c:pt>
                <c:pt idx="52">
                  <c:v>170</c:v>
                </c:pt>
                <c:pt idx="53">
                  <c:v>172.5</c:v>
                </c:pt>
                <c:pt idx="54">
                  <c:v>175</c:v>
                </c:pt>
                <c:pt idx="55">
                  <c:v>177.5</c:v>
                </c:pt>
                <c:pt idx="56">
                  <c:v>180</c:v>
                </c:pt>
                <c:pt idx="57">
                  <c:v>182.5</c:v>
                </c:pt>
                <c:pt idx="58">
                  <c:v>1000</c:v>
                </c:pt>
              </c:numCache>
            </c:numRef>
          </c:cat>
          <c:val>
            <c:numRef>
              <c:f>Sheet1!$B$27:$BH$27</c:f>
              <c:numCache>
                <c:formatCode>General</c:formatCode>
                <c:ptCount val="59"/>
                <c:pt idx="0">
                  <c:v>0.30124761965127578</c:v>
                </c:pt>
                <c:pt idx="1">
                  <c:v>0.29512501019713422</c:v>
                </c:pt>
                <c:pt idx="2">
                  <c:v>0.28945447924694928</c:v>
                </c:pt>
                <c:pt idx="3">
                  <c:v>0.28418721577385703</c:v>
                </c:pt>
                <c:pt idx="4">
                  <c:v>0.27928192397465479</c:v>
                </c:pt>
                <c:pt idx="5">
                  <c:v>0.27470334921774348</c:v>
                </c:pt>
                <c:pt idx="6">
                  <c:v>0.2704206846490641</c:v>
                </c:pt>
                <c:pt idx="7">
                  <c:v>0.26634443472267988</c:v>
                </c:pt>
                <c:pt idx="8">
                  <c:v>0.26241344783531773</c:v>
                </c:pt>
                <c:pt idx="9">
                  <c:v>0.25861580531849809</c:v>
                </c:pt>
                <c:pt idx="10">
                  <c:v>0.25494064527221522</c:v>
                </c:pt>
                <c:pt idx="11">
                  <c:v>0.25131782784295881</c:v>
                </c:pt>
                <c:pt idx="12">
                  <c:v>0.24769874580904569</c:v>
                </c:pt>
                <c:pt idx="13">
                  <c:v>0.24408225179855941</c:v>
                </c:pt>
                <c:pt idx="14">
                  <c:v>0.24046742177266359</c:v>
                </c:pt>
                <c:pt idx="15">
                  <c:v>0.23693753504441761</c:v>
                </c:pt>
                <c:pt idx="16">
                  <c:v>0.2335512623602293</c:v>
                </c:pt>
                <c:pt idx="17">
                  <c:v>0.23030011531304839</c:v>
                </c:pt>
                <c:pt idx="18">
                  <c:v>0.22717613367498191</c:v>
                </c:pt>
                <c:pt idx="19">
                  <c:v>0.22409922972325799</c:v>
                </c:pt>
                <c:pt idx="20">
                  <c:v>0.22100882683849091</c:v>
                </c:pt>
                <c:pt idx="21">
                  <c:v>0.21790434784077789</c:v>
                </c:pt>
                <c:pt idx="22">
                  <c:v>0.2148191174787043</c:v>
                </c:pt>
                <c:pt idx="23">
                  <c:v>0.21178301863973301</c:v>
                </c:pt>
                <c:pt idx="24">
                  <c:v>0.20884240628714251</c:v>
                </c:pt>
                <c:pt idx="25">
                  <c:v>0.20603924313924801</c:v>
                </c:pt>
                <c:pt idx="26">
                  <c:v>0.20328564294700491</c:v>
                </c:pt>
                <c:pt idx="27">
                  <c:v>0.20050136431971091</c:v>
                </c:pt>
                <c:pt idx="28">
                  <c:v>0.1977545994925147</c:v>
                </c:pt>
                <c:pt idx="29">
                  <c:v>0.19510797082417861</c:v>
                </c:pt>
                <c:pt idx="30">
                  <c:v>0.19255763349734939</c:v>
                </c:pt>
                <c:pt idx="31">
                  <c:v>0.1900303344163794</c:v>
                </c:pt>
                <c:pt idx="32">
                  <c:v>0.1874660419610204</c:v>
                </c:pt>
                <c:pt idx="33">
                  <c:v>0.18486454268074881</c:v>
                </c:pt>
                <c:pt idx="34">
                  <c:v>0.18241412168258481</c:v>
                </c:pt>
                <c:pt idx="35">
                  <c:v>0.18029044002317399</c:v>
                </c:pt>
                <c:pt idx="36">
                  <c:v>0.17831220819054841</c:v>
                </c:pt>
                <c:pt idx="37">
                  <c:v>0.1763103622212332</c:v>
                </c:pt>
                <c:pt idx="38">
                  <c:v>0.174285027088007</c:v>
                </c:pt>
                <c:pt idx="39">
                  <c:v>0.17234498432358111</c:v>
                </c:pt>
                <c:pt idx="40">
                  <c:v>0.1705813952636431</c:v>
                </c:pt>
                <c:pt idx="41">
                  <c:v>0.16898980876740749</c:v>
                </c:pt>
                <c:pt idx="42">
                  <c:v>0.16756566490440611</c:v>
                </c:pt>
                <c:pt idx="43">
                  <c:v>0.16628122788238461</c:v>
                </c:pt>
                <c:pt idx="44">
                  <c:v>0.16511247738757309</c:v>
                </c:pt>
                <c:pt idx="45">
                  <c:v>0.16405599277600111</c:v>
                </c:pt>
                <c:pt idx="46">
                  <c:v>0.16310836369945189</c:v>
                </c:pt>
                <c:pt idx="47">
                  <c:v>0.16225689230834761</c:v>
                </c:pt>
                <c:pt idx="48">
                  <c:v>0.16149040493929509</c:v>
                </c:pt>
                <c:pt idx="49">
                  <c:v>0.16080615788283029</c:v>
                </c:pt>
                <c:pt idx="50">
                  <c:v>0.16020143958934641</c:v>
                </c:pt>
                <c:pt idx="51">
                  <c:v>0.15966315338900899</c:v>
                </c:pt>
                <c:pt idx="52">
                  <c:v>0.1591798931871162</c:v>
                </c:pt>
                <c:pt idx="53">
                  <c:v>0.15874978795115011</c:v>
                </c:pt>
                <c:pt idx="54">
                  <c:v>0.1583709983449568</c:v>
                </c:pt>
                <c:pt idx="55">
                  <c:v>0.15802105161254959</c:v>
                </c:pt>
                <c:pt idx="56">
                  <c:v>0.1576806807688623</c:v>
                </c:pt>
                <c:pt idx="57">
                  <c:v>0.15734958706132429</c:v>
                </c:pt>
                <c:pt idx="58">
                  <c:v>0.156845831363181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9-E27E-4C0A-99B7-33696A982CB4}"/>
            </c:ext>
          </c:extLst>
        </c:ser>
        <c:ser>
          <c:idx val="26"/>
          <c:order val="26"/>
          <c:tx>
            <c:strRef>
              <c:f>Sheet1!$A$28</c:f>
              <c:strCache>
                <c:ptCount val="1"/>
                <c:pt idx="0">
                  <c:v>6</c:v>
                </c:pt>
              </c:strCache>
            </c:strRef>
          </c:tx>
          <c:spPr>
            <a:gradFill rotWithShape="1">
              <a:gsLst>
                <a:gs pos="0">
                  <a:schemeClr val="accent3">
                    <a:lumMod val="60000"/>
                    <a:lumOff val="40000"/>
                    <a:tint val="50000"/>
                    <a:satMod val="300000"/>
                  </a:schemeClr>
                </a:gs>
                <a:gs pos="35000">
                  <a:schemeClr val="accent3">
                    <a:lumMod val="60000"/>
                    <a:lumOff val="40000"/>
                    <a:tint val="37000"/>
                    <a:satMod val="300000"/>
                  </a:schemeClr>
                </a:gs>
                <a:gs pos="100000">
                  <a:schemeClr val="accent3">
                    <a:lumMod val="60000"/>
                    <a:lumOff val="40000"/>
                    <a:tint val="15000"/>
                    <a:satMod val="350000"/>
                  </a:schemeClr>
                </a:gs>
              </a:gsLst>
              <a:lin ang="16200000" scaled="1"/>
            </a:gradFill>
            <a:ln w="9525" cap="flat" cmpd="sng" algn="ctr">
              <a:solidFill>
                <a:schemeClr val="accent3">
                  <a:lumMod val="60000"/>
                  <a:lumOff val="40000"/>
                  <a:shade val="95000"/>
                </a:schemeClr>
              </a:solidFill>
              <a:round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  <a:sp3d contourW="9525">
              <a:contourClr>
                <a:schemeClr val="accent3">
                  <a:lumMod val="60000"/>
                  <a:lumOff val="40000"/>
                  <a:shade val="95000"/>
                </a:schemeClr>
              </a:contourClr>
            </a:sp3d>
          </c:spPr>
          <c:cat>
            <c:numRef>
              <c:f>Sheet1!$B$1:$BH$1</c:f>
              <c:numCache>
                <c:formatCode>General</c:formatCode>
                <c:ptCount val="59"/>
                <c:pt idx="0">
                  <c:v>40</c:v>
                </c:pt>
                <c:pt idx="1">
                  <c:v>42.5</c:v>
                </c:pt>
                <c:pt idx="2">
                  <c:v>45</c:v>
                </c:pt>
                <c:pt idx="3">
                  <c:v>47.5</c:v>
                </c:pt>
                <c:pt idx="4">
                  <c:v>50</c:v>
                </c:pt>
                <c:pt idx="5">
                  <c:v>52.5</c:v>
                </c:pt>
                <c:pt idx="6">
                  <c:v>55</c:v>
                </c:pt>
                <c:pt idx="7">
                  <c:v>57.5</c:v>
                </c:pt>
                <c:pt idx="8">
                  <c:v>60</c:v>
                </c:pt>
                <c:pt idx="9">
                  <c:v>62.5</c:v>
                </c:pt>
                <c:pt idx="10">
                  <c:v>65</c:v>
                </c:pt>
                <c:pt idx="11">
                  <c:v>67.5</c:v>
                </c:pt>
                <c:pt idx="12">
                  <c:v>70</c:v>
                </c:pt>
                <c:pt idx="13">
                  <c:v>72.5</c:v>
                </c:pt>
                <c:pt idx="14">
                  <c:v>75</c:v>
                </c:pt>
                <c:pt idx="15">
                  <c:v>77.5</c:v>
                </c:pt>
                <c:pt idx="16">
                  <c:v>80</c:v>
                </c:pt>
                <c:pt idx="17">
                  <c:v>82.5</c:v>
                </c:pt>
                <c:pt idx="18">
                  <c:v>85</c:v>
                </c:pt>
                <c:pt idx="19">
                  <c:v>87.5</c:v>
                </c:pt>
                <c:pt idx="20">
                  <c:v>90</c:v>
                </c:pt>
                <c:pt idx="21">
                  <c:v>92.5</c:v>
                </c:pt>
                <c:pt idx="22">
                  <c:v>95</c:v>
                </c:pt>
                <c:pt idx="23">
                  <c:v>97.5</c:v>
                </c:pt>
                <c:pt idx="24">
                  <c:v>100</c:v>
                </c:pt>
                <c:pt idx="25">
                  <c:v>102.5</c:v>
                </c:pt>
                <c:pt idx="26">
                  <c:v>105</c:v>
                </c:pt>
                <c:pt idx="27">
                  <c:v>107.5</c:v>
                </c:pt>
                <c:pt idx="28">
                  <c:v>110</c:v>
                </c:pt>
                <c:pt idx="29">
                  <c:v>112.5</c:v>
                </c:pt>
                <c:pt idx="30">
                  <c:v>115</c:v>
                </c:pt>
                <c:pt idx="31">
                  <c:v>117.5</c:v>
                </c:pt>
                <c:pt idx="32">
                  <c:v>120</c:v>
                </c:pt>
                <c:pt idx="33">
                  <c:v>122.5</c:v>
                </c:pt>
                <c:pt idx="34">
                  <c:v>125</c:v>
                </c:pt>
                <c:pt idx="35">
                  <c:v>127.5</c:v>
                </c:pt>
                <c:pt idx="36">
                  <c:v>130</c:v>
                </c:pt>
                <c:pt idx="37">
                  <c:v>132.5</c:v>
                </c:pt>
                <c:pt idx="38">
                  <c:v>135</c:v>
                </c:pt>
                <c:pt idx="39">
                  <c:v>137.5</c:v>
                </c:pt>
                <c:pt idx="40">
                  <c:v>140</c:v>
                </c:pt>
                <c:pt idx="41">
                  <c:v>142.5</c:v>
                </c:pt>
                <c:pt idx="42">
                  <c:v>145</c:v>
                </c:pt>
                <c:pt idx="43">
                  <c:v>147.5</c:v>
                </c:pt>
                <c:pt idx="44">
                  <c:v>150</c:v>
                </c:pt>
                <c:pt idx="45">
                  <c:v>152.5</c:v>
                </c:pt>
                <c:pt idx="46">
                  <c:v>155</c:v>
                </c:pt>
                <c:pt idx="47">
                  <c:v>157.5</c:v>
                </c:pt>
                <c:pt idx="48">
                  <c:v>160</c:v>
                </c:pt>
                <c:pt idx="49">
                  <c:v>162.5</c:v>
                </c:pt>
                <c:pt idx="50">
                  <c:v>165</c:v>
                </c:pt>
                <c:pt idx="51">
                  <c:v>167.5</c:v>
                </c:pt>
                <c:pt idx="52">
                  <c:v>170</c:v>
                </c:pt>
                <c:pt idx="53">
                  <c:v>172.5</c:v>
                </c:pt>
                <c:pt idx="54">
                  <c:v>175</c:v>
                </c:pt>
                <c:pt idx="55">
                  <c:v>177.5</c:v>
                </c:pt>
                <c:pt idx="56">
                  <c:v>180</c:v>
                </c:pt>
                <c:pt idx="57">
                  <c:v>182.5</c:v>
                </c:pt>
                <c:pt idx="58">
                  <c:v>1000</c:v>
                </c:pt>
              </c:numCache>
            </c:numRef>
          </c:cat>
          <c:val>
            <c:numRef>
              <c:f>Sheet1!$B$28:$BH$28</c:f>
              <c:numCache>
                <c:formatCode>General</c:formatCode>
                <c:ptCount val="59"/>
                <c:pt idx="0">
                  <c:v>0.29841221053814537</c:v>
                </c:pt>
                <c:pt idx="1">
                  <c:v>0.29250352097540799</c:v>
                </c:pt>
                <c:pt idx="2">
                  <c:v>0.28703496862921601</c:v>
                </c:pt>
                <c:pt idx="3">
                  <c:v>0.28195888123886093</c:v>
                </c:pt>
                <c:pt idx="4">
                  <c:v>0.27723492807584998</c:v>
                </c:pt>
                <c:pt idx="5">
                  <c:v>0.27282867988740989</c:v>
                </c:pt>
                <c:pt idx="6">
                  <c:v>0.2687099778186674</c:v>
                </c:pt>
                <c:pt idx="7">
                  <c:v>0.26478128588843791</c:v>
                </c:pt>
                <c:pt idx="8">
                  <c:v>0.2609768754066687</c:v>
                </c:pt>
                <c:pt idx="9">
                  <c:v>0.25728656161894542</c:v>
                </c:pt>
                <c:pt idx="10">
                  <c:v>0.25370108886913451</c:v>
                </c:pt>
                <c:pt idx="11">
                  <c:v>0.25016954320883472</c:v>
                </c:pt>
                <c:pt idx="12">
                  <c:v>0.2466563776818273</c:v>
                </c:pt>
                <c:pt idx="13">
                  <c:v>0.24315965732286651</c:v>
                </c:pt>
                <c:pt idx="14">
                  <c:v>0.2396777416434718</c:v>
                </c:pt>
                <c:pt idx="15">
                  <c:v>0.23627722947668389</c:v>
                </c:pt>
                <c:pt idx="16">
                  <c:v>0.23300475670761911</c:v>
                </c:pt>
                <c:pt idx="17">
                  <c:v>0.2298526393444851</c:v>
                </c:pt>
                <c:pt idx="18">
                  <c:v>0.2268137082936672</c:v>
                </c:pt>
                <c:pt idx="19">
                  <c:v>0.22382628730852949</c:v>
                </c:pt>
                <c:pt idx="20">
                  <c:v>0.22084363740228061</c:v>
                </c:pt>
                <c:pt idx="21">
                  <c:v>0.21786456275806379</c:v>
                </c:pt>
                <c:pt idx="22">
                  <c:v>0.21490805044557809</c:v>
                </c:pt>
                <c:pt idx="23">
                  <c:v>0.21199104947891029</c:v>
                </c:pt>
                <c:pt idx="24">
                  <c:v>0.20915996631505829</c:v>
                </c:pt>
                <c:pt idx="25">
                  <c:v>0.20645671308151861</c:v>
                </c:pt>
                <c:pt idx="26">
                  <c:v>0.20378095514977801</c:v>
                </c:pt>
                <c:pt idx="27">
                  <c:v>0.20104124968444709</c:v>
                </c:pt>
                <c:pt idx="28">
                  <c:v>0.19835144796297241</c:v>
                </c:pt>
                <c:pt idx="29">
                  <c:v>0.19581600032325211</c:v>
                </c:pt>
                <c:pt idx="30">
                  <c:v>0.19342937053933459</c:v>
                </c:pt>
                <c:pt idx="31">
                  <c:v>0.19104868352944779</c:v>
                </c:pt>
                <c:pt idx="32">
                  <c:v>0.1885574853491824</c:v>
                </c:pt>
                <c:pt idx="33">
                  <c:v>0.18595745094587551</c:v>
                </c:pt>
                <c:pt idx="34">
                  <c:v>0.18351819538783831</c:v>
                </c:pt>
                <c:pt idx="35">
                  <c:v>0.1814910611519861</c:v>
                </c:pt>
                <c:pt idx="36">
                  <c:v>0.1796315741144596</c:v>
                </c:pt>
                <c:pt idx="37">
                  <c:v>0.17771223900793659</c:v>
                </c:pt>
                <c:pt idx="38">
                  <c:v>0.175734203391607</c:v>
                </c:pt>
                <c:pt idx="39">
                  <c:v>0.1738148432988546</c:v>
                </c:pt>
                <c:pt idx="40">
                  <c:v>0.1720525080154407</c:v>
                </c:pt>
                <c:pt idx="41">
                  <c:v>0.17044315785846231</c:v>
                </c:pt>
                <c:pt idx="42">
                  <c:v>0.16898272317512381</c:v>
                </c:pt>
                <c:pt idx="43">
                  <c:v>0.16765792269088969</c:v>
                </c:pt>
                <c:pt idx="44">
                  <c:v>0.1664569488234543</c:v>
                </c:pt>
                <c:pt idx="45">
                  <c:v>0.16537618461327469</c:v>
                </c:pt>
                <c:pt idx="46">
                  <c:v>0.16441199339673751</c:v>
                </c:pt>
                <c:pt idx="47">
                  <c:v>0.16353523630002581</c:v>
                </c:pt>
                <c:pt idx="48">
                  <c:v>0.1627208960573823</c:v>
                </c:pt>
                <c:pt idx="49">
                  <c:v>0.16196700030673539</c:v>
                </c:pt>
                <c:pt idx="50">
                  <c:v>0.16127163092442801</c:v>
                </c:pt>
                <c:pt idx="51">
                  <c:v>0.16063463784095411</c:v>
                </c:pt>
                <c:pt idx="52">
                  <c:v>0.16005565210122169</c:v>
                </c:pt>
                <c:pt idx="53">
                  <c:v>0.15953278988233741</c:v>
                </c:pt>
                <c:pt idx="54">
                  <c:v>0.1590641954637069</c:v>
                </c:pt>
                <c:pt idx="55">
                  <c:v>0.15862693627078711</c:v>
                </c:pt>
                <c:pt idx="56">
                  <c:v>0.1582013066757913</c:v>
                </c:pt>
                <c:pt idx="57">
                  <c:v>0.1577869537179121</c:v>
                </c:pt>
                <c:pt idx="58">
                  <c:v>0.1563246899637817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A-E27E-4C0A-99B7-33696A982CB4}"/>
            </c:ext>
          </c:extLst>
        </c:ser>
        <c:ser>
          <c:idx val="27"/>
          <c:order val="27"/>
          <c:tx>
            <c:strRef>
              <c:f>Sheet1!$A$29</c:f>
              <c:strCache>
                <c:ptCount val="1"/>
                <c:pt idx="0">
                  <c:v>6.25</c:v>
                </c:pt>
              </c:strCache>
            </c:strRef>
          </c:tx>
          <c:spPr>
            <a:gradFill rotWithShape="1">
              <a:gsLst>
                <a:gs pos="0">
                  <a:schemeClr val="accent4">
                    <a:lumMod val="60000"/>
                    <a:lumOff val="40000"/>
                    <a:tint val="50000"/>
                    <a:satMod val="300000"/>
                  </a:schemeClr>
                </a:gs>
                <a:gs pos="35000">
                  <a:schemeClr val="accent4">
                    <a:lumMod val="60000"/>
                    <a:lumOff val="40000"/>
                    <a:tint val="37000"/>
                    <a:satMod val="300000"/>
                  </a:schemeClr>
                </a:gs>
                <a:gs pos="100000">
                  <a:schemeClr val="accent4">
                    <a:lumMod val="60000"/>
                    <a:lumOff val="40000"/>
                    <a:tint val="15000"/>
                    <a:satMod val="350000"/>
                  </a:schemeClr>
                </a:gs>
              </a:gsLst>
              <a:lin ang="16200000" scaled="1"/>
            </a:gradFill>
            <a:ln w="9525" cap="flat" cmpd="sng" algn="ctr">
              <a:solidFill>
                <a:schemeClr val="accent4">
                  <a:lumMod val="60000"/>
                  <a:lumOff val="40000"/>
                  <a:shade val="95000"/>
                </a:schemeClr>
              </a:solidFill>
              <a:round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  <a:sp3d contourW="9525">
              <a:contourClr>
                <a:schemeClr val="accent4">
                  <a:lumMod val="60000"/>
                  <a:lumOff val="40000"/>
                  <a:shade val="95000"/>
                </a:schemeClr>
              </a:contourClr>
            </a:sp3d>
          </c:spPr>
          <c:cat>
            <c:numRef>
              <c:f>Sheet1!$B$1:$BH$1</c:f>
              <c:numCache>
                <c:formatCode>General</c:formatCode>
                <c:ptCount val="59"/>
                <c:pt idx="0">
                  <c:v>40</c:v>
                </c:pt>
                <c:pt idx="1">
                  <c:v>42.5</c:v>
                </c:pt>
                <c:pt idx="2">
                  <c:v>45</c:v>
                </c:pt>
                <c:pt idx="3">
                  <c:v>47.5</c:v>
                </c:pt>
                <c:pt idx="4">
                  <c:v>50</c:v>
                </c:pt>
                <c:pt idx="5">
                  <c:v>52.5</c:v>
                </c:pt>
                <c:pt idx="6">
                  <c:v>55</c:v>
                </c:pt>
                <c:pt idx="7">
                  <c:v>57.5</c:v>
                </c:pt>
                <c:pt idx="8">
                  <c:v>60</c:v>
                </c:pt>
                <c:pt idx="9">
                  <c:v>62.5</c:v>
                </c:pt>
                <c:pt idx="10">
                  <c:v>65</c:v>
                </c:pt>
                <c:pt idx="11">
                  <c:v>67.5</c:v>
                </c:pt>
                <c:pt idx="12">
                  <c:v>70</c:v>
                </c:pt>
                <c:pt idx="13">
                  <c:v>72.5</c:v>
                </c:pt>
                <c:pt idx="14">
                  <c:v>75</c:v>
                </c:pt>
                <c:pt idx="15">
                  <c:v>77.5</c:v>
                </c:pt>
                <c:pt idx="16">
                  <c:v>80</c:v>
                </c:pt>
                <c:pt idx="17">
                  <c:v>82.5</c:v>
                </c:pt>
                <c:pt idx="18">
                  <c:v>85</c:v>
                </c:pt>
                <c:pt idx="19">
                  <c:v>87.5</c:v>
                </c:pt>
                <c:pt idx="20">
                  <c:v>90</c:v>
                </c:pt>
                <c:pt idx="21">
                  <c:v>92.5</c:v>
                </c:pt>
                <c:pt idx="22">
                  <c:v>95</c:v>
                </c:pt>
                <c:pt idx="23">
                  <c:v>97.5</c:v>
                </c:pt>
                <c:pt idx="24">
                  <c:v>100</c:v>
                </c:pt>
                <c:pt idx="25">
                  <c:v>102.5</c:v>
                </c:pt>
                <c:pt idx="26">
                  <c:v>105</c:v>
                </c:pt>
                <c:pt idx="27">
                  <c:v>107.5</c:v>
                </c:pt>
                <c:pt idx="28">
                  <c:v>110</c:v>
                </c:pt>
                <c:pt idx="29">
                  <c:v>112.5</c:v>
                </c:pt>
                <c:pt idx="30">
                  <c:v>115</c:v>
                </c:pt>
                <c:pt idx="31">
                  <c:v>117.5</c:v>
                </c:pt>
                <c:pt idx="32">
                  <c:v>120</c:v>
                </c:pt>
                <c:pt idx="33">
                  <c:v>122.5</c:v>
                </c:pt>
                <c:pt idx="34">
                  <c:v>125</c:v>
                </c:pt>
                <c:pt idx="35">
                  <c:v>127.5</c:v>
                </c:pt>
                <c:pt idx="36">
                  <c:v>130</c:v>
                </c:pt>
                <c:pt idx="37">
                  <c:v>132.5</c:v>
                </c:pt>
                <c:pt idx="38">
                  <c:v>135</c:v>
                </c:pt>
                <c:pt idx="39">
                  <c:v>137.5</c:v>
                </c:pt>
                <c:pt idx="40">
                  <c:v>140</c:v>
                </c:pt>
                <c:pt idx="41">
                  <c:v>142.5</c:v>
                </c:pt>
                <c:pt idx="42">
                  <c:v>145</c:v>
                </c:pt>
                <c:pt idx="43">
                  <c:v>147.5</c:v>
                </c:pt>
                <c:pt idx="44">
                  <c:v>150</c:v>
                </c:pt>
                <c:pt idx="45">
                  <c:v>152.5</c:v>
                </c:pt>
                <c:pt idx="46">
                  <c:v>155</c:v>
                </c:pt>
                <c:pt idx="47">
                  <c:v>157.5</c:v>
                </c:pt>
                <c:pt idx="48">
                  <c:v>160</c:v>
                </c:pt>
                <c:pt idx="49">
                  <c:v>162.5</c:v>
                </c:pt>
                <c:pt idx="50">
                  <c:v>165</c:v>
                </c:pt>
                <c:pt idx="51">
                  <c:v>167.5</c:v>
                </c:pt>
                <c:pt idx="52">
                  <c:v>170</c:v>
                </c:pt>
                <c:pt idx="53">
                  <c:v>172.5</c:v>
                </c:pt>
                <c:pt idx="54">
                  <c:v>175</c:v>
                </c:pt>
                <c:pt idx="55">
                  <c:v>177.5</c:v>
                </c:pt>
                <c:pt idx="56">
                  <c:v>180</c:v>
                </c:pt>
                <c:pt idx="57">
                  <c:v>182.5</c:v>
                </c:pt>
                <c:pt idx="58">
                  <c:v>1000</c:v>
                </c:pt>
              </c:numCache>
            </c:numRef>
          </c:cat>
          <c:val>
            <c:numRef>
              <c:f>Sheet1!$B$29:$BH$29</c:f>
              <c:numCache>
                <c:formatCode>General</c:formatCode>
                <c:ptCount val="59"/>
                <c:pt idx="0">
                  <c:v>0.29577962899217553</c:v>
                </c:pt>
                <c:pt idx="1">
                  <c:v>0.29007082733537881</c:v>
                </c:pt>
                <c:pt idx="2">
                  <c:v>0.28479086478157828</c:v>
                </c:pt>
                <c:pt idx="3">
                  <c:v>0.27989314539950683</c:v>
                </c:pt>
                <c:pt idx="4">
                  <c:v>0.27533825133562467</c:v>
                </c:pt>
                <c:pt idx="5">
                  <c:v>0.27109253473114148</c:v>
                </c:pt>
                <c:pt idx="6">
                  <c:v>0.26712645176599348</c:v>
                </c:pt>
                <c:pt idx="7">
                  <c:v>0.263334994047138</c:v>
                </c:pt>
                <c:pt idx="8">
                  <c:v>0.259648209001834</c:v>
                </c:pt>
                <c:pt idx="9">
                  <c:v>0.25605756309183741</c:v>
                </c:pt>
                <c:pt idx="10">
                  <c:v>0.2525553238093185</c:v>
                </c:pt>
                <c:pt idx="11">
                  <c:v>0.24910844651741901</c:v>
                </c:pt>
                <c:pt idx="12">
                  <c:v>0.24569349325695741</c:v>
                </c:pt>
                <c:pt idx="13">
                  <c:v>0.2423077679134264</c:v>
                </c:pt>
                <c:pt idx="14">
                  <c:v>0.23894893101290851</c:v>
                </c:pt>
                <c:pt idx="15">
                  <c:v>0.2356681143747075</c:v>
                </c:pt>
                <c:pt idx="16">
                  <c:v>0.232500836959421</c:v>
                </c:pt>
                <c:pt idx="17">
                  <c:v>0.22944019067725399</c:v>
                </c:pt>
                <c:pt idx="18">
                  <c:v>0.22647976471125039</c:v>
                </c:pt>
                <c:pt idx="19">
                  <c:v>0.2235748859954137</c:v>
                </c:pt>
                <c:pt idx="20">
                  <c:v>0.22069155391715919</c:v>
                </c:pt>
                <c:pt idx="21">
                  <c:v>0.21782795406416991</c:v>
                </c:pt>
                <c:pt idx="22">
                  <c:v>0.21498983628383411</c:v>
                </c:pt>
                <c:pt idx="23">
                  <c:v>0.2121822577129886</c:v>
                </c:pt>
                <c:pt idx="24">
                  <c:v>0.20945169630828911</c:v>
                </c:pt>
                <c:pt idx="25">
                  <c:v>0.20684004125510219</c:v>
                </c:pt>
                <c:pt idx="26">
                  <c:v>0.20423558145157811</c:v>
                </c:pt>
                <c:pt idx="27">
                  <c:v>0.2015366668793882</c:v>
                </c:pt>
                <c:pt idx="28">
                  <c:v>0.1988989667506737</c:v>
                </c:pt>
                <c:pt idx="29">
                  <c:v>0.19646513387821721</c:v>
                </c:pt>
                <c:pt idx="30">
                  <c:v>0.19422791308886411</c:v>
                </c:pt>
                <c:pt idx="31">
                  <c:v>0.19198079393489989</c:v>
                </c:pt>
                <c:pt idx="32">
                  <c:v>0.1895560629536</c:v>
                </c:pt>
                <c:pt idx="33">
                  <c:v>0.18695728397223521</c:v>
                </c:pt>
                <c:pt idx="34">
                  <c:v>0.18452810893642821</c:v>
                </c:pt>
                <c:pt idx="35">
                  <c:v>0.18258866008395011</c:v>
                </c:pt>
                <c:pt idx="36">
                  <c:v>0.18083688932727129</c:v>
                </c:pt>
                <c:pt idx="37">
                  <c:v>0.178992268756265</c:v>
                </c:pt>
                <c:pt idx="38">
                  <c:v>0.17705697006988691</c:v>
                </c:pt>
                <c:pt idx="39">
                  <c:v>0.1751562199585118</c:v>
                </c:pt>
                <c:pt idx="40">
                  <c:v>0.17339490872101859</c:v>
                </c:pt>
                <c:pt idx="41">
                  <c:v>0.17176937878097739</c:v>
                </c:pt>
                <c:pt idx="42">
                  <c:v>0.1702760015808433</c:v>
                </c:pt>
                <c:pt idx="43">
                  <c:v>0.1689145723505793</c:v>
                </c:pt>
                <c:pt idx="44">
                  <c:v>0.16768434209657779</c:v>
                </c:pt>
                <c:pt idx="45">
                  <c:v>0.16658152062892981</c:v>
                </c:pt>
                <c:pt idx="46">
                  <c:v>0.16560226935506331</c:v>
                </c:pt>
                <c:pt idx="47">
                  <c:v>0.16470254997733469</c:v>
                </c:pt>
                <c:pt idx="48">
                  <c:v>0.16384478633718119</c:v>
                </c:pt>
                <c:pt idx="49">
                  <c:v>0.16302767514032809</c:v>
                </c:pt>
                <c:pt idx="50">
                  <c:v>0.1622499726347858</c:v>
                </c:pt>
                <c:pt idx="51">
                  <c:v>0.1615232430721133</c:v>
                </c:pt>
                <c:pt idx="52">
                  <c:v>0.1608571393319988</c:v>
                </c:pt>
                <c:pt idx="53">
                  <c:v>0.16024977270155599</c:v>
                </c:pt>
                <c:pt idx="54">
                  <c:v>0.15969927935753289</c:v>
                </c:pt>
                <c:pt idx="55">
                  <c:v>0.1591823133892174</c:v>
                </c:pt>
                <c:pt idx="56">
                  <c:v>0.15867877385595081</c:v>
                </c:pt>
                <c:pt idx="57">
                  <c:v>0.1581882630335483</c:v>
                </c:pt>
                <c:pt idx="58">
                  <c:v>0.1558437007338963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B-E27E-4C0A-99B7-33696A982CB4}"/>
            </c:ext>
          </c:extLst>
        </c:ser>
        <c:ser>
          <c:idx val="28"/>
          <c:order val="28"/>
          <c:tx>
            <c:strRef>
              <c:f>Sheet1!$A$30</c:f>
              <c:strCache>
                <c:ptCount val="1"/>
                <c:pt idx="0">
                  <c:v>6.5</c:v>
                </c:pt>
              </c:strCache>
            </c:strRef>
          </c:tx>
          <c:spPr>
            <a:gradFill rotWithShape="1">
              <a:gsLst>
                <a:gs pos="0">
                  <a:schemeClr val="accent5">
                    <a:lumMod val="60000"/>
                    <a:lumOff val="40000"/>
                    <a:tint val="50000"/>
                    <a:satMod val="300000"/>
                  </a:schemeClr>
                </a:gs>
                <a:gs pos="35000">
                  <a:schemeClr val="accent5">
                    <a:lumMod val="60000"/>
                    <a:lumOff val="40000"/>
                    <a:tint val="37000"/>
                    <a:satMod val="300000"/>
                  </a:schemeClr>
                </a:gs>
                <a:gs pos="100000">
                  <a:schemeClr val="accent5">
                    <a:lumMod val="60000"/>
                    <a:lumOff val="40000"/>
                    <a:tint val="15000"/>
                    <a:satMod val="350000"/>
                  </a:schemeClr>
                </a:gs>
              </a:gsLst>
              <a:lin ang="16200000" scaled="1"/>
            </a:gradFill>
            <a:ln w="9525" cap="flat" cmpd="sng" algn="ctr">
              <a:solidFill>
                <a:schemeClr val="accent5">
                  <a:lumMod val="60000"/>
                  <a:lumOff val="40000"/>
                  <a:shade val="95000"/>
                </a:schemeClr>
              </a:solidFill>
              <a:round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  <a:sp3d contourW="9525">
              <a:contourClr>
                <a:schemeClr val="accent5">
                  <a:lumMod val="60000"/>
                  <a:lumOff val="40000"/>
                  <a:shade val="95000"/>
                </a:schemeClr>
              </a:contourClr>
            </a:sp3d>
          </c:spPr>
          <c:cat>
            <c:numRef>
              <c:f>Sheet1!$B$1:$BH$1</c:f>
              <c:numCache>
                <c:formatCode>General</c:formatCode>
                <c:ptCount val="59"/>
                <c:pt idx="0">
                  <c:v>40</c:v>
                </c:pt>
                <c:pt idx="1">
                  <c:v>42.5</c:v>
                </c:pt>
                <c:pt idx="2">
                  <c:v>45</c:v>
                </c:pt>
                <c:pt idx="3">
                  <c:v>47.5</c:v>
                </c:pt>
                <c:pt idx="4">
                  <c:v>50</c:v>
                </c:pt>
                <c:pt idx="5">
                  <c:v>52.5</c:v>
                </c:pt>
                <c:pt idx="6">
                  <c:v>55</c:v>
                </c:pt>
                <c:pt idx="7">
                  <c:v>57.5</c:v>
                </c:pt>
                <c:pt idx="8">
                  <c:v>60</c:v>
                </c:pt>
                <c:pt idx="9">
                  <c:v>62.5</c:v>
                </c:pt>
                <c:pt idx="10">
                  <c:v>65</c:v>
                </c:pt>
                <c:pt idx="11">
                  <c:v>67.5</c:v>
                </c:pt>
                <c:pt idx="12">
                  <c:v>70</c:v>
                </c:pt>
                <c:pt idx="13">
                  <c:v>72.5</c:v>
                </c:pt>
                <c:pt idx="14">
                  <c:v>75</c:v>
                </c:pt>
                <c:pt idx="15">
                  <c:v>77.5</c:v>
                </c:pt>
                <c:pt idx="16">
                  <c:v>80</c:v>
                </c:pt>
                <c:pt idx="17">
                  <c:v>82.5</c:v>
                </c:pt>
                <c:pt idx="18">
                  <c:v>85</c:v>
                </c:pt>
                <c:pt idx="19">
                  <c:v>87.5</c:v>
                </c:pt>
                <c:pt idx="20">
                  <c:v>90</c:v>
                </c:pt>
                <c:pt idx="21">
                  <c:v>92.5</c:v>
                </c:pt>
                <c:pt idx="22">
                  <c:v>95</c:v>
                </c:pt>
                <c:pt idx="23">
                  <c:v>97.5</c:v>
                </c:pt>
                <c:pt idx="24">
                  <c:v>100</c:v>
                </c:pt>
                <c:pt idx="25">
                  <c:v>102.5</c:v>
                </c:pt>
                <c:pt idx="26">
                  <c:v>105</c:v>
                </c:pt>
                <c:pt idx="27">
                  <c:v>107.5</c:v>
                </c:pt>
                <c:pt idx="28">
                  <c:v>110</c:v>
                </c:pt>
                <c:pt idx="29">
                  <c:v>112.5</c:v>
                </c:pt>
                <c:pt idx="30">
                  <c:v>115</c:v>
                </c:pt>
                <c:pt idx="31">
                  <c:v>117.5</c:v>
                </c:pt>
                <c:pt idx="32">
                  <c:v>120</c:v>
                </c:pt>
                <c:pt idx="33">
                  <c:v>122.5</c:v>
                </c:pt>
                <c:pt idx="34">
                  <c:v>125</c:v>
                </c:pt>
                <c:pt idx="35">
                  <c:v>127.5</c:v>
                </c:pt>
                <c:pt idx="36">
                  <c:v>130</c:v>
                </c:pt>
                <c:pt idx="37">
                  <c:v>132.5</c:v>
                </c:pt>
                <c:pt idx="38">
                  <c:v>135</c:v>
                </c:pt>
                <c:pt idx="39">
                  <c:v>137.5</c:v>
                </c:pt>
                <c:pt idx="40">
                  <c:v>140</c:v>
                </c:pt>
                <c:pt idx="41">
                  <c:v>142.5</c:v>
                </c:pt>
                <c:pt idx="42">
                  <c:v>145</c:v>
                </c:pt>
                <c:pt idx="43">
                  <c:v>147.5</c:v>
                </c:pt>
                <c:pt idx="44">
                  <c:v>150</c:v>
                </c:pt>
                <c:pt idx="45">
                  <c:v>152.5</c:v>
                </c:pt>
                <c:pt idx="46">
                  <c:v>155</c:v>
                </c:pt>
                <c:pt idx="47">
                  <c:v>157.5</c:v>
                </c:pt>
                <c:pt idx="48">
                  <c:v>160</c:v>
                </c:pt>
                <c:pt idx="49">
                  <c:v>162.5</c:v>
                </c:pt>
                <c:pt idx="50">
                  <c:v>165</c:v>
                </c:pt>
                <c:pt idx="51">
                  <c:v>167.5</c:v>
                </c:pt>
                <c:pt idx="52">
                  <c:v>170</c:v>
                </c:pt>
                <c:pt idx="53">
                  <c:v>172.5</c:v>
                </c:pt>
                <c:pt idx="54">
                  <c:v>175</c:v>
                </c:pt>
                <c:pt idx="55">
                  <c:v>177.5</c:v>
                </c:pt>
                <c:pt idx="56">
                  <c:v>180</c:v>
                </c:pt>
                <c:pt idx="57">
                  <c:v>182.5</c:v>
                </c:pt>
                <c:pt idx="58">
                  <c:v>1000</c:v>
                </c:pt>
              </c:numCache>
            </c:numRef>
          </c:cat>
          <c:val>
            <c:numRef>
              <c:f>Sheet1!$B$30:$BH$30</c:f>
              <c:numCache>
                <c:formatCode>General</c:formatCode>
                <c:ptCount val="59"/>
                <c:pt idx="0">
                  <c:v>0.29332858372474929</c:v>
                </c:pt>
                <c:pt idx="1">
                  <c:v>0.28780701391726521</c:v>
                </c:pt>
                <c:pt idx="2">
                  <c:v>0.28270357375557781</c:v>
                </c:pt>
                <c:pt idx="3">
                  <c:v>0.27797268716508211</c:v>
                </c:pt>
                <c:pt idx="4">
                  <c:v>0.27357580190890851</c:v>
                </c:pt>
                <c:pt idx="5">
                  <c:v>0.26948001165272661</c:v>
                </c:pt>
                <c:pt idx="6">
                  <c:v>0.26565635764960849</c:v>
                </c:pt>
                <c:pt idx="7">
                  <c:v>0.26199286909913277</c:v>
                </c:pt>
                <c:pt idx="8">
                  <c:v>0.25841568435701651</c:v>
                </c:pt>
                <c:pt idx="9">
                  <c:v>0.25491784392032968</c:v>
                </c:pt>
                <c:pt idx="10">
                  <c:v>0.25149306148711897</c:v>
                </c:pt>
                <c:pt idx="11">
                  <c:v>0.24812494510229821</c:v>
                </c:pt>
                <c:pt idx="12">
                  <c:v>0.24480131534128799</c:v>
                </c:pt>
                <c:pt idx="13">
                  <c:v>0.2415187414908459</c:v>
                </c:pt>
                <c:pt idx="14">
                  <c:v>0.2382742041516801</c:v>
                </c:pt>
                <c:pt idx="15">
                  <c:v>0.23510445359344251</c:v>
                </c:pt>
                <c:pt idx="16">
                  <c:v>0.2320347089239122</c:v>
                </c:pt>
                <c:pt idx="17">
                  <c:v>0.22905880966163319</c:v>
                </c:pt>
                <c:pt idx="18">
                  <c:v>0.2261710714604675</c:v>
                </c:pt>
                <c:pt idx="19">
                  <c:v>0.2233425720747787</c:v>
                </c:pt>
                <c:pt idx="20">
                  <c:v>0.22055107608101529</c:v>
                </c:pt>
                <c:pt idx="21">
                  <c:v>0.21779415596196561</c:v>
                </c:pt>
                <c:pt idx="22">
                  <c:v>0.21506530329859469</c:v>
                </c:pt>
                <c:pt idx="23">
                  <c:v>0.212358604812797</c:v>
                </c:pt>
                <c:pt idx="24">
                  <c:v>0.20972062534815911</c:v>
                </c:pt>
                <c:pt idx="25">
                  <c:v>0.20719325318374329</c:v>
                </c:pt>
                <c:pt idx="26">
                  <c:v>0.20465434012021619</c:v>
                </c:pt>
                <c:pt idx="27">
                  <c:v>0.20199289658590369</c:v>
                </c:pt>
                <c:pt idx="28">
                  <c:v>0.19940303435968501</c:v>
                </c:pt>
                <c:pt idx="29">
                  <c:v>0.19706243621160649</c:v>
                </c:pt>
                <c:pt idx="30">
                  <c:v>0.1949621262873826</c:v>
                </c:pt>
                <c:pt idx="31">
                  <c:v>0.19283720460869441</c:v>
                </c:pt>
                <c:pt idx="32">
                  <c:v>0.19047318036269631</c:v>
                </c:pt>
                <c:pt idx="33">
                  <c:v>0.18787548413560071</c:v>
                </c:pt>
                <c:pt idx="34">
                  <c:v>0.18545545561597029</c:v>
                </c:pt>
                <c:pt idx="35">
                  <c:v>0.1835960043231249</c:v>
                </c:pt>
                <c:pt idx="36">
                  <c:v>0.18194240096863951</c:v>
                </c:pt>
                <c:pt idx="37">
                  <c:v>0.18016576302102091</c:v>
                </c:pt>
                <c:pt idx="38">
                  <c:v>0.17826927414578131</c:v>
                </c:pt>
                <c:pt idx="39">
                  <c:v>0.1763853599676222</c:v>
                </c:pt>
                <c:pt idx="40">
                  <c:v>0.17462488876411181</c:v>
                </c:pt>
                <c:pt idx="41">
                  <c:v>0.17298455832394541</c:v>
                </c:pt>
                <c:pt idx="42">
                  <c:v>0.17146113914479891</c:v>
                </c:pt>
                <c:pt idx="43">
                  <c:v>0.17006631519163459</c:v>
                </c:pt>
                <c:pt idx="44">
                  <c:v>0.16880939977238879</c:v>
                </c:pt>
                <c:pt idx="45">
                  <c:v>0.1676864487275713</c:v>
                </c:pt>
                <c:pt idx="46">
                  <c:v>0.1666934421478789</c:v>
                </c:pt>
                <c:pt idx="47">
                  <c:v>0.1657727747633089</c:v>
                </c:pt>
                <c:pt idx="48">
                  <c:v>0.16487542385372811</c:v>
                </c:pt>
                <c:pt idx="49">
                  <c:v>0.16400067103079519</c:v>
                </c:pt>
                <c:pt idx="50">
                  <c:v>0.1631478501726436</c:v>
                </c:pt>
                <c:pt idx="51">
                  <c:v>0.16233917694415911</c:v>
                </c:pt>
                <c:pt idx="52">
                  <c:v>0.1615934453681365</c:v>
                </c:pt>
                <c:pt idx="53">
                  <c:v>0.16090876743833271</c:v>
                </c:pt>
                <c:pt idx="54">
                  <c:v>0.16028327719785249</c:v>
                </c:pt>
                <c:pt idx="55">
                  <c:v>0.15969325487193331</c:v>
                </c:pt>
                <c:pt idx="56">
                  <c:v>0.1591182411347386</c:v>
                </c:pt>
                <c:pt idx="57">
                  <c:v>0.15855780088427199</c:v>
                </c:pt>
                <c:pt idx="58">
                  <c:v>0.1553983892980667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C-E27E-4C0A-99B7-33696A982CB4}"/>
            </c:ext>
          </c:extLst>
        </c:ser>
        <c:ser>
          <c:idx val="29"/>
          <c:order val="29"/>
          <c:tx>
            <c:strRef>
              <c:f>Sheet1!$A$31</c:f>
              <c:strCache>
                <c:ptCount val="1"/>
                <c:pt idx="0">
                  <c:v>6.75</c:v>
                </c:pt>
              </c:strCache>
            </c:strRef>
          </c:tx>
          <c:spPr>
            <a:gradFill rotWithShape="1">
              <a:gsLst>
                <a:gs pos="0">
                  <a:schemeClr val="accent6">
                    <a:lumMod val="60000"/>
                    <a:lumOff val="40000"/>
                    <a:tint val="50000"/>
                    <a:satMod val="300000"/>
                  </a:schemeClr>
                </a:gs>
                <a:gs pos="35000">
                  <a:schemeClr val="accent6">
                    <a:lumMod val="60000"/>
                    <a:lumOff val="40000"/>
                    <a:tint val="37000"/>
                    <a:satMod val="300000"/>
                  </a:schemeClr>
                </a:gs>
                <a:gs pos="100000">
                  <a:schemeClr val="accent6">
                    <a:lumMod val="60000"/>
                    <a:lumOff val="40000"/>
                    <a:tint val="15000"/>
                    <a:satMod val="350000"/>
                  </a:schemeClr>
                </a:gs>
              </a:gsLst>
              <a:lin ang="16200000" scaled="1"/>
            </a:gradFill>
            <a:ln w="9525" cap="flat" cmpd="sng" algn="ctr">
              <a:solidFill>
                <a:schemeClr val="accent6">
                  <a:lumMod val="60000"/>
                  <a:lumOff val="40000"/>
                  <a:shade val="95000"/>
                </a:schemeClr>
              </a:solidFill>
              <a:round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  <a:sp3d contourW="9525">
              <a:contourClr>
                <a:schemeClr val="accent6">
                  <a:lumMod val="60000"/>
                  <a:lumOff val="40000"/>
                  <a:shade val="95000"/>
                </a:schemeClr>
              </a:contourClr>
            </a:sp3d>
          </c:spPr>
          <c:cat>
            <c:numRef>
              <c:f>Sheet1!$B$1:$BH$1</c:f>
              <c:numCache>
                <c:formatCode>General</c:formatCode>
                <c:ptCount val="59"/>
                <c:pt idx="0">
                  <c:v>40</c:v>
                </c:pt>
                <c:pt idx="1">
                  <c:v>42.5</c:v>
                </c:pt>
                <c:pt idx="2">
                  <c:v>45</c:v>
                </c:pt>
                <c:pt idx="3">
                  <c:v>47.5</c:v>
                </c:pt>
                <c:pt idx="4">
                  <c:v>50</c:v>
                </c:pt>
                <c:pt idx="5">
                  <c:v>52.5</c:v>
                </c:pt>
                <c:pt idx="6">
                  <c:v>55</c:v>
                </c:pt>
                <c:pt idx="7">
                  <c:v>57.5</c:v>
                </c:pt>
                <c:pt idx="8">
                  <c:v>60</c:v>
                </c:pt>
                <c:pt idx="9">
                  <c:v>62.5</c:v>
                </c:pt>
                <c:pt idx="10">
                  <c:v>65</c:v>
                </c:pt>
                <c:pt idx="11">
                  <c:v>67.5</c:v>
                </c:pt>
                <c:pt idx="12">
                  <c:v>70</c:v>
                </c:pt>
                <c:pt idx="13">
                  <c:v>72.5</c:v>
                </c:pt>
                <c:pt idx="14">
                  <c:v>75</c:v>
                </c:pt>
                <c:pt idx="15">
                  <c:v>77.5</c:v>
                </c:pt>
                <c:pt idx="16">
                  <c:v>80</c:v>
                </c:pt>
                <c:pt idx="17">
                  <c:v>82.5</c:v>
                </c:pt>
                <c:pt idx="18">
                  <c:v>85</c:v>
                </c:pt>
                <c:pt idx="19">
                  <c:v>87.5</c:v>
                </c:pt>
                <c:pt idx="20">
                  <c:v>90</c:v>
                </c:pt>
                <c:pt idx="21">
                  <c:v>92.5</c:v>
                </c:pt>
                <c:pt idx="22">
                  <c:v>95</c:v>
                </c:pt>
                <c:pt idx="23">
                  <c:v>97.5</c:v>
                </c:pt>
                <c:pt idx="24">
                  <c:v>100</c:v>
                </c:pt>
                <c:pt idx="25">
                  <c:v>102.5</c:v>
                </c:pt>
                <c:pt idx="26">
                  <c:v>105</c:v>
                </c:pt>
                <c:pt idx="27">
                  <c:v>107.5</c:v>
                </c:pt>
                <c:pt idx="28">
                  <c:v>110</c:v>
                </c:pt>
                <c:pt idx="29">
                  <c:v>112.5</c:v>
                </c:pt>
                <c:pt idx="30">
                  <c:v>115</c:v>
                </c:pt>
                <c:pt idx="31">
                  <c:v>117.5</c:v>
                </c:pt>
                <c:pt idx="32">
                  <c:v>120</c:v>
                </c:pt>
                <c:pt idx="33">
                  <c:v>122.5</c:v>
                </c:pt>
                <c:pt idx="34">
                  <c:v>125</c:v>
                </c:pt>
                <c:pt idx="35">
                  <c:v>127.5</c:v>
                </c:pt>
                <c:pt idx="36">
                  <c:v>130</c:v>
                </c:pt>
                <c:pt idx="37">
                  <c:v>132.5</c:v>
                </c:pt>
                <c:pt idx="38">
                  <c:v>135</c:v>
                </c:pt>
                <c:pt idx="39">
                  <c:v>137.5</c:v>
                </c:pt>
                <c:pt idx="40">
                  <c:v>140</c:v>
                </c:pt>
                <c:pt idx="41">
                  <c:v>142.5</c:v>
                </c:pt>
                <c:pt idx="42">
                  <c:v>145</c:v>
                </c:pt>
                <c:pt idx="43">
                  <c:v>147.5</c:v>
                </c:pt>
                <c:pt idx="44">
                  <c:v>150</c:v>
                </c:pt>
                <c:pt idx="45">
                  <c:v>152.5</c:v>
                </c:pt>
                <c:pt idx="46">
                  <c:v>155</c:v>
                </c:pt>
                <c:pt idx="47">
                  <c:v>157.5</c:v>
                </c:pt>
                <c:pt idx="48">
                  <c:v>160</c:v>
                </c:pt>
                <c:pt idx="49">
                  <c:v>162.5</c:v>
                </c:pt>
                <c:pt idx="50">
                  <c:v>165</c:v>
                </c:pt>
                <c:pt idx="51">
                  <c:v>167.5</c:v>
                </c:pt>
                <c:pt idx="52">
                  <c:v>170</c:v>
                </c:pt>
                <c:pt idx="53">
                  <c:v>172.5</c:v>
                </c:pt>
                <c:pt idx="54">
                  <c:v>175</c:v>
                </c:pt>
                <c:pt idx="55">
                  <c:v>177.5</c:v>
                </c:pt>
                <c:pt idx="56">
                  <c:v>180</c:v>
                </c:pt>
                <c:pt idx="57">
                  <c:v>182.5</c:v>
                </c:pt>
                <c:pt idx="58">
                  <c:v>1000</c:v>
                </c:pt>
              </c:numCache>
            </c:numRef>
          </c:cat>
          <c:val>
            <c:numRef>
              <c:f>Sheet1!$B$31:$BH$31</c:f>
              <c:numCache>
                <c:formatCode>General</c:formatCode>
                <c:ptCount val="59"/>
                <c:pt idx="0">
                  <c:v>0.29104069299221991</c:v>
                </c:pt>
                <c:pt idx="1">
                  <c:v>0.28569489655294927</c:v>
                </c:pt>
                <c:pt idx="2">
                  <c:v>0.28075706088288821</c:v>
                </c:pt>
                <c:pt idx="3">
                  <c:v>0.27618257843704602</c:v>
                </c:pt>
                <c:pt idx="4">
                  <c:v>0.27193371959816548</c:v>
                </c:pt>
                <c:pt idx="5">
                  <c:v>0.26797828323457901</c:v>
                </c:pt>
                <c:pt idx="6">
                  <c:v>0.2642878682964851</c:v>
                </c:pt>
                <c:pt idx="7">
                  <c:v>0.2607440012173286</c:v>
                </c:pt>
                <c:pt idx="8">
                  <c:v>0.2572691929983188</c:v>
                </c:pt>
                <c:pt idx="9">
                  <c:v>0.25385798606002508</c:v>
                </c:pt>
                <c:pt idx="10">
                  <c:v>0.25050546893932318</c:v>
                </c:pt>
                <c:pt idx="11">
                  <c:v>0.24721080693048031</c:v>
                </c:pt>
                <c:pt idx="12">
                  <c:v>0.24397231566585589</c:v>
                </c:pt>
                <c:pt idx="13">
                  <c:v>0.24078585612524189</c:v>
                </c:pt>
                <c:pt idx="14">
                  <c:v>0.2376477489844197</c:v>
                </c:pt>
                <c:pt idx="15">
                  <c:v>0.23458133785212021</c:v>
                </c:pt>
                <c:pt idx="16">
                  <c:v>0.23160227241658959</c:v>
                </c:pt>
                <c:pt idx="17">
                  <c:v>0.22870511203351221</c:v>
                </c:pt>
                <c:pt idx="18">
                  <c:v>0.22588486823374521</c:v>
                </c:pt>
                <c:pt idx="19">
                  <c:v>0.22312725092582111</c:v>
                </c:pt>
                <c:pt idx="20">
                  <c:v>0.2204209241837434</c:v>
                </c:pt>
                <c:pt idx="21">
                  <c:v>0.21776285674567999</c:v>
                </c:pt>
                <c:pt idx="22">
                  <c:v>0.21513515655994239</c:v>
                </c:pt>
                <c:pt idx="23">
                  <c:v>0.21252175869198561</c:v>
                </c:pt>
                <c:pt idx="24">
                  <c:v>0.2099693266005597</c:v>
                </c:pt>
                <c:pt idx="25">
                  <c:v>0.20751976522665061</c:v>
                </c:pt>
                <c:pt idx="26">
                  <c:v>0.20504131707306411</c:v>
                </c:pt>
                <c:pt idx="27">
                  <c:v>0.20241441462350601</c:v>
                </c:pt>
                <c:pt idx="28">
                  <c:v>0.19986863013768019</c:v>
                </c:pt>
                <c:pt idx="29">
                  <c:v>0.1976138841903326</c:v>
                </c:pt>
                <c:pt idx="30">
                  <c:v>0.19563949651662099</c:v>
                </c:pt>
                <c:pt idx="31">
                  <c:v>0.19362680006867189</c:v>
                </c:pt>
                <c:pt idx="32">
                  <c:v>0.1913184432540605</c:v>
                </c:pt>
                <c:pt idx="33">
                  <c:v>0.18872168625320301</c:v>
                </c:pt>
                <c:pt idx="34">
                  <c:v>0.18630999438713769</c:v>
                </c:pt>
                <c:pt idx="35">
                  <c:v>0.1845238272274895</c:v>
                </c:pt>
                <c:pt idx="36">
                  <c:v>0.18296006693558911</c:v>
                </c:pt>
                <c:pt idx="37">
                  <c:v>0.18124555736208969</c:v>
                </c:pt>
                <c:pt idx="38">
                  <c:v>0.17938447300306851</c:v>
                </c:pt>
                <c:pt idx="39">
                  <c:v>0.17751586431070129</c:v>
                </c:pt>
                <c:pt idx="40">
                  <c:v>0.17575608446202631</c:v>
                </c:pt>
                <c:pt idx="41">
                  <c:v>0.17410216228085959</c:v>
                </c:pt>
                <c:pt idx="42">
                  <c:v>0.17255123108871981</c:v>
                </c:pt>
                <c:pt idx="43">
                  <c:v>0.17112583224473801</c:v>
                </c:pt>
                <c:pt idx="44">
                  <c:v>0.16984447514097781</c:v>
                </c:pt>
                <c:pt idx="45">
                  <c:v>0.16870307788151259</c:v>
                </c:pt>
                <c:pt idx="46">
                  <c:v>0.16769745682350831</c:v>
                </c:pt>
                <c:pt idx="47">
                  <c:v>0.16675759953984651</c:v>
                </c:pt>
                <c:pt idx="48">
                  <c:v>0.16582400644707451</c:v>
                </c:pt>
                <c:pt idx="49">
                  <c:v>0.16489647409737501</c:v>
                </c:pt>
                <c:pt idx="50">
                  <c:v>0.16397483460150561</c:v>
                </c:pt>
                <c:pt idx="51">
                  <c:v>0.1630910316100295</c:v>
                </c:pt>
                <c:pt idx="52">
                  <c:v>0.16227223132717261</c:v>
                </c:pt>
                <c:pt idx="53">
                  <c:v>0.16151655041107391</c:v>
                </c:pt>
                <c:pt idx="54">
                  <c:v>0.16082212507633731</c:v>
                </c:pt>
                <c:pt idx="55">
                  <c:v>0.1601648955254393</c:v>
                </c:pt>
                <c:pt idx="56">
                  <c:v>0.1595240758101894</c:v>
                </c:pt>
                <c:pt idx="57">
                  <c:v>0.15889919929244439</c:v>
                </c:pt>
                <c:pt idx="58">
                  <c:v>0.154984923060472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D-E27E-4C0A-99B7-33696A982CB4}"/>
            </c:ext>
          </c:extLst>
        </c:ser>
        <c:ser>
          <c:idx val="30"/>
          <c:order val="30"/>
          <c:tx>
            <c:strRef>
              <c:f>Sheet1!$A$32</c:f>
              <c:strCache>
                <c:ptCount val="1"/>
                <c:pt idx="0">
                  <c:v>7</c:v>
                </c:pt>
              </c:strCache>
            </c:strRef>
          </c:tx>
          <c:spPr>
            <a:gradFill rotWithShape="1">
              <a:gsLst>
                <a:gs pos="0">
                  <a:schemeClr val="accent1">
                    <a:lumMod val="50000"/>
                    <a:tint val="50000"/>
                    <a:satMod val="300000"/>
                  </a:schemeClr>
                </a:gs>
                <a:gs pos="35000">
                  <a:schemeClr val="accent1">
                    <a:lumMod val="50000"/>
                    <a:tint val="37000"/>
                    <a:satMod val="300000"/>
                  </a:schemeClr>
                </a:gs>
                <a:gs pos="100000">
                  <a:schemeClr val="accent1">
                    <a:lumMod val="50000"/>
                    <a:tint val="15000"/>
                    <a:satMod val="350000"/>
                  </a:schemeClr>
                </a:gs>
              </a:gsLst>
              <a:lin ang="16200000" scaled="1"/>
            </a:gradFill>
            <a:ln w="9525" cap="flat" cmpd="sng" algn="ctr">
              <a:solidFill>
                <a:schemeClr val="accent1">
                  <a:lumMod val="50000"/>
                  <a:shade val="95000"/>
                </a:schemeClr>
              </a:solidFill>
              <a:round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  <a:sp3d contourW="9525">
              <a:contourClr>
                <a:schemeClr val="accent1">
                  <a:lumMod val="50000"/>
                  <a:shade val="95000"/>
                </a:schemeClr>
              </a:contourClr>
            </a:sp3d>
          </c:spPr>
          <c:cat>
            <c:numRef>
              <c:f>Sheet1!$B$1:$BH$1</c:f>
              <c:numCache>
                <c:formatCode>General</c:formatCode>
                <c:ptCount val="59"/>
                <c:pt idx="0">
                  <c:v>40</c:v>
                </c:pt>
                <c:pt idx="1">
                  <c:v>42.5</c:v>
                </c:pt>
                <c:pt idx="2">
                  <c:v>45</c:v>
                </c:pt>
                <c:pt idx="3">
                  <c:v>47.5</c:v>
                </c:pt>
                <c:pt idx="4">
                  <c:v>50</c:v>
                </c:pt>
                <c:pt idx="5">
                  <c:v>52.5</c:v>
                </c:pt>
                <c:pt idx="6">
                  <c:v>55</c:v>
                </c:pt>
                <c:pt idx="7">
                  <c:v>57.5</c:v>
                </c:pt>
                <c:pt idx="8">
                  <c:v>60</c:v>
                </c:pt>
                <c:pt idx="9">
                  <c:v>62.5</c:v>
                </c:pt>
                <c:pt idx="10">
                  <c:v>65</c:v>
                </c:pt>
                <c:pt idx="11">
                  <c:v>67.5</c:v>
                </c:pt>
                <c:pt idx="12">
                  <c:v>70</c:v>
                </c:pt>
                <c:pt idx="13">
                  <c:v>72.5</c:v>
                </c:pt>
                <c:pt idx="14">
                  <c:v>75</c:v>
                </c:pt>
                <c:pt idx="15">
                  <c:v>77.5</c:v>
                </c:pt>
                <c:pt idx="16">
                  <c:v>80</c:v>
                </c:pt>
                <c:pt idx="17">
                  <c:v>82.5</c:v>
                </c:pt>
                <c:pt idx="18">
                  <c:v>85</c:v>
                </c:pt>
                <c:pt idx="19">
                  <c:v>87.5</c:v>
                </c:pt>
                <c:pt idx="20">
                  <c:v>90</c:v>
                </c:pt>
                <c:pt idx="21">
                  <c:v>92.5</c:v>
                </c:pt>
                <c:pt idx="22">
                  <c:v>95</c:v>
                </c:pt>
                <c:pt idx="23">
                  <c:v>97.5</c:v>
                </c:pt>
                <c:pt idx="24">
                  <c:v>100</c:v>
                </c:pt>
                <c:pt idx="25">
                  <c:v>102.5</c:v>
                </c:pt>
                <c:pt idx="26">
                  <c:v>105</c:v>
                </c:pt>
                <c:pt idx="27">
                  <c:v>107.5</c:v>
                </c:pt>
                <c:pt idx="28">
                  <c:v>110</c:v>
                </c:pt>
                <c:pt idx="29">
                  <c:v>112.5</c:v>
                </c:pt>
                <c:pt idx="30">
                  <c:v>115</c:v>
                </c:pt>
                <c:pt idx="31">
                  <c:v>117.5</c:v>
                </c:pt>
                <c:pt idx="32">
                  <c:v>120</c:v>
                </c:pt>
                <c:pt idx="33">
                  <c:v>122.5</c:v>
                </c:pt>
                <c:pt idx="34">
                  <c:v>125</c:v>
                </c:pt>
                <c:pt idx="35">
                  <c:v>127.5</c:v>
                </c:pt>
                <c:pt idx="36">
                  <c:v>130</c:v>
                </c:pt>
                <c:pt idx="37">
                  <c:v>132.5</c:v>
                </c:pt>
                <c:pt idx="38">
                  <c:v>135</c:v>
                </c:pt>
                <c:pt idx="39">
                  <c:v>137.5</c:v>
                </c:pt>
                <c:pt idx="40">
                  <c:v>140</c:v>
                </c:pt>
                <c:pt idx="41">
                  <c:v>142.5</c:v>
                </c:pt>
                <c:pt idx="42">
                  <c:v>145</c:v>
                </c:pt>
                <c:pt idx="43">
                  <c:v>147.5</c:v>
                </c:pt>
                <c:pt idx="44">
                  <c:v>150</c:v>
                </c:pt>
                <c:pt idx="45">
                  <c:v>152.5</c:v>
                </c:pt>
                <c:pt idx="46">
                  <c:v>155</c:v>
                </c:pt>
                <c:pt idx="47">
                  <c:v>157.5</c:v>
                </c:pt>
                <c:pt idx="48">
                  <c:v>160</c:v>
                </c:pt>
                <c:pt idx="49">
                  <c:v>162.5</c:v>
                </c:pt>
                <c:pt idx="50">
                  <c:v>165</c:v>
                </c:pt>
                <c:pt idx="51">
                  <c:v>167.5</c:v>
                </c:pt>
                <c:pt idx="52">
                  <c:v>170</c:v>
                </c:pt>
                <c:pt idx="53">
                  <c:v>172.5</c:v>
                </c:pt>
                <c:pt idx="54">
                  <c:v>175</c:v>
                </c:pt>
                <c:pt idx="55">
                  <c:v>177.5</c:v>
                </c:pt>
                <c:pt idx="56">
                  <c:v>180</c:v>
                </c:pt>
                <c:pt idx="57">
                  <c:v>182.5</c:v>
                </c:pt>
                <c:pt idx="58">
                  <c:v>1000</c:v>
                </c:pt>
              </c:numCache>
            </c:numRef>
          </c:cat>
          <c:val>
            <c:numRef>
              <c:f>Sheet1!$B$32:$BH$32</c:f>
              <c:numCache>
                <c:formatCode>General</c:formatCode>
                <c:ptCount val="59"/>
                <c:pt idx="0">
                  <c:v>0.28889999999999999</c:v>
                </c:pt>
                <c:pt idx="1">
                  <c:v>0.28371956619208688</c:v>
                </c:pt>
                <c:pt idx="2">
                  <c:v>0.27893742224183288</c:v>
                </c:pt>
                <c:pt idx="3">
                  <c:v>0.27450988227599787</c:v>
                </c:pt>
                <c:pt idx="4">
                  <c:v>0.27039999999999997</c:v>
                </c:pt>
                <c:pt idx="5">
                  <c:v>0.26657624624377618</c:v>
                </c:pt>
                <c:pt idx="6">
                  <c:v>0.26301075252318512</c:v>
                </c:pt>
                <c:pt idx="7">
                  <c:v>0.2595789582117084</c:v>
                </c:pt>
                <c:pt idx="8">
                  <c:v>0.25619999999999998</c:v>
                </c:pt>
                <c:pt idx="9">
                  <c:v>0.25286985478097751</c:v>
                </c:pt>
                <c:pt idx="10">
                  <c:v>0.24958491962508561</c:v>
                </c:pt>
                <c:pt idx="11">
                  <c:v>0.24635892713980739</c:v>
                </c:pt>
                <c:pt idx="12">
                  <c:v>0.24319999999999989</c:v>
                </c:pt>
                <c:pt idx="13">
                  <c:v>0.24010331665792289</c:v>
                </c:pt>
                <c:pt idx="14">
                  <c:v>0.23706455832525161</c:v>
                </c:pt>
                <c:pt idx="15">
                  <c:v>0.23409454081572009</c:v>
                </c:pt>
                <c:pt idx="16">
                  <c:v>0.23119999999999999</c:v>
                </c:pt>
                <c:pt idx="17">
                  <c:v>0.2283761880272798</c:v>
                </c:pt>
                <c:pt idx="18">
                  <c:v>0.22561878301143851</c:v>
                </c:pt>
                <c:pt idx="19">
                  <c:v>0.22292712363678349</c:v>
                </c:pt>
                <c:pt idx="20">
                  <c:v>0.2203</c:v>
                </c:pt>
                <c:pt idx="21">
                  <c:v>0.2177337891590263</c:v>
                </c:pt>
                <c:pt idx="22">
                  <c:v>0.2152</c:v>
                </c:pt>
                <c:pt idx="23">
                  <c:v>0.21267314664912149</c:v>
                </c:pt>
                <c:pt idx="24">
                  <c:v>0.2102</c:v>
                </c:pt>
                <c:pt idx="25">
                  <c:v>0.2078224956490751</c:v>
                </c:pt>
                <c:pt idx="26">
                  <c:v>0.20539999999999989</c:v>
                </c:pt>
                <c:pt idx="27">
                  <c:v>0.20280503976445011</c:v>
                </c:pt>
                <c:pt idx="28">
                  <c:v>0.20030000000000001</c:v>
                </c:pt>
                <c:pt idx="29">
                  <c:v>0.19812456869999739</c:v>
                </c:pt>
                <c:pt idx="30">
                  <c:v>0.19626638988921091</c:v>
                </c:pt>
                <c:pt idx="31">
                  <c:v>0.19435712357367541</c:v>
                </c:pt>
                <c:pt idx="32">
                  <c:v>0.19209999999999999</c:v>
                </c:pt>
                <c:pt idx="33">
                  <c:v>0.18950406201288969</c:v>
                </c:pt>
                <c:pt idx="34">
                  <c:v>0.18709999999999999</c:v>
                </c:pt>
                <c:pt idx="35">
                  <c:v>0.18538121910422309</c:v>
                </c:pt>
                <c:pt idx="36">
                  <c:v>0.18390000000000001</c:v>
                </c:pt>
                <c:pt idx="37">
                  <c:v>0.18224249496011899</c:v>
                </c:pt>
                <c:pt idx="38">
                  <c:v>0.18041384247966119</c:v>
                </c:pt>
                <c:pt idx="39">
                  <c:v>0.17855920956196941</c:v>
                </c:pt>
                <c:pt idx="40">
                  <c:v>0.17680000000000001</c:v>
                </c:pt>
                <c:pt idx="41">
                  <c:v>0.17513355152010121</c:v>
                </c:pt>
                <c:pt idx="42">
                  <c:v>0.1735573288112745</c:v>
                </c:pt>
                <c:pt idx="43">
                  <c:v>0.17210382915597339</c:v>
                </c:pt>
                <c:pt idx="44">
                  <c:v>0.17080000000000001</c:v>
                </c:pt>
                <c:pt idx="45">
                  <c:v>0.16964163551682929</c:v>
                </c:pt>
                <c:pt idx="46">
                  <c:v>0.16862440345347149</c:v>
                </c:pt>
                <c:pt idx="47">
                  <c:v>0.16766690022406069</c:v>
                </c:pt>
                <c:pt idx="48">
                  <c:v>0.16669999999999999</c:v>
                </c:pt>
                <c:pt idx="49">
                  <c:v>0.16572395557112971</c:v>
                </c:pt>
                <c:pt idx="50">
                  <c:v>0.16473903152790739</c:v>
                </c:pt>
                <c:pt idx="51">
                  <c:v>0.16378609202075731</c:v>
                </c:pt>
                <c:pt idx="52">
                  <c:v>0.16289999999999999</c:v>
                </c:pt>
                <c:pt idx="53">
                  <c:v>0.16207887956836359</c:v>
                </c:pt>
                <c:pt idx="54">
                  <c:v>0.16132087220797339</c:v>
                </c:pt>
                <c:pt idx="55">
                  <c:v>0.16060160736020099</c:v>
                </c:pt>
                <c:pt idx="56">
                  <c:v>0.15989999999999999</c:v>
                </c:pt>
                <c:pt idx="57">
                  <c:v>0.15921555662275799</c:v>
                </c:pt>
                <c:pt idx="58">
                  <c:v>0.1545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E-E27E-4C0A-99B7-33696A982CB4}"/>
            </c:ext>
          </c:extLst>
        </c:ser>
        <c:ser>
          <c:idx val="31"/>
          <c:order val="31"/>
          <c:tx>
            <c:strRef>
              <c:f>Sheet1!$A$33</c:f>
              <c:strCache>
                <c:ptCount val="1"/>
                <c:pt idx="0">
                  <c:v>7.25</c:v>
                </c:pt>
              </c:strCache>
            </c:strRef>
          </c:tx>
          <c:spPr>
            <a:gradFill rotWithShape="1">
              <a:gsLst>
                <a:gs pos="0">
                  <a:schemeClr val="accent2">
                    <a:lumMod val="50000"/>
                    <a:tint val="50000"/>
                    <a:satMod val="300000"/>
                  </a:schemeClr>
                </a:gs>
                <a:gs pos="35000">
                  <a:schemeClr val="accent2">
                    <a:lumMod val="50000"/>
                    <a:tint val="37000"/>
                    <a:satMod val="300000"/>
                  </a:schemeClr>
                </a:gs>
                <a:gs pos="100000">
                  <a:schemeClr val="accent2">
                    <a:lumMod val="50000"/>
                    <a:tint val="15000"/>
                    <a:satMod val="350000"/>
                  </a:schemeClr>
                </a:gs>
              </a:gsLst>
              <a:lin ang="16200000" scaled="1"/>
            </a:gradFill>
            <a:ln w="9525" cap="flat" cmpd="sng" algn="ctr">
              <a:solidFill>
                <a:schemeClr val="accent2">
                  <a:lumMod val="50000"/>
                  <a:shade val="95000"/>
                </a:schemeClr>
              </a:solidFill>
              <a:round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  <a:sp3d contourW="9525">
              <a:contourClr>
                <a:schemeClr val="accent2">
                  <a:lumMod val="50000"/>
                  <a:shade val="95000"/>
                </a:schemeClr>
              </a:contourClr>
            </a:sp3d>
          </c:spPr>
          <c:cat>
            <c:numRef>
              <c:f>Sheet1!$B$1:$BH$1</c:f>
              <c:numCache>
                <c:formatCode>General</c:formatCode>
                <c:ptCount val="59"/>
                <c:pt idx="0">
                  <c:v>40</c:v>
                </c:pt>
                <c:pt idx="1">
                  <c:v>42.5</c:v>
                </c:pt>
                <c:pt idx="2">
                  <c:v>45</c:v>
                </c:pt>
                <c:pt idx="3">
                  <c:v>47.5</c:v>
                </c:pt>
                <c:pt idx="4">
                  <c:v>50</c:v>
                </c:pt>
                <c:pt idx="5">
                  <c:v>52.5</c:v>
                </c:pt>
                <c:pt idx="6">
                  <c:v>55</c:v>
                </c:pt>
                <c:pt idx="7">
                  <c:v>57.5</c:v>
                </c:pt>
                <c:pt idx="8">
                  <c:v>60</c:v>
                </c:pt>
                <c:pt idx="9">
                  <c:v>62.5</c:v>
                </c:pt>
                <c:pt idx="10">
                  <c:v>65</c:v>
                </c:pt>
                <c:pt idx="11">
                  <c:v>67.5</c:v>
                </c:pt>
                <c:pt idx="12">
                  <c:v>70</c:v>
                </c:pt>
                <c:pt idx="13">
                  <c:v>72.5</c:v>
                </c:pt>
                <c:pt idx="14">
                  <c:v>75</c:v>
                </c:pt>
                <c:pt idx="15">
                  <c:v>77.5</c:v>
                </c:pt>
                <c:pt idx="16">
                  <c:v>80</c:v>
                </c:pt>
                <c:pt idx="17">
                  <c:v>82.5</c:v>
                </c:pt>
                <c:pt idx="18">
                  <c:v>85</c:v>
                </c:pt>
                <c:pt idx="19">
                  <c:v>87.5</c:v>
                </c:pt>
                <c:pt idx="20">
                  <c:v>90</c:v>
                </c:pt>
                <c:pt idx="21">
                  <c:v>92.5</c:v>
                </c:pt>
                <c:pt idx="22">
                  <c:v>95</c:v>
                </c:pt>
                <c:pt idx="23">
                  <c:v>97.5</c:v>
                </c:pt>
                <c:pt idx="24">
                  <c:v>100</c:v>
                </c:pt>
                <c:pt idx="25">
                  <c:v>102.5</c:v>
                </c:pt>
                <c:pt idx="26">
                  <c:v>105</c:v>
                </c:pt>
                <c:pt idx="27">
                  <c:v>107.5</c:v>
                </c:pt>
                <c:pt idx="28">
                  <c:v>110</c:v>
                </c:pt>
                <c:pt idx="29">
                  <c:v>112.5</c:v>
                </c:pt>
                <c:pt idx="30">
                  <c:v>115</c:v>
                </c:pt>
                <c:pt idx="31">
                  <c:v>117.5</c:v>
                </c:pt>
                <c:pt idx="32">
                  <c:v>120</c:v>
                </c:pt>
                <c:pt idx="33">
                  <c:v>122.5</c:v>
                </c:pt>
                <c:pt idx="34">
                  <c:v>125</c:v>
                </c:pt>
                <c:pt idx="35">
                  <c:v>127.5</c:v>
                </c:pt>
                <c:pt idx="36">
                  <c:v>130</c:v>
                </c:pt>
                <c:pt idx="37">
                  <c:v>132.5</c:v>
                </c:pt>
                <c:pt idx="38">
                  <c:v>135</c:v>
                </c:pt>
                <c:pt idx="39">
                  <c:v>137.5</c:v>
                </c:pt>
                <c:pt idx="40">
                  <c:v>140</c:v>
                </c:pt>
                <c:pt idx="41">
                  <c:v>142.5</c:v>
                </c:pt>
                <c:pt idx="42">
                  <c:v>145</c:v>
                </c:pt>
                <c:pt idx="43">
                  <c:v>147.5</c:v>
                </c:pt>
                <c:pt idx="44">
                  <c:v>150</c:v>
                </c:pt>
                <c:pt idx="45">
                  <c:v>152.5</c:v>
                </c:pt>
                <c:pt idx="46">
                  <c:v>155</c:v>
                </c:pt>
                <c:pt idx="47">
                  <c:v>157.5</c:v>
                </c:pt>
                <c:pt idx="48">
                  <c:v>160</c:v>
                </c:pt>
                <c:pt idx="49">
                  <c:v>162.5</c:v>
                </c:pt>
                <c:pt idx="50">
                  <c:v>165</c:v>
                </c:pt>
                <c:pt idx="51">
                  <c:v>167.5</c:v>
                </c:pt>
                <c:pt idx="52">
                  <c:v>170</c:v>
                </c:pt>
                <c:pt idx="53">
                  <c:v>172.5</c:v>
                </c:pt>
                <c:pt idx="54">
                  <c:v>175</c:v>
                </c:pt>
                <c:pt idx="55">
                  <c:v>177.5</c:v>
                </c:pt>
                <c:pt idx="56">
                  <c:v>180</c:v>
                </c:pt>
                <c:pt idx="57">
                  <c:v>182.5</c:v>
                </c:pt>
                <c:pt idx="58">
                  <c:v>1000</c:v>
                </c:pt>
              </c:numCache>
            </c:numRef>
          </c:cat>
          <c:val>
            <c:numRef>
              <c:f>Sheet1!$B$33:$BH$33</c:f>
              <c:numCache>
                <c:formatCode>General</c:formatCode>
                <c:ptCount val="59"/>
                <c:pt idx="0">
                  <c:v>0.28737148041889821</c:v>
                </c:pt>
                <c:pt idx="1">
                  <c:v>0.28239018665040988</c:v>
                </c:pt>
                <c:pt idx="2">
                  <c:v>0.2777860370494275</c:v>
                </c:pt>
                <c:pt idx="3">
                  <c:v>0.27351754438089992</c:v>
                </c:pt>
                <c:pt idx="4">
                  <c:v>0.26954963429068513</c:v>
                </c:pt>
                <c:pt idx="5">
                  <c:v>0.26585238642294851</c:v>
                </c:pt>
                <c:pt idx="6">
                  <c:v>0.2623993532052396</c:v>
                </c:pt>
                <c:pt idx="7">
                  <c:v>0.25907082818800931</c:v>
                </c:pt>
                <c:pt idx="8">
                  <c:v>0.2557893093135904</c:v>
                </c:pt>
                <c:pt idx="9">
                  <c:v>0.2525513505621898</c:v>
                </c:pt>
                <c:pt idx="10">
                  <c:v>0.24935386912608609</c:v>
                </c:pt>
                <c:pt idx="11">
                  <c:v>0.24621412994960951</c:v>
                </c:pt>
                <c:pt idx="12">
                  <c:v>0.24314265432275409</c:v>
                </c:pt>
                <c:pt idx="13">
                  <c:v>0.24013459330402401</c:v>
                </c:pt>
                <c:pt idx="14">
                  <c:v>0.23718558012152521</c:v>
                </c:pt>
                <c:pt idx="15">
                  <c:v>0.23429910949083149</c:v>
                </c:pt>
                <c:pt idx="16">
                  <c:v>0.2314767743282376</c:v>
                </c:pt>
                <c:pt idx="17">
                  <c:v>0.22871450378560279</c:v>
                </c:pt>
                <c:pt idx="18">
                  <c:v>0.22600861304512079</c:v>
                </c:pt>
                <c:pt idx="19">
                  <c:v>0.22336781594336691</c:v>
                </c:pt>
                <c:pt idx="20">
                  <c:v>0.22079787696929021</c:v>
                </c:pt>
                <c:pt idx="21">
                  <c:v>0.2182948849799814</c:v>
                </c:pt>
                <c:pt idx="22">
                  <c:v>0.21582676233939169</c:v>
                </c:pt>
                <c:pt idx="23">
                  <c:v>0.2133648647507729</c:v>
                </c:pt>
                <c:pt idx="24">
                  <c:v>0.2109681436405911</c:v>
                </c:pt>
                <c:pt idx="25">
                  <c:v>0.20868938609097731</c:v>
                </c:pt>
                <c:pt idx="26">
                  <c:v>0.20636976708564181</c:v>
                </c:pt>
                <c:pt idx="27">
                  <c:v>0.20386565663459311</c:v>
                </c:pt>
                <c:pt idx="28">
                  <c:v>0.2014252884497954</c:v>
                </c:pt>
                <c:pt idx="29">
                  <c:v>0.19927504919679501</c:v>
                </c:pt>
                <c:pt idx="30">
                  <c:v>0.19740389962160559</c:v>
                </c:pt>
                <c:pt idx="31">
                  <c:v>0.19549950288058021</c:v>
                </c:pt>
                <c:pt idx="32">
                  <c:v>0.19331028340227049</c:v>
                </c:pt>
                <c:pt idx="33">
                  <c:v>0.19084395548478469</c:v>
                </c:pt>
                <c:pt idx="34">
                  <c:v>0.18855276098459231</c:v>
                </c:pt>
                <c:pt idx="35">
                  <c:v>0.18685611362744681</c:v>
                </c:pt>
                <c:pt idx="36">
                  <c:v>0.18536561893506531</c:v>
                </c:pt>
                <c:pt idx="37">
                  <c:v>0.18372261961696451</c:v>
                </c:pt>
                <c:pt idx="38">
                  <c:v>0.18193161494445839</c:v>
                </c:pt>
                <c:pt idx="39">
                  <c:v>0.18012194662803879</c:v>
                </c:pt>
                <c:pt idx="40">
                  <c:v>0.17840165625531951</c:v>
                </c:pt>
                <c:pt idx="41">
                  <c:v>0.1767681836305926</c:v>
                </c:pt>
                <c:pt idx="42">
                  <c:v>0.17521909618137099</c:v>
                </c:pt>
                <c:pt idx="43">
                  <c:v>0.17378454377450259</c:v>
                </c:pt>
                <c:pt idx="44">
                  <c:v>0.1724895066402124</c:v>
                </c:pt>
                <c:pt idx="45">
                  <c:v>0.17133001365154801</c:v>
                </c:pt>
                <c:pt idx="46">
                  <c:v>0.1703020102915441</c:v>
                </c:pt>
                <c:pt idx="47">
                  <c:v>0.16933748228687109</c:v>
                </c:pt>
                <c:pt idx="48">
                  <c:v>0.16837862366737449</c:v>
                </c:pt>
                <c:pt idx="49">
                  <c:v>0.16742524656133401</c:v>
                </c:pt>
                <c:pt idx="50">
                  <c:v>0.16647719104473199</c:v>
                </c:pt>
                <c:pt idx="51">
                  <c:v>0.16555895082892741</c:v>
                </c:pt>
                <c:pt idx="52">
                  <c:v>0.16469136687990929</c:v>
                </c:pt>
                <c:pt idx="53">
                  <c:v>0.16387299474783371</c:v>
                </c:pt>
                <c:pt idx="54">
                  <c:v>0.16310241930700931</c:v>
                </c:pt>
                <c:pt idx="55">
                  <c:v>0.16236370225144059</c:v>
                </c:pt>
                <c:pt idx="56">
                  <c:v>0.16164303521337631</c:v>
                </c:pt>
                <c:pt idx="57">
                  <c:v>0.1609399153619214</c:v>
                </c:pt>
                <c:pt idx="58">
                  <c:v>0.1559265935284608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F-E27E-4C0A-99B7-33696A982CB4}"/>
            </c:ext>
          </c:extLst>
        </c:ser>
        <c:ser>
          <c:idx val="32"/>
          <c:order val="32"/>
          <c:tx>
            <c:strRef>
              <c:f>Sheet1!$A$34</c:f>
              <c:strCache>
                <c:ptCount val="1"/>
                <c:pt idx="0">
                  <c:v>7.5</c:v>
                </c:pt>
              </c:strCache>
            </c:strRef>
          </c:tx>
          <c:spPr>
            <a:gradFill rotWithShape="1">
              <a:gsLst>
                <a:gs pos="0">
                  <a:schemeClr val="accent3">
                    <a:lumMod val="50000"/>
                    <a:tint val="50000"/>
                    <a:satMod val="300000"/>
                  </a:schemeClr>
                </a:gs>
                <a:gs pos="35000">
                  <a:schemeClr val="accent3">
                    <a:lumMod val="50000"/>
                    <a:tint val="37000"/>
                    <a:satMod val="300000"/>
                  </a:schemeClr>
                </a:gs>
                <a:gs pos="100000">
                  <a:schemeClr val="accent3">
                    <a:lumMod val="50000"/>
                    <a:tint val="15000"/>
                    <a:satMod val="350000"/>
                  </a:schemeClr>
                </a:gs>
              </a:gsLst>
              <a:lin ang="16200000" scaled="1"/>
            </a:gradFill>
            <a:ln w="9525" cap="flat" cmpd="sng" algn="ctr">
              <a:solidFill>
                <a:schemeClr val="accent3">
                  <a:lumMod val="50000"/>
                  <a:shade val="95000"/>
                </a:schemeClr>
              </a:solidFill>
              <a:round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  <a:sp3d contourW="9525">
              <a:contourClr>
                <a:schemeClr val="accent3">
                  <a:lumMod val="50000"/>
                  <a:shade val="95000"/>
                </a:schemeClr>
              </a:contourClr>
            </a:sp3d>
          </c:spPr>
          <c:cat>
            <c:numRef>
              <c:f>Sheet1!$B$1:$BH$1</c:f>
              <c:numCache>
                <c:formatCode>General</c:formatCode>
                <c:ptCount val="59"/>
                <c:pt idx="0">
                  <c:v>40</c:v>
                </c:pt>
                <c:pt idx="1">
                  <c:v>42.5</c:v>
                </c:pt>
                <c:pt idx="2">
                  <c:v>45</c:v>
                </c:pt>
                <c:pt idx="3">
                  <c:v>47.5</c:v>
                </c:pt>
                <c:pt idx="4">
                  <c:v>50</c:v>
                </c:pt>
                <c:pt idx="5">
                  <c:v>52.5</c:v>
                </c:pt>
                <c:pt idx="6">
                  <c:v>55</c:v>
                </c:pt>
                <c:pt idx="7">
                  <c:v>57.5</c:v>
                </c:pt>
                <c:pt idx="8">
                  <c:v>60</c:v>
                </c:pt>
                <c:pt idx="9">
                  <c:v>62.5</c:v>
                </c:pt>
                <c:pt idx="10">
                  <c:v>65</c:v>
                </c:pt>
                <c:pt idx="11">
                  <c:v>67.5</c:v>
                </c:pt>
                <c:pt idx="12">
                  <c:v>70</c:v>
                </c:pt>
                <c:pt idx="13">
                  <c:v>72.5</c:v>
                </c:pt>
                <c:pt idx="14">
                  <c:v>75</c:v>
                </c:pt>
                <c:pt idx="15">
                  <c:v>77.5</c:v>
                </c:pt>
                <c:pt idx="16">
                  <c:v>80</c:v>
                </c:pt>
                <c:pt idx="17">
                  <c:v>82.5</c:v>
                </c:pt>
                <c:pt idx="18">
                  <c:v>85</c:v>
                </c:pt>
                <c:pt idx="19">
                  <c:v>87.5</c:v>
                </c:pt>
                <c:pt idx="20">
                  <c:v>90</c:v>
                </c:pt>
                <c:pt idx="21">
                  <c:v>92.5</c:v>
                </c:pt>
                <c:pt idx="22">
                  <c:v>95</c:v>
                </c:pt>
                <c:pt idx="23">
                  <c:v>97.5</c:v>
                </c:pt>
                <c:pt idx="24">
                  <c:v>100</c:v>
                </c:pt>
                <c:pt idx="25">
                  <c:v>102.5</c:v>
                </c:pt>
                <c:pt idx="26">
                  <c:v>105</c:v>
                </c:pt>
                <c:pt idx="27">
                  <c:v>107.5</c:v>
                </c:pt>
                <c:pt idx="28">
                  <c:v>110</c:v>
                </c:pt>
                <c:pt idx="29">
                  <c:v>112.5</c:v>
                </c:pt>
                <c:pt idx="30">
                  <c:v>115</c:v>
                </c:pt>
                <c:pt idx="31">
                  <c:v>117.5</c:v>
                </c:pt>
                <c:pt idx="32">
                  <c:v>120</c:v>
                </c:pt>
                <c:pt idx="33">
                  <c:v>122.5</c:v>
                </c:pt>
                <c:pt idx="34">
                  <c:v>125</c:v>
                </c:pt>
                <c:pt idx="35">
                  <c:v>127.5</c:v>
                </c:pt>
                <c:pt idx="36">
                  <c:v>130</c:v>
                </c:pt>
                <c:pt idx="37">
                  <c:v>132.5</c:v>
                </c:pt>
                <c:pt idx="38">
                  <c:v>135</c:v>
                </c:pt>
                <c:pt idx="39">
                  <c:v>137.5</c:v>
                </c:pt>
                <c:pt idx="40">
                  <c:v>140</c:v>
                </c:pt>
                <c:pt idx="41">
                  <c:v>142.5</c:v>
                </c:pt>
                <c:pt idx="42">
                  <c:v>145</c:v>
                </c:pt>
                <c:pt idx="43">
                  <c:v>147.5</c:v>
                </c:pt>
                <c:pt idx="44">
                  <c:v>150</c:v>
                </c:pt>
                <c:pt idx="45">
                  <c:v>152.5</c:v>
                </c:pt>
                <c:pt idx="46">
                  <c:v>155</c:v>
                </c:pt>
                <c:pt idx="47">
                  <c:v>157.5</c:v>
                </c:pt>
                <c:pt idx="48">
                  <c:v>160</c:v>
                </c:pt>
                <c:pt idx="49">
                  <c:v>162.5</c:v>
                </c:pt>
                <c:pt idx="50">
                  <c:v>165</c:v>
                </c:pt>
                <c:pt idx="51">
                  <c:v>167.5</c:v>
                </c:pt>
                <c:pt idx="52">
                  <c:v>170</c:v>
                </c:pt>
                <c:pt idx="53">
                  <c:v>172.5</c:v>
                </c:pt>
                <c:pt idx="54">
                  <c:v>175</c:v>
                </c:pt>
                <c:pt idx="55">
                  <c:v>177.5</c:v>
                </c:pt>
                <c:pt idx="56">
                  <c:v>180</c:v>
                </c:pt>
                <c:pt idx="57">
                  <c:v>182.5</c:v>
                </c:pt>
                <c:pt idx="58">
                  <c:v>1000</c:v>
                </c:pt>
              </c:numCache>
            </c:numRef>
          </c:cat>
          <c:val>
            <c:numRef>
              <c:f>Sheet1!$B$34:$BH$34</c:f>
              <c:numCache>
                <c:formatCode>General</c:formatCode>
                <c:ptCount val="59"/>
                <c:pt idx="0">
                  <c:v>0.28593749025341492</c:v>
                </c:pt>
                <c:pt idx="1">
                  <c:v>0.28114376116309642</c:v>
                </c:pt>
                <c:pt idx="2">
                  <c:v>0.27670708840845792</c:v>
                </c:pt>
                <c:pt idx="3">
                  <c:v>0.27258810305416459</c:v>
                </c:pt>
                <c:pt idx="4">
                  <c:v>0.26875353207490082</c:v>
                </c:pt>
                <c:pt idx="5">
                  <c:v>0.26517500118181209</c:v>
                </c:pt>
                <c:pt idx="6">
                  <c:v>0.26182742574883738</c:v>
                </c:pt>
                <c:pt idx="7">
                  <c:v>0.2585956726725781</c:v>
                </c:pt>
                <c:pt idx="8">
                  <c:v>0.25540540218961499</c:v>
                </c:pt>
                <c:pt idx="9">
                  <c:v>0.25225371712562988</c:v>
                </c:pt>
                <c:pt idx="10">
                  <c:v>0.2491380286690737</c:v>
                </c:pt>
                <c:pt idx="11">
                  <c:v>0.24607890903499169</c:v>
                </c:pt>
                <c:pt idx="12">
                  <c:v>0.24308911948533271</c:v>
                </c:pt>
                <c:pt idx="13">
                  <c:v>0.2401637811654781</c:v>
                </c:pt>
                <c:pt idx="14">
                  <c:v>0.23729847811208801</c:v>
                </c:pt>
                <c:pt idx="15">
                  <c:v>0.23448987923882531</c:v>
                </c:pt>
                <c:pt idx="16">
                  <c:v>0.23173479878930131</c:v>
                </c:pt>
                <c:pt idx="17">
                  <c:v>0.22902981427530941</c:v>
                </c:pt>
                <c:pt idx="18">
                  <c:v>0.22637184873284921</c:v>
                </c:pt>
                <c:pt idx="19">
                  <c:v>0.22377834575585559</c:v>
                </c:pt>
                <c:pt idx="20">
                  <c:v>0.2212615513745709</c:v>
                </c:pt>
                <c:pt idx="21">
                  <c:v>0.21881727632320891</c:v>
                </c:pt>
                <c:pt idx="22">
                  <c:v>0.21641010280102041</c:v>
                </c:pt>
                <c:pt idx="23">
                  <c:v>0.2140084511593581</c:v>
                </c:pt>
                <c:pt idx="24">
                  <c:v>0.21168256286297421</c:v>
                </c:pt>
                <c:pt idx="25">
                  <c:v>0.20949524742015871</c:v>
                </c:pt>
                <c:pt idx="26">
                  <c:v>0.20727078942653401</c:v>
                </c:pt>
                <c:pt idx="27">
                  <c:v>0.20485061134763841</c:v>
                </c:pt>
                <c:pt idx="28">
                  <c:v>0.20246991512904081</c:v>
                </c:pt>
                <c:pt idx="29">
                  <c:v>0.20034287037032741</c:v>
                </c:pt>
                <c:pt idx="30">
                  <c:v>0.19845969310108941</c:v>
                </c:pt>
                <c:pt idx="31">
                  <c:v>0.19655973348177641</c:v>
                </c:pt>
                <c:pt idx="32">
                  <c:v>0.19443308435944701</c:v>
                </c:pt>
                <c:pt idx="33">
                  <c:v>0.19208609037544999</c:v>
                </c:pt>
                <c:pt idx="34">
                  <c:v>0.18989864429434819</c:v>
                </c:pt>
                <c:pt idx="35">
                  <c:v>0.18822225501548159</c:v>
                </c:pt>
                <c:pt idx="36">
                  <c:v>0.18672315118238819</c:v>
                </c:pt>
                <c:pt idx="37">
                  <c:v>0.1850933908848231</c:v>
                </c:pt>
                <c:pt idx="38">
                  <c:v>0.1833368664793123</c:v>
                </c:pt>
                <c:pt idx="39">
                  <c:v>0.18156836647823391</c:v>
                </c:pt>
                <c:pt idx="40">
                  <c:v>0.17988366938748579</c:v>
                </c:pt>
                <c:pt idx="41">
                  <c:v>0.17828031849217921</c:v>
                </c:pt>
                <c:pt idx="42">
                  <c:v>0.17675598414281229</c:v>
                </c:pt>
                <c:pt idx="43">
                  <c:v>0.1753386760625219</c:v>
                </c:pt>
                <c:pt idx="44">
                  <c:v>0.17405158375771479</c:v>
                </c:pt>
                <c:pt idx="45">
                  <c:v>0.17289095807199831</c:v>
                </c:pt>
                <c:pt idx="46">
                  <c:v>0.17185300199304959</c:v>
                </c:pt>
                <c:pt idx="47">
                  <c:v>0.17088195775251869</c:v>
                </c:pt>
                <c:pt idx="48">
                  <c:v>0.1699303791430401</c:v>
                </c:pt>
                <c:pt idx="49">
                  <c:v>0.16899766666941421</c:v>
                </c:pt>
                <c:pt idx="50">
                  <c:v>0.16808325712448599</c:v>
                </c:pt>
                <c:pt idx="51">
                  <c:v>0.16719665958298599</c:v>
                </c:pt>
                <c:pt idx="52">
                  <c:v>0.16634590535355609</c:v>
                </c:pt>
                <c:pt idx="53">
                  <c:v>0.1655299588173646</c:v>
                </c:pt>
                <c:pt idx="54">
                  <c:v>0.16474781596751789</c:v>
                </c:pt>
                <c:pt idx="55">
                  <c:v>0.16399124253884539</c:v>
                </c:pt>
                <c:pt idx="56">
                  <c:v>0.1632530784103404</c:v>
                </c:pt>
                <c:pt idx="57">
                  <c:v>0.1625328122266691</c:v>
                </c:pt>
                <c:pt idx="58">
                  <c:v>0.1571546445410393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0-E27E-4C0A-99B7-33696A982CB4}"/>
            </c:ext>
          </c:extLst>
        </c:ser>
        <c:ser>
          <c:idx val="33"/>
          <c:order val="33"/>
          <c:tx>
            <c:strRef>
              <c:f>Sheet1!$A$35</c:f>
              <c:strCache>
                <c:ptCount val="1"/>
                <c:pt idx="0">
                  <c:v>7.75</c:v>
                </c:pt>
              </c:strCache>
            </c:strRef>
          </c:tx>
          <c:spPr>
            <a:gradFill rotWithShape="1">
              <a:gsLst>
                <a:gs pos="0">
                  <a:schemeClr val="accent4">
                    <a:lumMod val="50000"/>
                    <a:tint val="50000"/>
                    <a:satMod val="300000"/>
                  </a:schemeClr>
                </a:gs>
                <a:gs pos="35000">
                  <a:schemeClr val="accent4">
                    <a:lumMod val="50000"/>
                    <a:tint val="37000"/>
                    <a:satMod val="300000"/>
                  </a:schemeClr>
                </a:gs>
                <a:gs pos="100000">
                  <a:schemeClr val="accent4">
                    <a:lumMod val="50000"/>
                    <a:tint val="15000"/>
                    <a:satMod val="350000"/>
                  </a:schemeClr>
                </a:gs>
              </a:gsLst>
              <a:lin ang="16200000" scaled="1"/>
            </a:gradFill>
            <a:ln w="9525" cap="flat" cmpd="sng" algn="ctr">
              <a:solidFill>
                <a:schemeClr val="accent4">
                  <a:lumMod val="50000"/>
                  <a:shade val="95000"/>
                </a:schemeClr>
              </a:solidFill>
              <a:round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  <a:sp3d contourW="9525">
              <a:contourClr>
                <a:schemeClr val="accent4">
                  <a:lumMod val="50000"/>
                  <a:shade val="95000"/>
                </a:schemeClr>
              </a:contourClr>
            </a:sp3d>
          </c:spPr>
          <c:cat>
            <c:numRef>
              <c:f>Sheet1!$B$1:$BH$1</c:f>
              <c:numCache>
                <c:formatCode>General</c:formatCode>
                <c:ptCount val="59"/>
                <c:pt idx="0">
                  <c:v>40</c:v>
                </c:pt>
                <c:pt idx="1">
                  <c:v>42.5</c:v>
                </c:pt>
                <c:pt idx="2">
                  <c:v>45</c:v>
                </c:pt>
                <c:pt idx="3">
                  <c:v>47.5</c:v>
                </c:pt>
                <c:pt idx="4">
                  <c:v>50</c:v>
                </c:pt>
                <c:pt idx="5">
                  <c:v>52.5</c:v>
                </c:pt>
                <c:pt idx="6">
                  <c:v>55</c:v>
                </c:pt>
                <c:pt idx="7">
                  <c:v>57.5</c:v>
                </c:pt>
                <c:pt idx="8">
                  <c:v>60</c:v>
                </c:pt>
                <c:pt idx="9">
                  <c:v>62.5</c:v>
                </c:pt>
                <c:pt idx="10">
                  <c:v>65</c:v>
                </c:pt>
                <c:pt idx="11">
                  <c:v>67.5</c:v>
                </c:pt>
                <c:pt idx="12">
                  <c:v>70</c:v>
                </c:pt>
                <c:pt idx="13">
                  <c:v>72.5</c:v>
                </c:pt>
                <c:pt idx="14">
                  <c:v>75</c:v>
                </c:pt>
                <c:pt idx="15">
                  <c:v>77.5</c:v>
                </c:pt>
                <c:pt idx="16">
                  <c:v>80</c:v>
                </c:pt>
                <c:pt idx="17">
                  <c:v>82.5</c:v>
                </c:pt>
                <c:pt idx="18">
                  <c:v>85</c:v>
                </c:pt>
                <c:pt idx="19">
                  <c:v>87.5</c:v>
                </c:pt>
                <c:pt idx="20">
                  <c:v>90</c:v>
                </c:pt>
                <c:pt idx="21">
                  <c:v>92.5</c:v>
                </c:pt>
                <c:pt idx="22">
                  <c:v>95</c:v>
                </c:pt>
                <c:pt idx="23">
                  <c:v>97.5</c:v>
                </c:pt>
                <c:pt idx="24">
                  <c:v>100</c:v>
                </c:pt>
                <c:pt idx="25">
                  <c:v>102.5</c:v>
                </c:pt>
                <c:pt idx="26">
                  <c:v>105</c:v>
                </c:pt>
                <c:pt idx="27">
                  <c:v>107.5</c:v>
                </c:pt>
                <c:pt idx="28">
                  <c:v>110</c:v>
                </c:pt>
                <c:pt idx="29">
                  <c:v>112.5</c:v>
                </c:pt>
                <c:pt idx="30">
                  <c:v>115</c:v>
                </c:pt>
                <c:pt idx="31">
                  <c:v>117.5</c:v>
                </c:pt>
                <c:pt idx="32">
                  <c:v>120</c:v>
                </c:pt>
                <c:pt idx="33">
                  <c:v>122.5</c:v>
                </c:pt>
                <c:pt idx="34">
                  <c:v>125</c:v>
                </c:pt>
                <c:pt idx="35">
                  <c:v>127.5</c:v>
                </c:pt>
                <c:pt idx="36">
                  <c:v>130</c:v>
                </c:pt>
                <c:pt idx="37">
                  <c:v>132.5</c:v>
                </c:pt>
                <c:pt idx="38">
                  <c:v>135</c:v>
                </c:pt>
                <c:pt idx="39">
                  <c:v>137.5</c:v>
                </c:pt>
                <c:pt idx="40">
                  <c:v>140</c:v>
                </c:pt>
                <c:pt idx="41">
                  <c:v>142.5</c:v>
                </c:pt>
                <c:pt idx="42">
                  <c:v>145</c:v>
                </c:pt>
                <c:pt idx="43">
                  <c:v>147.5</c:v>
                </c:pt>
                <c:pt idx="44">
                  <c:v>150</c:v>
                </c:pt>
                <c:pt idx="45">
                  <c:v>152.5</c:v>
                </c:pt>
                <c:pt idx="46">
                  <c:v>155</c:v>
                </c:pt>
                <c:pt idx="47">
                  <c:v>157.5</c:v>
                </c:pt>
                <c:pt idx="48">
                  <c:v>160</c:v>
                </c:pt>
                <c:pt idx="49">
                  <c:v>162.5</c:v>
                </c:pt>
                <c:pt idx="50">
                  <c:v>165</c:v>
                </c:pt>
                <c:pt idx="51">
                  <c:v>167.5</c:v>
                </c:pt>
                <c:pt idx="52">
                  <c:v>170</c:v>
                </c:pt>
                <c:pt idx="53">
                  <c:v>172.5</c:v>
                </c:pt>
                <c:pt idx="54">
                  <c:v>175</c:v>
                </c:pt>
                <c:pt idx="55">
                  <c:v>177.5</c:v>
                </c:pt>
                <c:pt idx="56">
                  <c:v>180</c:v>
                </c:pt>
                <c:pt idx="57">
                  <c:v>182.5</c:v>
                </c:pt>
                <c:pt idx="58">
                  <c:v>1000</c:v>
                </c:pt>
              </c:numCache>
            </c:numRef>
          </c:cat>
          <c:val>
            <c:numRef>
              <c:f>Sheet1!$B$35:$BH$35</c:f>
              <c:numCache>
                <c:formatCode>General</c:formatCode>
                <c:ptCount val="59"/>
                <c:pt idx="0">
                  <c:v>0.28458947427767678</c:v>
                </c:pt>
                <c:pt idx="1">
                  <c:v>0.27997272669469803</c:v>
                </c:pt>
                <c:pt idx="2">
                  <c:v>0.27569392668378301</c:v>
                </c:pt>
                <c:pt idx="3">
                  <c:v>0.2717157474724276</c:v>
                </c:pt>
                <c:pt idx="4">
                  <c:v>0.26800665044246408</c:v>
                </c:pt>
                <c:pt idx="5">
                  <c:v>0.26453974794152418</c:v>
                </c:pt>
                <c:pt idx="6">
                  <c:v>0.26129126351964471</c:v>
                </c:pt>
                <c:pt idx="7">
                  <c:v>0.25815038059092238</c:v>
                </c:pt>
                <c:pt idx="8">
                  <c:v>0.25504574011302078</c:v>
                </c:pt>
                <c:pt idx="9">
                  <c:v>0.25197496757192439</c:v>
                </c:pt>
                <c:pt idx="10">
                  <c:v>0.24893594397927291</c:v>
                </c:pt>
                <c:pt idx="11">
                  <c:v>0.2459523447476353</c:v>
                </c:pt>
                <c:pt idx="12">
                  <c:v>0.24303902783277731</c:v>
                </c:pt>
                <c:pt idx="13">
                  <c:v>0.24019108272807249</c:v>
                </c:pt>
                <c:pt idx="14">
                  <c:v>0.2374040437564153</c:v>
                </c:pt>
                <c:pt idx="15">
                  <c:v>0.23466820086327711</c:v>
                </c:pt>
                <c:pt idx="16">
                  <c:v>0.23197591668980311</c:v>
                </c:pt>
                <c:pt idx="17">
                  <c:v>0.2293243896686612</c:v>
                </c:pt>
                <c:pt idx="18">
                  <c:v>0.22671112299482979</c:v>
                </c:pt>
                <c:pt idx="19">
                  <c:v>0.22416170912504141</c:v>
                </c:pt>
                <c:pt idx="20">
                  <c:v>0.2216944333588016</c:v>
                </c:pt>
                <c:pt idx="21">
                  <c:v>0.21930483848024071</c:v>
                </c:pt>
                <c:pt idx="22">
                  <c:v>0.21695438845346079</c:v>
                </c:pt>
                <c:pt idx="23">
                  <c:v>0.21460876859278741</c:v>
                </c:pt>
                <c:pt idx="24">
                  <c:v>0.2123487145658372</c:v>
                </c:pt>
                <c:pt idx="25">
                  <c:v>0.21024632138657301</c:v>
                </c:pt>
                <c:pt idx="26">
                  <c:v>0.20811014970578079</c:v>
                </c:pt>
                <c:pt idx="27">
                  <c:v>0.2057677523775297</c:v>
                </c:pt>
                <c:pt idx="28">
                  <c:v>0.2034422906169997</c:v>
                </c:pt>
                <c:pt idx="29">
                  <c:v>0.2013366728412356</c:v>
                </c:pt>
                <c:pt idx="30">
                  <c:v>0.19944231109950189</c:v>
                </c:pt>
                <c:pt idx="31">
                  <c:v>0.19754641075074411</c:v>
                </c:pt>
                <c:pt idx="32">
                  <c:v>0.19547760809053921</c:v>
                </c:pt>
                <c:pt idx="33">
                  <c:v>0.19324085939541691</c:v>
                </c:pt>
                <c:pt idx="34">
                  <c:v>0.1911491175814698</c:v>
                </c:pt>
                <c:pt idx="35">
                  <c:v>0.1894913418898872</c:v>
                </c:pt>
                <c:pt idx="36">
                  <c:v>0.18798422578269061</c:v>
                </c:pt>
                <c:pt idx="37">
                  <c:v>0.18636659789553531</c:v>
                </c:pt>
                <c:pt idx="38">
                  <c:v>0.18464177467896509</c:v>
                </c:pt>
                <c:pt idx="39">
                  <c:v>0.18291111434504301</c:v>
                </c:pt>
                <c:pt idx="40">
                  <c:v>0.18125909926470191</c:v>
                </c:pt>
                <c:pt idx="41">
                  <c:v>0.1796833761965092</c:v>
                </c:pt>
                <c:pt idx="42">
                  <c:v>0.17818171745447051</c:v>
                </c:pt>
                <c:pt idx="43">
                  <c:v>0.17678017307899579</c:v>
                </c:pt>
                <c:pt idx="44">
                  <c:v>0.17550029513674259</c:v>
                </c:pt>
                <c:pt idx="45">
                  <c:v>0.17433854433126331</c:v>
                </c:pt>
                <c:pt idx="46">
                  <c:v>0.17329136298772921</c:v>
                </c:pt>
                <c:pt idx="47">
                  <c:v>0.17231425762528821</c:v>
                </c:pt>
                <c:pt idx="48">
                  <c:v>0.17136930118111179</c:v>
                </c:pt>
                <c:pt idx="49">
                  <c:v>0.1704555090930035</c:v>
                </c:pt>
                <c:pt idx="50">
                  <c:v>0.1695719354945481</c:v>
                </c:pt>
                <c:pt idx="51">
                  <c:v>0.16871431845032159</c:v>
                </c:pt>
                <c:pt idx="52">
                  <c:v>0.16787893778008331</c:v>
                </c:pt>
                <c:pt idx="53">
                  <c:v>0.16706514492794219</c:v>
                </c:pt>
                <c:pt idx="54">
                  <c:v>0.16627231799107151</c:v>
                </c:pt>
                <c:pt idx="55">
                  <c:v>0.16549929103356839</c:v>
                </c:pt>
                <c:pt idx="56">
                  <c:v>0.1647450035925877</c:v>
                </c:pt>
                <c:pt idx="57">
                  <c:v>0.16400893648687301</c:v>
                </c:pt>
                <c:pt idx="58">
                  <c:v>0.158294841635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1-E27E-4C0A-99B7-33696A982CB4}"/>
            </c:ext>
          </c:extLst>
        </c:ser>
        <c:ser>
          <c:idx val="34"/>
          <c:order val="34"/>
          <c:tx>
            <c:strRef>
              <c:f>Sheet1!$A$36</c:f>
              <c:strCache>
                <c:ptCount val="1"/>
                <c:pt idx="0">
                  <c:v>8</c:v>
                </c:pt>
              </c:strCache>
            </c:strRef>
          </c:tx>
          <c:spPr>
            <a:gradFill rotWithShape="1">
              <a:gsLst>
                <a:gs pos="0">
                  <a:schemeClr val="accent5">
                    <a:lumMod val="50000"/>
                    <a:tint val="50000"/>
                    <a:satMod val="300000"/>
                  </a:schemeClr>
                </a:gs>
                <a:gs pos="35000">
                  <a:schemeClr val="accent5">
                    <a:lumMod val="50000"/>
                    <a:tint val="37000"/>
                    <a:satMod val="300000"/>
                  </a:schemeClr>
                </a:gs>
                <a:gs pos="100000">
                  <a:schemeClr val="accent5">
                    <a:lumMod val="50000"/>
                    <a:tint val="15000"/>
                    <a:satMod val="350000"/>
                  </a:schemeClr>
                </a:gs>
              </a:gsLst>
              <a:lin ang="16200000" scaled="1"/>
            </a:gradFill>
            <a:ln w="9525" cap="flat" cmpd="sng" algn="ctr">
              <a:solidFill>
                <a:schemeClr val="accent5">
                  <a:lumMod val="50000"/>
                  <a:shade val="95000"/>
                </a:schemeClr>
              </a:solidFill>
              <a:round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  <a:sp3d contourW="9525">
              <a:contourClr>
                <a:schemeClr val="accent5">
                  <a:lumMod val="50000"/>
                  <a:shade val="95000"/>
                </a:schemeClr>
              </a:contourClr>
            </a:sp3d>
          </c:spPr>
          <c:cat>
            <c:numRef>
              <c:f>Sheet1!$B$1:$BH$1</c:f>
              <c:numCache>
                <c:formatCode>General</c:formatCode>
                <c:ptCount val="59"/>
                <c:pt idx="0">
                  <c:v>40</c:v>
                </c:pt>
                <c:pt idx="1">
                  <c:v>42.5</c:v>
                </c:pt>
                <c:pt idx="2">
                  <c:v>45</c:v>
                </c:pt>
                <c:pt idx="3">
                  <c:v>47.5</c:v>
                </c:pt>
                <c:pt idx="4">
                  <c:v>50</c:v>
                </c:pt>
                <c:pt idx="5">
                  <c:v>52.5</c:v>
                </c:pt>
                <c:pt idx="6">
                  <c:v>55</c:v>
                </c:pt>
                <c:pt idx="7">
                  <c:v>57.5</c:v>
                </c:pt>
                <c:pt idx="8">
                  <c:v>60</c:v>
                </c:pt>
                <c:pt idx="9">
                  <c:v>62.5</c:v>
                </c:pt>
                <c:pt idx="10">
                  <c:v>65</c:v>
                </c:pt>
                <c:pt idx="11">
                  <c:v>67.5</c:v>
                </c:pt>
                <c:pt idx="12">
                  <c:v>70</c:v>
                </c:pt>
                <c:pt idx="13">
                  <c:v>72.5</c:v>
                </c:pt>
                <c:pt idx="14">
                  <c:v>75</c:v>
                </c:pt>
                <c:pt idx="15">
                  <c:v>77.5</c:v>
                </c:pt>
                <c:pt idx="16">
                  <c:v>80</c:v>
                </c:pt>
                <c:pt idx="17">
                  <c:v>82.5</c:v>
                </c:pt>
                <c:pt idx="18">
                  <c:v>85</c:v>
                </c:pt>
                <c:pt idx="19">
                  <c:v>87.5</c:v>
                </c:pt>
                <c:pt idx="20">
                  <c:v>90</c:v>
                </c:pt>
                <c:pt idx="21">
                  <c:v>92.5</c:v>
                </c:pt>
                <c:pt idx="22">
                  <c:v>95</c:v>
                </c:pt>
                <c:pt idx="23">
                  <c:v>97.5</c:v>
                </c:pt>
                <c:pt idx="24">
                  <c:v>100</c:v>
                </c:pt>
                <c:pt idx="25">
                  <c:v>102.5</c:v>
                </c:pt>
                <c:pt idx="26">
                  <c:v>105</c:v>
                </c:pt>
                <c:pt idx="27">
                  <c:v>107.5</c:v>
                </c:pt>
                <c:pt idx="28">
                  <c:v>110</c:v>
                </c:pt>
                <c:pt idx="29">
                  <c:v>112.5</c:v>
                </c:pt>
                <c:pt idx="30">
                  <c:v>115</c:v>
                </c:pt>
                <c:pt idx="31">
                  <c:v>117.5</c:v>
                </c:pt>
                <c:pt idx="32">
                  <c:v>120</c:v>
                </c:pt>
                <c:pt idx="33">
                  <c:v>122.5</c:v>
                </c:pt>
                <c:pt idx="34">
                  <c:v>125</c:v>
                </c:pt>
                <c:pt idx="35">
                  <c:v>127.5</c:v>
                </c:pt>
                <c:pt idx="36">
                  <c:v>130</c:v>
                </c:pt>
                <c:pt idx="37">
                  <c:v>132.5</c:v>
                </c:pt>
                <c:pt idx="38">
                  <c:v>135</c:v>
                </c:pt>
                <c:pt idx="39">
                  <c:v>137.5</c:v>
                </c:pt>
                <c:pt idx="40">
                  <c:v>140</c:v>
                </c:pt>
                <c:pt idx="41">
                  <c:v>142.5</c:v>
                </c:pt>
                <c:pt idx="42">
                  <c:v>145</c:v>
                </c:pt>
                <c:pt idx="43">
                  <c:v>147.5</c:v>
                </c:pt>
                <c:pt idx="44">
                  <c:v>150</c:v>
                </c:pt>
                <c:pt idx="45">
                  <c:v>152.5</c:v>
                </c:pt>
                <c:pt idx="46">
                  <c:v>155</c:v>
                </c:pt>
                <c:pt idx="47">
                  <c:v>157.5</c:v>
                </c:pt>
                <c:pt idx="48">
                  <c:v>160</c:v>
                </c:pt>
                <c:pt idx="49">
                  <c:v>162.5</c:v>
                </c:pt>
                <c:pt idx="50">
                  <c:v>165</c:v>
                </c:pt>
                <c:pt idx="51">
                  <c:v>167.5</c:v>
                </c:pt>
                <c:pt idx="52">
                  <c:v>170</c:v>
                </c:pt>
                <c:pt idx="53">
                  <c:v>172.5</c:v>
                </c:pt>
                <c:pt idx="54">
                  <c:v>175</c:v>
                </c:pt>
                <c:pt idx="55">
                  <c:v>177.5</c:v>
                </c:pt>
                <c:pt idx="56">
                  <c:v>180</c:v>
                </c:pt>
                <c:pt idx="57">
                  <c:v>182.5</c:v>
                </c:pt>
                <c:pt idx="58">
                  <c:v>1000</c:v>
                </c:pt>
              </c:numCache>
            </c:numRef>
          </c:cat>
          <c:val>
            <c:numRef>
              <c:f>Sheet1!$B$36:$BH$36</c:f>
              <c:numCache>
                <c:formatCode>General</c:formatCode>
                <c:ptCount val="59"/>
                <c:pt idx="0">
                  <c:v>0.28331988435916527</c:v>
                </c:pt>
                <c:pt idx="1">
                  <c:v>0.27887041590414391</c:v>
                </c:pt>
                <c:pt idx="2">
                  <c:v>0.27474069432463538</c:v>
                </c:pt>
                <c:pt idx="3">
                  <c:v>0.27089536278555548</c:v>
                </c:pt>
                <c:pt idx="4">
                  <c:v>0.26730455360903899</c:v>
                </c:pt>
                <c:pt idx="5">
                  <c:v>0.26394280946510318</c:v>
                </c:pt>
                <c:pt idx="6">
                  <c:v>0.2607876103063228</c:v>
                </c:pt>
                <c:pt idx="7">
                  <c:v>0.25773222054363332</c:v>
                </c:pt>
                <c:pt idx="8">
                  <c:v>0.25470809567389707</c:v>
                </c:pt>
                <c:pt idx="9">
                  <c:v>0.2517133595125593</c:v>
                </c:pt>
                <c:pt idx="10">
                  <c:v>0.24874634047731731</c:v>
                </c:pt>
                <c:pt idx="11">
                  <c:v>0.24583363154973251</c:v>
                </c:pt>
                <c:pt idx="12">
                  <c:v>0.24299205753026051</c:v>
                </c:pt>
                <c:pt idx="13">
                  <c:v>0.2402166751249149</c:v>
                </c:pt>
                <c:pt idx="14">
                  <c:v>0.23750296893330361</c:v>
                </c:pt>
                <c:pt idx="15">
                  <c:v>0.2348352544081497</c:v>
                </c:pt>
                <c:pt idx="16">
                  <c:v>0.23220173732897911</c:v>
                </c:pt>
                <c:pt idx="17">
                  <c:v>0.2296002108556417</c:v>
                </c:pt>
                <c:pt idx="18">
                  <c:v>0.2270287321430873</c:v>
                </c:pt>
                <c:pt idx="19">
                  <c:v>0.22452051778947191</c:v>
                </c:pt>
                <c:pt idx="20">
                  <c:v>0.22209949396335529</c:v>
                </c:pt>
                <c:pt idx="21">
                  <c:v>0.21976094559537371</c:v>
                </c:pt>
                <c:pt idx="22">
                  <c:v>0.21746341902582819</c:v>
                </c:pt>
                <c:pt idx="23">
                  <c:v>0.2151700450733498</c:v>
                </c:pt>
                <c:pt idx="24">
                  <c:v>0.21297133941670271</c:v>
                </c:pt>
                <c:pt idx="25">
                  <c:v>0.2109480245492458</c:v>
                </c:pt>
                <c:pt idx="26">
                  <c:v>0.2088939869414865</c:v>
                </c:pt>
                <c:pt idx="27">
                  <c:v>0.20662387491088019</c:v>
                </c:pt>
                <c:pt idx="28">
                  <c:v>0.20434969047732091</c:v>
                </c:pt>
                <c:pt idx="29">
                  <c:v>0.20226392800169751</c:v>
                </c:pt>
                <c:pt idx="30">
                  <c:v>0.20035913885622769</c:v>
                </c:pt>
                <c:pt idx="31">
                  <c:v>0.19846696576810149</c:v>
                </c:pt>
                <c:pt idx="32">
                  <c:v>0.19645180528660111</c:v>
                </c:pt>
                <c:pt idx="33">
                  <c:v>0.19431722295649301</c:v>
                </c:pt>
                <c:pt idx="34">
                  <c:v>0.19231405193474241</c:v>
                </c:pt>
                <c:pt idx="35">
                  <c:v>0.19067343957363311</c:v>
                </c:pt>
                <c:pt idx="36">
                  <c:v>0.18915884786741249</c:v>
                </c:pt>
                <c:pt idx="37">
                  <c:v>0.18755237983480971</c:v>
                </c:pt>
                <c:pt idx="38">
                  <c:v>0.18585680551464401</c:v>
                </c:pt>
                <c:pt idx="39">
                  <c:v>0.1841610492028127</c:v>
                </c:pt>
                <c:pt idx="40">
                  <c:v>0.18253915254151451</c:v>
                </c:pt>
                <c:pt idx="41">
                  <c:v>0.18098886476410139</c:v>
                </c:pt>
                <c:pt idx="42">
                  <c:v>0.1795080584074423</c:v>
                </c:pt>
                <c:pt idx="43">
                  <c:v>0.1781209819825175</c:v>
                </c:pt>
                <c:pt idx="44">
                  <c:v>0.17684768415522589</c:v>
                </c:pt>
                <c:pt idx="45">
                  <c:v>0.17568482406002969</c:v>
                </c:pt>
                <c:pt idx="46">
                  <c:v>0.1746290669999101</c:v>
                </c:pt>
                <c:pt idx="47">
                  <c:v>0.17364630944278231</c:v>
                </c:pt>
                <c:pt idx="48">
                  <c:v>0.1727074029737363</c:v>
                </c:pt>
                <c:pt idx="49">
                  <c:v>0.17181100224687451</c:v>
                </c:pt>
                <c:pt idx="50">
                  <c:v>0.17095579849860709</c:v>
                </c:pt>
                <c:pt idx="51">
                  <c:v>0.17012482808940971</c:v>
                </c:pt>
                <c:pt idx="52">
                  <c:v>0.16930354892116631</c:v>
                </c:pt>
                <c:pt idx="53">
                  <c:v>0.16849167879164831</c:v>
                </c:pt>
                <c:pt idx="54">
                  <c:v>0.1676889517534691</c:v>
                </c:pt>
                <c:pt idx="55">
                  <c:v>0.16690071166518261</c:v>
                </c:pt>
                <c:pt idx="56">
                  <c:v>0.1661315157325633</c:v>
                </c:pt>
                <c:pt idx="57">
                  <c:v>0.16538083756128691</c:v>
                </c:pt>
                <c:pt idx="58">
                  <c:v>0.1593563673470196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2-E27E-4C0A-99B7-33696A982CB4}"/>
            </c:ext>
          </c:extLst>
        </c:ser>
        <c:ser>
          <c:idx val="35"/>
          <c:order val="35"/>
          <c:tx>
            <c:strRef>
              <c:f>Sheet1!$A$37</c:f>
              <c:strCache>
                <c:ptCount val="1"/>
                <c:pt idx="0">
                  <c:v>8.25</c:v>
                </c:pt>
              </c:strCache>
            </c:strRef>
          </c:tx>
          <c:spPr>
            <a:gradFill rotWithShape="1">
              <a:gsLst>
                <a:gs pos="0">
                  <a:schemeClr val="accent6">
                    <a:lumMod val="50000"/>
                    <a:tint val="50000"/>
                    <a:satMod val="300000"/>
                  </a:schemeClr>
                </a:gs>
                <a:gs pos="35000">
                  <a:schemeClr val="accent6">
                    <a:lumMod val="50000"/>
                    <a:tint val="37000"/>
                    <a:satMod val="300000"/>
                  </a:schemeClr>
                </a:gs>
                <a:gs pos="100000">
                  <a:schemeClr val="accent6">
                    <a:lumMod val="50000"/>
                    <a:tint val="15000"/>
                    <a:satMod val="350000"/>
                  </a:schemeClr>
                </a:gs>
              </a:gsLst>
              <a:lin ang="16200000" scaled="1"/>
            </a:gradFill>
            <a:ln w="9525" cap="flat" cmpd="sng" algn="ctr">
              <a:solidFill>
                <a:schemeClr val="accent6">
                  <a:lumMod val="50000"/>
                  <a:shade val="95000"/>
                </a:schemeClr>
              </a:solidFill>
              <a:round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  <a:sp3d contourW="9525">
              <a:contourClr>
                <a:schemeClr val="accent6">
                  <a:lumMod val="50000"/>
                  <a:shade val="95000"/>
                </a:schemeClr>
              </a:contourClr>
            </a:sp3d>
          </c:spPr>
          <c:cat>
            <c:numRef>
              <c:f>Sheet1!$B$1:$BH$1</c:f>
              <c:numCache>
                <c:formatCode>General</c:formatCode>
                <c:ptCount val="59"/>
                <c:pt idx="0">
                  <c:v>40</c:v>
                </c:pt>
                <c:pt idx="1">
                  <c:v>42.5</c:v>
                </c:pt>
                <c:pt idx="2">
                  <c:v>45</c:v>
                </c:pt>
                <c:pt idx="3">
                  <c:v>47.5</c:v>
                </c:pt>
                <c:pt idx="4">
                  <c:v>50</c:v>
                </c:pt>
                <c:pt idx="5">
                  <c:v>52.5</c:v>
                </c:pt>
                <c:pt idx="6">
                  <c:v>55</c:v>
                </c:pt>
                <c:pt idx="7">
                  <c:v>57.5</c:v>
                </c:pt>
                <c:pt idx="8">
                  <c:v>60</c:v>
                </c:pt>
                <c:pt idx="9">
                  <c:v>62.5</c:v>
                </c:pt>
                <c:pt idx="10">
                  <c:v>65</c:v>
                </c:pt>
                <c:pt idx="11">
                  <c:v>67.5</c:v>
                </c:pt>
                <c:pt idx="12">
                  <c:v>70</c:v>
                </c:pt>
                <c:pt idx="13">
                  <c:v>72.5</c:v>
                </c:pt>
                <c:pt idx="14">
                  <c:v>75</c:v>
                </c:pt>
                <c:pt idx="15">
                  <c:v>77.5</c:v>
                </c:pt>
                <c:pt idx="16">
                  <c:v>80</c:v>
                </c:pt>
                <c:pt idx="17">
                  <c:v>82.5</c:v>
                </c:pt>
                <c:pt idx="18">
                  <c:v>85</c:v>
                </c:pt>
                <c:pt idx="19">
                  <c:v>87.5</c:v>
                </c:pt>
                <c:pt idx="20">
                  <c:v>90</c:v>
                </c:pt>
                <c:pt idx="21">
                  <c:v>92.5</c:v>
                </c:pt>
                <c:pt idx="22">
                  <c:v>95</c:v>
                </c:pt>
                <c:pt idx="23">
                  <c:v>97.5</c:v>
                </c:pt>
                <c:pt idx="24">
                  <c:v>100</c:v>
                </c:pt>
                <c:pt idx="25">
                  <c:v>102.5</c:v>
                </c:pt>
                <c:pt idx="26">
                  <c:v>105</c:v>
                </c:pt>
                <c:pt idx="27">
                  <c:v>107.5</c:v>
                </c:pt>
                <c:pt idx="28">
                  <c:v>110</c:v>
                </c:pt>
                <c:pt idx="29">
                  <c:v>112.5</c:v>
                </c:pt>
                <c:pt idx="30">
                  <c:v>115</c:v>
                </c:pt>
                <c:pt idx="31">
                  <c:v>117.5</c:v>
                </c:pt>
                <c:pt idx="32">
                  <c:v>120</c:v>
                </c:pt>
                <c:pt idx="33">
                  <c:v>122.5</c:v>
                </c:pt>
                <c:pt idx="34">
                  <c:v>125</c:v>
                </c:pt>
                <c:pt idx="35">
                  <c:v>127.5</c:v>
                </c:pt>
                <c:pt idx="36">
                  <c:v>130</c:v>
                </c:pt>
                <c:pt idx="37">
                  <c:v>132.5</c:v>
                </c:pt>
                <c:pt idx="38">
                  <c:v>135</c:v>
                </c:pt>
                <c:pt idx="39">
                  <c:v>137.5</c:v>
                </c:pt>
                <c:pt idx="40">
                  <c:v>140</c:v>
                </c:pt>
                <c:pt idx="41">
                  <c:v>142.5</c:v>
                </c:pt>
                <c:pt idx="42">
                  <c:v>145</c:v>
                </c:pt>
                <c:pt idx="43">
                  <c:v>147.5</c:v>
                </c:pt>
                <c:pt idx="44">
                  <c:v>150</c:v>
                </c:pt>
                <c:pt idx="45">
                  <c:v>152.5</c:v>
                </c:pt>
                <c:pt idx="46">
                  <c:v>155</c:v>
                </c:pt>
                <c:pt idx="47">
                  <c:v>157.5</c:v>
                </c:pt>
                <c:pt idx="48">
                  <c:v>160</c:v>
                </c:pt>
                <c:pt idx="49">
                  <c:v>162.5</c:v>
                </c:pt>
                <c:pt idx="50">
                  <c:v>165</c:v>
                </c:pt>
                <c:pt idx="51">
                  <c:v>167.5</c:v>
                </c:pt>
                <c:pt idx="52">
                  <c:v>170</c:v>
                </c:pt>
                <c:pt idx="53">
                  <c:v>172.5</c:v>
                </c:pt>
                <c:pt idx="54">
                  <c:v>175</c:v>
                </c:pt>
                <c:pt idx="55">
                  <c:v>177.5</c:v>
                </c:pt>
                <c:pt idx="56">
                  <c:v>180</c:v>
                </c:pt>
                <c:pt idx="57">
                  <c:v>182.5</c:v>
                </c:pt>
                <c:pt idx="58">
                  <c:v>1000</c:v>
                </c:pt>
              </c:numCache>
            </c:numRef>
          </c:cat>
          <c:val>
            <c:numRef>
              <c:f>Sheet1!$B$37:$BH$37</c:f>
              <c:numCache>
                <c:formatCode>General</c:formatCode>
                <c:ptCount val="59"/>
                <c:pt idx="0">
                  <c:v>0.28212203489569149</c:v>
                </c:pt>
                <c:pt idx="1">
                  <c:v>0.27783092793020431</c:v>
                </c:pt>
                <c:pt idx="2">
                  <c:v>0.27384221103838308</c:v>
                </c:pt>
                <c:pt idx="3">
                  <c:v>0.27012242874568509</c:v>
                </c:pt>
                <c:pt idx="4">
                  <c:v>0.26664332408470792</c:v>
                </c:pt>
                <c:pt idx="5">
                  <c:v>0.26338081666087398</c:v>
                </c:pt>
                <c:pt idx="6">
                  <c:v>0.26031359386450598</c:v>
                </c:pt>
                <c:pt idx="7">
                  <c:v>0.25733878456878179</c:v>
                </c:pt>
                <c:pt idx="8">
                  <c:v>0.25439050630709392</c:v>
                </c:pt>
                <c:pt idx="9">
                  <c:v>0.25146735857130031</c:v>
                </c:pt>
                <c:pt idx="10">
                  <c:v>0.24856809635264551</c:v>
                </c:pt>
                <c:pt idx="11">
                  <c:v>0.24572206084695389</c:v>
                </c:pt>
                <c:pt idx="12">
                  <c:v>0.2429479256406156</c:v>
                </c:pt>
                <c:pt idx="13">
                  <c:v>0.2402407139839321</c:v>
                </c:pt>
                <c:pt idx="14">
                  <c:v>0.23759586112529499</c:v>
                </c:pt>
                <c:pt idx="15">
                  <c:v>0.23499207531703001</c:v>
                </c:pt>
                <c:pt idx="16">
                  <c:v>0.2324136719980813</c:v>
                </c:pt>
                <c:pt idx="17">
                  <c:v>0.22985901411406079</c:v>
                </c:pt>
                <c:pt idx="18">
                  <c:v>0.22732668803094869</c:v>
                </c:pt>
                <c:pt idx="19">
                  <c:v>0.22485705891624591</c:v>
                </c:pt>
                <c:pt idx="20">
                  <c:v>0.22247933365045319</c:v>
                </c:pt>
                <c:pt idx="21">
                  <c:v>0.2201885492142889</c:v>
                </c:pt>
                <c:pt idx="22">
                  <c:v>0.21794051625046379</c:v>
                </c:pt>
                <c:pt idx="23">
                  <c:v>0.21569597436116619</c:v>
                </c:pt>
                <c:pt idx="24">
                  <c:v>0.2135545758446187</c:v>
                </c:pt>
                <c:pt idx="25">
                  <c:v>0.21160508060610961</c:v>
                </c:pt>
                <c:pt idx="26">
                  <c:v>0.20962764905627429</c:v>
                </c:pt>
                <c:pt idx="27">
                  <c:v>0.20742489244926651</c:v>
                </c:pt>
                <c:pt idx="28">
                  <c:v>0.205198441272882</c:v>
                </c:pt>
                <c:pt idx="29">
                  <c:v>0.20313113019330531</c:v>
                </c:pt>
                <c:pt idx="30">
                  <c:v>0.2012165959725202</c:v>
                </c:pt>
                <c:pt idx="31">
                  <c:v>0.19932785689708049</c:v>
                </c:pt>
                <c:pt idx="32">
                  <c:v>0.19736257988746481</c:v>
                </c:pt>
                <c:pt idx="33">
                  <c:v>0.19532294926881449</c:v>
                </c:pt>
                <c:pt idx="34">
                  <c:v>0.19340199247370371</c:v>
                </c:pt>
                <c:pt idx="35">
                  <c:v>0.191777257758216</c:v>
                </c:pt>
                <c:pt idx="36">
                  <c:v>0.1902556747898195</c:v>
                </c:pt>
                <c:pt idx="37">
                  <c:v>0.18865950718423971</c:v>
                </c:pt>
                <c:pt idx="38">
                  <c:v>0.18699100645496919</c:v>
                </c:pt>
                <c:pt idx="39">
                  <c:v>0.18532755134621459</c:v>
                </c:pt>
                <c:pt idx="40">
                  <c:v>0.18373350335538041</c:v>
                </c:pt>
                <c:pt idx="41">
                  <c:v>0.18220671250213849</c:v>
                </c:pt>
                <c:pt idx="42">
                  <c:v>0.18074514928229871</c:v>
                </c:pt>
                <c:pt idx="43">
                  <c:v>0.17937140010752481</c:v>
                </c:pt>
                <c:pt idx="44">
                  <c:v>0.1781041281779287</c:v>
                </c:pt>
                <c:pt idx="45">
                  <c:v>0.17694018032934439</c:v>
                </c:pt>
                <c:pt idx="46">
                  <c:v>0.17587643006849751</c:v>
                </c:pt>
                <c:pt idx="47">
                  <c:v>0.17488838911065219</c:v>
                </c:pt>
                <c:pt idx="48">
                  <c:v>0.17395503177870519</c:v>
                </c:pt>
                <c:pt idx="49">
                  <c:v>0.17307467415978581</c:v>
                </c:pt>
                <c:pt idx="50">
                  <c:v>0.17224566336191871</c:v>
                </c:pt>
                <c:pt idx="51">
                  <c:v>0.17143928139051939</c:v>
                </c:pt>
                <c:pt idx="52">
                  <c:v>0.1706309855952729</c:v>
                </c:pt>
                <c:pt idx="53">
                  <c:v>0.16982084057298191</c:v>
                </c:pt>
                <c:pt idx="54">
                  <c:v>0.16900891270540649</c:v>
                </c:pt>
                <c:pt idx="55">
                  <c:v>0.16820656206049919</c:v>
                </c:pt>
                <c:pt idx="56">
                  <c:v>0.16742353757117651</c:v>
                </c:pt>
                <c:pt idx="57">
                  <c:v>0.1666593061711707</c:v>
                </c:pt>
                <c:pt idx="58">
                  <c:v>0.160347156768315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3-E27E-4C0A-99B7-33696A982CB4}"/>
            </c:ext>
          </c:extLst>
        </c:ser>
        <c:ser>
          <c:idx val="36"/>
          <c:order val="36"/>
          <c:tx>
            <c:strRef>
              <c:f>Sheet1!$A$38</c:f>
              <c:strCache>
                <c:ptCount val="1"/>
                <c:pt idx="0">
                  <c:v>8.5</c:v>
                </c:pt>
              </c:strCache>
            </c:strRef>
          </c:tx>
          <c:spPr>
            <a:gradFill rotWithShape="1">
              <a:gsLst>
                <a:gs pos="0">
                  <a:schemeClr val="accent1">
                    <a:lumMod val="70000"/>
                    <a:lumOff val="30000"/>
                    <a:tint val="50000"/>
                    <a:satMod val="300000"/>
                  </a:schemeClr>
                </a:gs>
                <a:gs pos="35000">
                  <a:schemeClr val="accent1">
                    <a:lumMod val="70000"/>
                    <a:lumOff val="30000"/>
                    <a:tint val="37000"/>
                    <a:satMod val="300000"/>
                  </a:schemeClr>
                </a:gs>
                <a:gs pos="100000">
                  <a:schemeClr val="accent1">
                    <a:lumMod val="70000"/>
                    <a:lumOff val="30000"/>
                    <a:tint val="15000"/>
                    <a:satMod val="350000"/>
                  </a:schemeClr>
                </a:gs>
              </a:gsLst>
              <a:lin ang="16200000" scaled="1"/>
            </a:gradFill>
            <a:ln w="9525" cap="flat" cmpd="sng" algn="ctr">
              <a:solidFill>
                <a:schemeClr val="accent1">
                  <a:lumMod val="70000"/>
                  <a:lumOff val="30000"/>
                  <a:shade val="95000"/>
                </a:schemeClr>
              </a:solidFill>
              <a:round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  <a:sp3d contourW="9525">
              <a:contourClr>
                <a:schemeClr val="accent1">
                  <a:lumMod val="70000"/>
                  <a:lumOff val="30000"/>
                  <a:shade val="95000"/>
                </a:schemeClr>
              </a:contourClr>
            </a:sp3d>
          </c:spPr>
          <c:cat>
            <c:numRef>
              <c:f>Sheet1!$B$1:$BH$1</c:f>
              <c:numCache>
                <c:formatCode>General</c:formatCode>
                <c:ptCount val="59"/>
                <c:pt idx="0">
                  <c:v>40</c:v>
                </c:pt>
                <c:pt idx="1">
                  <c:v>42.5</c:v>
                </c:pt>
                <c:pt idx="2">
                  <c:v>45</c:v>
                </c:pt>
                <c:pt idx="3">
                  <c:v>47.5</c:v>
                </c:pt>
                <c:pt idx="4">
                  <c:v>50</c:v>
                </c:pt>
                <c:pt idx="5">
                  <c:v>52.5</c:v>
                </c:pt>
                <c:pt idx="6">
                  <c:v>55</c:v>
                </c:pt>
                <c:pt idx="7">
                  <c:v>57.5</c:v>
                </c:pt>
                <c:pt idx="8">
                  <c:v>60</c:v>
                </c:pt>
                <c:pt idx="9">
                  <c:v>62.5</c:v>
                </c:pt>
                <c:pt idx="10">
                  <c:v>65</c:v>
                </c:pt>
                <c:pt idx="11">
                  <c:v>67.5</c:v>
                </c:pt>
                <c:pt idx="12">
                  <c:v>70</c:v>
                </c:pt>
                <c:pt idx="13">
                  <c:v>72.5</c:v>
                </c:pt>
                <c:pt idx="14">
                  <c:v>75</c:v>
                </c:pt>
                <c:pt idx="15">
                  <c:v>77.5</c:v>
                </c:pt>
                <c:pt idx="16">
                  <c:v>80</c:v>
                </c:pt>
                <c:pt idx="17">
                  <c:v>82.5</c:v>
                </c:pt>
                <c:pt idx="18">
                  <c:v>85</c:v>
                </c:pt>
                <c:pt idx="19">
                  <c:v>87.5</c:v>
                </c:pt>
                <c:pt idx="20">
                  <c:v>90</c:v>
                </c:pt>
                <c:pt idx="21">
                  <c:v>92.5</c:v>
                </c:pt>
                <c:pt idx="22">
                  <c:v>95</c:v>
                </c:pt>
                <c:pt idx="23">
                  <c:v>97.5</c:v>
                </c:pt>
                <c:pt idx="24">
                  <c:v>100</c:v>
                </c:pt>
                <c:pt idx="25">
                  <c:v>102.5</c:v>
                </c:pt>
                <c:pt idx="26">
                  <c:v>105</c:v>
                </c:pt>
                <c:pt idx="27">
                  <c:v>107.5</c:v>
                </c:pt>
                <c:pt idx="28">
                  <c:v>110</c:v>
                </c:pt>
                <c:pt idx="29">
                  <c:v>112.5</c:v>
                </c:pt>
                <c:pt idx="30">
                  <c:v>115</c:v>
                </c:pt>
                <c:pt idx="31">
                  <c:v>117.5</c:v>
                </c:pt>
                <c:pt idx="32">
                  <c:v>120</c:v>
                </c:pt>
                <c:pt idx="33">
                  <c:v>122.5</c:v>
                </c:pt>
                <c:pt idx="34">
                  <c:v>125</c:v>
                </c:pt>
                <c:pt idx="35">
                  <c:v>127.5</c:v>
                </c:pt>
                <c:pt idx="36">
                  <c:v>130</c:v>
                </c:pt>
                <c:pt idx="37">
                  <c:v>132.5</c:v>
                </c:pt>
                <c:pt idx="38">
                  <c:v>135</c:v>
                </c:pt>
                <c:pt idx="39">
                  <c:v>137.5</c:v>
                </c:pt>
                <c:pt idx="40">
                  <c:v>140</c:v>
                </c:pt>
                <c:pt idx="41">
                  <c:v>142.5</c:v>
                </c:pt>
                <c:pt idx="42">
                  <c:v>145</c:v>
                </c:pt>
                <c:pt idx="43">
                  <c:v>147.5</c:v>
                </c:pt>
                <c:pt idx="44">
                  <c:v>150</c:v>
                </c:pt>
                <c:pt idx="45">
                  <c:v>152.5</c:v>
                </c:pt>
                <c:pt idx="46">
                  <c:v>155</c:v>
                </c:pt>
                <c:pt idx="47">
                  <c:v>157.5</c:v>
                </c:pt>
                <c:pt idx="48">
                  <c:v>160</c:v>
                </c:pt>
                <c:pt idx="49">
                  <c:v>162.5</c:v>
                </c:pt>
                <c:pt idx="50">
                  <c:v>165</c:v>
                </c:pt>
                <c:pt idx="51">
                  <c:v>167.5</c:v>
                </c:pt>
                <c:pt idx="52">
                  <c:v>170</c:v>
                </c:pt>
                <c:pt idx="53">
                  <c:v>172.5</c:v>
                </c:pt>
                <c:pt idx="54">
                  <c:v>175</c:v>
                </c:pt>
                <c:pt idx="55">
                  <c:v>177.5</c:v>
                </c:pt>
                <c:pt idx="56">
                  <c:v>180</c:v>
                </c:pt>
                <c:pt idx="57">
                  <c:v>182.5</c:v>
                </c:pt>
                <c:pt idx="58">
                  <c:v>1000</c:v>
                </c:pt>
              </c:numCache>
            </c:numRef>
          </c:cat>
          <c:val>
            <c:numRef>
              <c:f>Sheet1!$B$38:$BH$38</c:f>
              <c:numCache>
                <c:formatCode>General</c:formatCode>
                <c:ptCount val="59"/>
                <c:pt idx="0">
                  <c:v>0.2809899825468955</c:v>
                </c:pt>
                <c:pt idx="1">
                  <c:v>0.27684902098177272</c:v>
                </c:pt>
                <c:pt idx="2">
                  <c:v>0.27299387842125661</c:v>
                </c:pt>
                <c:pt idx="3">
                  <c:v>0.26939293558349148</c:v>
                </c:pt>
                <c:pt idx="4">
                  <c:v>0.26601948901659578</c:v>
                </c:pt>
                <c:pt idx="5">
                  <c:v>0.26285078462325201</c:v>
                </c:pt>
                <c:pt idx="6">
                  <c:v>0.25986667089819632</c:v>
                </c:pt>
                <c:pt idx="7">
                  <c:v>0.25696794161786912</c:v>
                </c:pt>
                <c:pt idx="8">
                  <c:v>0.25409123605088768</c:v>
                </c:pt>
                <c:pt idx="9">
                  <c:v>0.25123560823536628</c:v>
                </c:pt>
                <c:pt idx="10">
                  <c:v>0.24840022033839279</c:v>
                </c:pt>
                <c:pt idx="11">
                  <c:v>0.24561700683021451</c:v>
                </c:pt>
                <c:pt idx="12">
                  <c:v>0.24290638242007681</c:v>
                </c:pt>
                <c:pt idx="13">
                  <c:v>0.24026333659533691</c:v>
                </c:pt>
                <c:pt idx="14">
                  <c:v>0.23768325590677639</c:v>
                </c:pt>
                <c:pt idx="15">
                  <c:v>0.23513957592591289</c:v>
                </c:pt>
                <c:pt idx="16">
                  <c:v>0.2326129635311068</c:v>
                </c:pt>
                <c:pt idx="17">
                  <c:v>0.23010232774774519</c:v>
                </c:pt>
                <c:pt idx="18">
                  <c:v>0.22760676079473341</c:v>
                </c:pt>
                <c:pt idx="19">
                  <c:v>0.22517334402790709</c:v>
                </c:pt>
                <c:pt idx="20">
                  <c:v>0.22283623837336949</c:v>
                </c:pt>
                <c:pt idx="21">
                  <c:v>0.2205902424945288</c:v>
                </c:pt>
                <c:pt idx="22">
                  <c:v>0.2183885968184546</c:v>
                </c:pt>
                <c:pt idx="23">
                  <c:v>0.2161897978745074</c:v>
                </c:pt>
                <c:pt idx="24">
                  <c:v>0.21410205289433479</c:v>
                </c:pt>
                <c:pt idx="25">
                  <c:v>0.21222162799145389</c:v>
                </c:pt>
                <c:pt idx="26">
                  <c:v>0.2103158166868884</c:v>
                </c:pt>
                <c:pt idx="27">
                  <c:v>0.20817597580207289</c:v>
                </c:pt>
                <c:pt idx="28">
                  <c:v>0.20599407101065739</c:v>
                </c:pt>
                <c:pt idx="29">
                  <c:v>0.2039439520234882</c:v>
                </c:pt>
                <c:pt idx="30">
                  <c:v>0.202020289888972</c:v>
                </c:pt>
                <c:pt idx="31">
                  <c:v>0.20013472457056219</c:v>
                </c:pt>
                <c:pt idx="32">
                  <c:v>0.19821595668075689</c:v>
                </c:pt>
                <c:pt idx="33">
                  <c:v>0.19626480740913549</c:v>
                </c:pt>
                <c:pt idx="34">
                  <c:v>0.1944203753116383</c:v>
                </c:pt>
                <c:pt idx="35">
                  <c:v>0.19281037295689099</c:v>
                </c:pt>
                <c:pt idx="36">
                  <c:v>0.1912822373347893</c:v>
                </c:pt>
                <c:pt idx="37">
                  <c:v>0.18969560687892689</c:v>
                </c:pt>
                <c:pt idx="38">
                  <c:v>0.18805224083915451</c:v>
                </c:pt>
                <c:pt idx="39">
                  <c:v>0.18641876795944129</c:v>
                </c:pt>
                <c:pt idx="40">
                  <c:v>0.18485054902204631</c:v>
                </c:pt>
                <c:pt idx="41">
                  <c:v>0.18334553267309059</c:v>
                </c:pt>
                <c:pt idx="42">
                  <c:v>0.18190178476443861</c:v>
                </c:pt>
                <c:pt idx="43">
                  <c:v>0.1805403531993614</c:v>
                </c:pt>
                <c:pt idx="44">
                  <c:v>0.1792786200608357</c:v>
                </c:pt>
                <c:pt idx="45">
                  <c:v>0.1781136098466555</c:v>
                </c:pt>
                <c:pt idx="46">
                  <c:v>0.17704239088753071</c:v>
                </c:pt>
                <c:pt idx="47">
                  <c:v>0.17604940028284641</c:v>
                </c:pt>
                <c:pt idx="48">
                  <c:v>0.17512115117429611</c:v>
                </c:pt>
                <c:pt idx="49">
                  <c:v>0.17425564142826949</c:v>
                </c:pt>
                <c:pt idx="50">
                  <c:v>0.17345089174576911</c:v>
                </c:pt>
                <c:pt idx="51">
                  <c:v>0.17266727330549139</c:v>
                </c:pt>
                <c:pt idx="52">
                  <c:v>0.1718709725098593</c:v>
                </c:pt>
                <c:pt idx="53">
                  <c:v>0.1710623823799752</c:v>
                </c:pt>
                <c:pt idx="54">
                  <c:v>0.17024188022351949</c:v>
                </c:pt>
                <c:pt idx="55">
                  <c:v>0.16942640382070889</c:v>
                </c:pt>
                <c:pt idx="56">
                  <c:v>0.168630515428114</c:v>
                </c:pt>
                <c:pt idx="57">
                  <c:v>0.16785367578804419</c:v>
                </c:pt>
                <c:pt idx="58">
                  <c:v>0.1612741041787003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4-E27E-4C0A-99B7-33696A982CB4}"/>
            </c:ext>
          </c:extLst>
        </c:ser>
        <c:ser>
          <c:idx val="37"/>
          <c:order val="37"/>
          <c:tx>
            <c:strRef>
              <c:f>Sheet1!$A$39</c:f>
              <c:strCache>
                <c:ptCount val="1"/>
                <c:pt idx="0">
                  <c:v>8.75</c:v>
                </c:pt>
              </c:strCache>
            </c:strRef>
          </c:tx>
          <c:spPr>
            <a:gradFill rotWithShape="1">
              <a:gsLst>
                <a:gs pos="0">
                  <a:schemeClr val="accent2">
                    <a:lumMod val="70000"/>
                    <a:lumOff val="30000"/>
                    <a:tint val="50000"/>
                    <a:satMod val="300000"/>
                  </a:schemeClr>
                </a:gs>
                <a:gs pos="35000">
                  <a:schemeClr val="accent2">
                    <a:lumMod val="70000"/>
                    <a:lumOff val="30000"/>
                    <a:tint val="37000"/>
                    <a:satMod val="300000"/>
                  </a:schemeClr>
                </a:gs>
                <a:gs pos="100000">
                  <a:schemeClr val="accent2">
                    <a:lumMod val="70000"/>
                    <a:lumOff val="30000"/>
                    <a:tint val="15000"/>
                    <a:satMod val="350000"/>
                  </a:schemeClr>
                </a:gs>
              </a:gsLst>
              <a:lin ang="16200000" scaled="1"/>
            </a:gradFill>
            <a:ln w="9525" cap="flat" cmpd="sng" algn="ctr">
              <a:solidFill>
                <a:schemeClr val="accent2">
                  <a:lumMod val="70000"/>
                  <a:lumOff val="30000"/>
                  <a:shade val="95000"/>
                </a:schemeClr>
              </a:solidFill>
              <a:round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  <a:sp3d contourW="9525">
              <a:contourClr>
                <a:schemeClr val="accent2">
                  <a:lumMod val="70000"/>
                  <a:lumOff val="30000"/>
                  <a:shade val="95000"/>
                </a:schemeClr>
              </a:contourClr>
            </a:sp3d>
          </c:spPr>
          <c:cat>
            <c:numRef>
              <c:f>Sheet1!$B$1:$BH$1</c:f>
              <c:numCache>
                <c:formatCode>General</c:formatCode>
                <c:ptCount val="59"/>
                <c:pt idx="0">
                  <c:v>40</c:v>
                </c:pt>
                <c:pt idx="1">
                  <c:v>42.5</c:v>
                </c:pt>
                <c:pt idx="2">
                  <c:v>45</c:v>
                </c:pt>
                <c:pt idx="3">
                  <c:v>47.5</c:v>
                </c:pt>
                <c:pt idx="4">
                  <c:v>50</c:v>
                </c:pt>
                <c:pt idx="5">
                  <c:v>52.5</c:v>
                </c:pt>
                <c:pt idx="6">
                  <c:v>55</c:v>
                </c:pt>
                <c:pt idx="7">
                  <c:v>57.5</c:v>
                </c:pt>
                <c:pt idx="8">
                  <c:v>60</c:v>
                </c:pt>
                <c:pt idx="9">
                  <c:v>62.5</c:v>
                </c:pt>
                <c:pt idx="10">
                  <c:v>65</c:v>
                </c:pt>
                <c:pt idx="11">
                  <c:v>67.5</c:v>
                </c:pt>
                <c:pt idx="12">
                  <c:v>70</c:v>
                </c:pt>
                <c:pt idx="13">
                  <c:v>72.5</c:v>
                </c:pt>
                <c:pt idx="14">
                  <c:v>75</c:v>
                </c:pt>
                <c:pt idx="15">
                  <c:v>77.5</c:v>
                </c:pt>
                <c:pt idx="16">
                  <c:v>80</c:v>
                </c:pt>
                <c:pt idx="17">
                  <c:v>82.5</c:v>
                </c:pt>
                <c:pt idx="18">
                  <c:v>85</c:v>
                </c:pt>
                <c:pt idx="19">
                  <c:v>87.5</c:v>
                </c:pt>
                <c:pt idx="20">
                  <c:v>90</c:v>
                </c:pt>
                <c:pt idx="21">
                  <c:v>92.5</c:v>
                </c:pt>
                <c:pt idx="22">
                  <c:v>95</c:v>
                </c:pt>
                <c:pt idx="23">
                  <c:v>97.5</c:v>
                </c:pt>
                <c:pt idx="24">
                  <c:v>100</c:v>
                </c:pt>
                <c:pt idx="25">
                  <c:v>102.5</c:v>
                </c:pt>
                <c:pt idx="26">
                  <c:v>105</c:v>
                </c:pt>
                <c:pt idx="27">
                  <c:v>107.5</c:v>
                </c:pt>
                <c:pt idx="28">
                  <c:v>110</c:v>
                </c:pt>
                <c:pt idx="29">
                  <c:v>112.5</c:v>
                </c:pt>
                <c:pt idx="30">
                  <c:v>115</c:v>
                </c:pt>
                <c:pt idx="31">
                  <c:v>117.5</c:v>
                </c:pt>
                <c:pt idx="32">
                  <c:v>120</c:v>
                </c:pt>
                <c:pt idx="33">
                  <c:v>122.5</c:v>
                </c:pt>
                <c:pt idx="34">
                  <c:v>125</c:v>
                </c:pt>
                <c:pt idx="35">
                  <c:v>127.5</c:v>
                </c:pt>
                <c:pt idx="36">
                  <c:v>130</c:v>
                </c:pt>
                <c:pt idx="37">
                  <c:v>132.5</c:v>
                </c:pt>
                <c:pt idx="38">
                  <c:v>135</c:v>
                </c:pt>
                <c:pt idx="39">
                  <c:v>137.5</c:v>
                </c:pt>
                <c:pt idx="40">
                  <c:v>140</c:v>
                </c:pt>
                <c:pt idx="41">
                  <c:v>142.5</c:v>
                </c:pt>
                <c:pt idx="42">
                  <c:v>145</c:v>
                </c:pt>
                <c:pt idx="43">
                  <c:v>147.5</c:v>
                </c:pt>
                <c:pt idx="44">
                  <c:v>150</c:v>
                </c:pt>
                <c:pt idx="45">
                  <c:v>152.5</c:v>
                </c:pt>
                <c:pt idx="46">
                  <c:v>155</c:v>
                </c:pt>
                <c:pt idx="47">
                  <c:v>157.5</c:v>
                </c:pt>
                <c:pt idx="48">
                  <c:v>160</c:v>
                </c:pt>
                <c:pt idx="49">
                  <c:v>162.5</c:v>
                </c:pt>
                <c:pt idx="50">
                  <c:v>165</c:v>
                </c:pt>
                <c:pt idx="51">
                  <c:v>167.5</c:v>
                </c:pt>
                <c:pt idx="52">
                  <c:v>170</c:v>
                </c:pt>
                <c:pt idx="53">
                  <c:v>172.5</c:v>
                </c:pt>
                <c:pt idx="54">
                  <c:v>175</c:v>
                </c:pt>
                <c:pt idx="55">
                  <c:v>177.5</c:v>
                </c:pt>
                <c:pt idx="56">
                  <c:v>180</c:v>
                </c:pt>
                <c:pt idx="57">
                  <c:v>182.5</c:v>
                </c:pt>
                <c:pt idx="58">
                  <c:v>1000</c:v>
                </c:pt>
              </c:numCache>
            </c:numRef>
          </c:cat>
          <c:val>
            <c:numRef>
              <c:f>Sheet1!$B$39:$BH$39</c:f>
              <c:numCache>
                <c:formatCode>General</c:formatCode>
                <c:ptCount val="59"/>
                <c:pt idx="0">
                  <c:v>0.27991842561229391</c:v>
                </c:pt>
                <c:pt idx="1">
                  <c:v>0.27592002254701398</c:v>
                </c:pt>
                <c:pt idx="2">
                  <c:v>0.27219160029769712</c:v>
                </c:pt>
                <c:pt idx="3">
                  <c:v>0.26870331379727908</c:v>
                </c:pt>
                <c:pt idx="4">
                  <c:v>0.26542995876163672</c:v>
                </c:pt>
                <c:pt idx="5">
                  <c:v>0.26235005933385541</c:v>
                </c:pt>
                <c:pt idx="6">
                  <c:v>0.25944458124455932</c:v>
                </c:pt>
                <c:pt idx="7">
                  <c:v>0.25661779884177521</c:v>
                </c:pt>
                <c:pt idx="8">
                  <c:v>0.25380874374795881</c:v>
                </c:pt>
                <c:pt idx="9">
                  <c:v>0.25101690480361422</c:v>
                </c:pt>
                <c:pt idx="10">
                  <c:v>0.2482418332570393</c:v>
                </c:pt>
                <c:pt idx="11">
                  <c:v>0.24551791472843931</c:v>
                </c:pt>
                <c:pt idx="12">
                  <c:v>0.24286720658924521</c:v>
                </c:pt>
                <c:pt idx="13">
                  <c:v>0.2402846645352745</c:v>
                </c:pt>
                <c:pt idx="14">
                  <c:v>0.2377656272783055</c:v>
                </c:pt>
                <c:pt idx="15">
                  <c:v>0.235278563232758</c:v>
                </c:pt>
                <c:pt idx="16">
                  <c:v>0.23280071071574049</c:v>
                </c:pt>
                <c:pt idx="17">
                  <c:v>0.2303315023291545</c:v>
                </c:pt>
                <c:pt idx="18">
                  <c:v>0.22787051411066489</c:v>
                </c:pt>
                <c:pt idx="19">
                  <c:v>0.2254711493334397</c:v>
                </c:pt>
                <c:pt idx="20">
                  <c:v>0.22317222575859569</c:v>
                </c:pt>
                <c:pt idx="21">
                  <c:v>0.2209683130438119</c:v>
                </c:pt>
                <c:pt idx="22">
                  <c:v>0.2188102323545329</c:v>
                </c:pt>
                <c:pt idx="23">
                  <c:v>0.21665437196512929</c:v>
                </c:pt>
                <c:pt idx="24">
                  <c:v>0.21461696638595709</c:v>
                </c:pt>
                <c:pt idx="25">
                  <c:v>0.21280130798301219</c:v>
                </c:pt>
                <c:pt idx="26">
                  <c:v>0.21096260438403741</c:v>
                </c:pt>
                <c:pt idx="27">
                  <c:v>0.2088816665023123</c:v>
                </c:pt>
                <c:pt idx="28">
                  <c:v>0.20674143173801171</c:v>
                </c:pt>
                <c:pt idx="29">
                  <c:v>0.20470737084810939</c:v>
                </c:pt>
                <c:pt idx="30">
                  <c:v>0.2027751408754247</c:v>
                </c:pt>
                <c:pt idx="31">
                  <c:v>0.20089251731116081</c:v>
                </c:pt>
                <c:pt idx="32">
                  <c:v>0.1990172175480891</c:v>
                </c:pt>
                <c:pt idx="33">
                  <c:v>0.19714872383154389</c:v>
                </c:pt>
                <c:pt idx="34">
                  <c:v>0.19537570297888651</c:v>
                </c:pt>
                <c:pt idx="35">
                  <c:v>0.19377940823576451</c:v>
                </c:pt>
                <c:pt idx="36">
                  <c:v>0.19224511843592551</c:v>
                </c:pt>
                <c:pt idx="37">
                  <c:v>0.19066734410786701</c:v>
                </c:pt>
                <c:pt idx="38">
                  <c:v>0.18904737690538731</c:v>
                </c:pt>
                <c:pt idx="39">
                  <c:v>0.18744181091189899</c:v>
                </c:pt>
                <c:pt idx="40">
                  <c:v>0.1858976157375852</c:v>
                </c:pt>
                <c:pt idx="41">
                  <c:v>0.18441283618265489</c:v>
                </c:pt>
                <c:pt idx="42">
                  <c:v>0.18298563064533949</c:v>
                </c:pt>
                <c:pt idx="43">
                  <c:v>0.1816356186153395</c:v>
                </c:pt>
                <c:pt idx="44">
                  <c:v>0.18037899385933631</c:v>
                </c:pt>
                <c:pt idx="45">
                  <c:v>0.1792129491624723</c:v>
                </c:pt>
                <c:pt idx="46">
                  <c:v>0.17813473552901199</c:v>
                </c:pt>
                <c:pt idx="47">
                  <c:v>0.177137098301035</c:v>
                </c:pt>
                <c:pt idx="48">
                  <c:v>0.17621356720494619</c:v>
                </c:pt>
                <c:pt idx="49">
                  <c:v>0.1753618405435908</c:v>
                </c:pt>
                <c:pt idx="50">
                  <c:v>0.17457962927908419</c:v>
                </c:pt>
                <c:pt idx="51">
                  <c:v>0.17381714831472389</c:v>
                </c:pt>
                <c:pt idx="52">
                  <c:v>0.17303196434093551</c:v>
                </c:pt>
                <c:pt idx="53">
                  <c:v>0.1722247815906964</c:v>
                </c:pt>
                <c:pt idx="54">
                  <c:v>0.17139626885763551</c:v>
                </c:pt>
                <c:pt idx="55">
                  <c:v>0.1705685501930029</c:v>
                </c:pt>
                <c:pt idx="56">
                  <c:v>0.1697606633804141</c:v>
                </c:pt>
                <c:pt idx="57">
                  <c:v>0.1689720633996627</c:v>
                </c:pt>
                <c:pt idx="58">
                  <c:v>0.1621432295918064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5-E27E-4C0A-99B7-33696A982CB4}"/>
            </c:ext>
          </c:extLst>
        </c:ser>
        <c:ser>
          <c:idx val="38"/>
          <c:order val="38"/>
          <c:tx>
            <c:strRef>
              <c:f>Sheet1!$A$40</c:f>
              <c:strCache>
                <c:ptCount val="1"/>
                <c:pt idx="0">
                  <c:v>9</c:v>
                </c:pt>
              </c:strCache>
            </c:strRef>
          </c:tx>
          <c:spPr>
            <a:gradFill rotWithShape="1">
              <a:gsLst>
                <a:gs pos="0">
                  <a:schemeClr val="accent3">
                    <a:lumMod val="70000"/>
                    <a:lumOff val="30000"/>
                    <a:tint val="50000"/>
                    <a:satMod val="300000"/>
                  </a:schemeClr>
                </a:gs>
                <a:gs pos="35000">
                  <a:schemeClr val="accent3">
                    <a:lumMod val="70000"/>
                    <a:lumOff val="30000"/>
                    <a:tint val="37000"/>
                    <a:satMod val="300000"/>
                  </a:schemeClr>
                </a:gs>
                <a:gs pos="100000">
                  <a:schemeClr val="accent3">
                    <a:lumMod val="70000"/>
                    <a:lumOff val="30000"/>
                    <a:tint val="15000"/>
                    <a:satMod val="350000"/>
                  </a:schemeClr>
                </a:gs>
              </a:gsLst>
              <a:lin ang="16200000" scaled="1"/>
            </a:gradFill>
            <a:ln w="9525" cap="flat" cmpd="sng" algn="ctr">
              <a:solidFill>
                <a:schemeClr val="accent3">
                  <a:lumMod val="70000"/>
                  <a:lumOff val="30000"/>
                  <a:shade val="95000"/>
                </a:schemeClr>
              </a:solidFill>
              <a:round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  <a:sp3d contourW="9525">
              <a:contourClr>
                <a:schemeClr val="accent3">
                  <a:lumMod val="70000"/>
                  <a:lumOff val="30000"/>
                  <a:shade val="95000"/>
                </a:schemeClr>
              </a:contourClr>
            </a:sp3d>
          </c:spPr>
          <c:cat>
            <c:numRef>
              <c:f>Sheet1!$B$1:$BH$1</c:f>
              <c:numCache>
                <c:formatCode>General</c:formatCode>
                <c:ptCount val="59"/>
                <c:pt idx="0">
                  <c:v>40</c:v>
                </c:pt>
                <c:pt idx="1">
                  <c:v>42.5</c:v>
                </c:pt>
                <c:pt idx="2">
                  <c:v>45</c:v>
                </c:pt>
                <c:pt idx="3">
                  <c:v>47.5</c:v>
                </c:pt>
                <c:pt idx="4">
                  <c:v>50</c:v>
                </c:pt>
                <c:pt idx="5">
                  <c:v>52.5</c:v>
                </c:pt>
                <c:pt idx="6">
                  <c:v>55</c:v>
                </c:pt>
                <c:pt idx="7">
                  <c:v>57.5</c:v>
                </c:pt>
                <c:pt idx="8">
                  <c:v>60</c:v>
                </c:pt>
                <c:pt idx="9">
                  <c:v>62.5</c:v>
                </c:pt>
                <c:pt idx="10">
                  <c:v>65</c:v>
                </c:pt>
                <c:pt idx="11">
                  <c:v>67.5</c:v>
                </c:pt>
                <c:pt idx="12">
                  <c:v>70</c:v>
                </c:pt>
                <c:pt idx="13">
                  <c:v>72.5</c:v>
                </c:pt>
                <c:pt idx="14">
                  <c:v>75</c:v>
                </c:pt>
                <c:pt idx="15">
                  <c:v>77.5</c:v>
                </c:pt>
                <c:pt idx="16">
                  <c:v>80</c:v>
                </c:pt>
                <c:pt idx="17">
                  <c:v>82.5</c:v>
                </c:pt>
                <c:pt idx="18">
                  <c:v>85</c:v>
                </c:pt>
                <c:pt idx="19">
                  <c:v>87.5</c:v>
                </c:pt>
                <c:pt idx="20">
                  <c:v>90</c:v>
                </c:pt>
                <c:pt idx="21">
                  <c:v>92.5</c:v>
                </c:pt>
                <c:pt idx="22">
                  <c:v>95</c:v>
                </c:pt>
                <c:pt idx="23">
                  <c:v>97.5</c:v>
                </c:pt>
                <c:pt idx="24">
                  <c:v>100</c:v>
                </c:pt>
                <c:pt idx="25">
                  <c:v>102.5</c:v>
                </c:pt>
                <c:pt idx="26">
                  <c:v>105</c:v>
                </c:pt>
                <c:pt idx="27">
                  <c:v>107.5</c:v>
                </c:pt>
                <c:pt idx="28">
                  <c:v>110</c:v>
                </c:pt>
                <c:pt idx="29">
                  <c:v>112.5</c:v>
                </c:pt>
                <c:pt idx="30">
                  <c:v>115</c:v>
                </c:pt>
                <c:pt idx="31">
                  <c:v>117.5</c:v>
                </c:pt>
                <c:pt idx="32">
                  <c:v>120</c:v>
                </c:pt>
                <c:pt idx="33">
                  <c:v>122.5</c:v>
                </c:pt>
                <c:pt idx="34">
                  <c:v>125</c:v>
                </c:pt>
                <c:pt idx="35">
                  <c:v>127.5</c:v>
                </c:pt>
                <c:pt idx="36">
                  <c:v>130</c:v>
                </c:pt>
                <c:pt idx="37">
                  <c:v>132.5</c:v>
                </c:pt>
                <c:pt idx="38">
                  <c:v>135</c:v>
                </c:pt>
                <c:pt idx="39">
                  <c:v>137.5</c:v>
                </c:pt>
                <c:pt idx="40">
                  <c:v>140</c:v>
                </c:pt>
                <c:pt idx="41">
                  <c:v>142.5</c:v>
                </c:pt>
                <c:pt idx="42">
                  <c:v>145</c:v>
                </c:pt>
                <c:pt idx="43">
                  <c:v>147.5</c:v>
                </c:pt>
                <c:pt idx="44">
                  <c:v>150</c:v>
                </c:pt>
                <c:pt idx="45">
                  <c:v>152.5</c:v>
                </c:pt>
                <c:pt idx="46">
                  <c:v>155</c:v>
                </c:pt>
                <c:pt idx="47">
                  <c:v>157.5</c:v>
                </c:pt>
                <c:pt idx="48">
                  <c:v>160</c:v>
                </c:pt>
                <c:pt idx="49">
                  <c:v>162.5</c:v>
                </c:pt>
                <c:pt idx="50">
                  <c:v>165</c:v>
                </c:pt>
                <c:pt idx="51">
                  <c:v>167.5</c:v>
                </c:pt>
                <c:pt idx="52">
                  <c:v>170</c:v>
                </c:pt>
                <c:pt idx="53">
                  <c:v>172.5</c:v>
                </c:pt>
                <c:pt idx="54">
                  <c:v>175</c:v>
                </c:pt>
                <c:pt idx="55">
                  <c:v>177.5</c:v>
                </c:pt>
                <c:pt idx="56">
                  <c:v>180</c:v>
                </c:pt>
                <c:pt idx="57">
                  <c:v>182.5</c:v>
                </c:pt>
                <c:pt idx="58">
                  <c:v>1000</c:v>
                </c:pt>
              </c:numCache>
            </c:numRef>
          </c:cat>
          <c:val>
            <c:numRef>
              <c:f>Sheet1!$B$40:$BH$40</c:f>
              <c:numCache>
                <c:formatCode>General</c:formatCode>
                <c:ptCount val="59"/>
                <c:pt idx="0">
                  <c:v>0.2789026193998051</c:v>
                </c:pt>
                <c:pt idx="1">
                  <c:v>0.27503975393128188</c:v>
                </c:pt>
                <c:pt idx="2">
                  <c:v>0.27143171582458298</c:v>
                </c:pt>
                <c:pt idx="3">
                  <c:v>0.26805037523843828</c:v>
                </c:pt>
                <c:pt idx="4">
                  <c:v>0.26487197538140778</c:v>
                </c:pt>
                <c:pt idx="5">
                  <c:v>0.26187627300424648</c:v>
                </c:pt>
                <c:pt idx="6">
                  <c:v>0.25904530951357069</c:v>
                </c:pt>
                <c:pt idx="7">
                  <c:v>0.25628666919805548</c:v>
                </c:pt>
                <c:pt idx="8">
                  <c:v>0.25354165645667909</c:v>
                </c:pt>
                <c:pt idx="9">
                  <c:v>0.25081017645376402</c:v>
                </c:pt>
                <c:pt idx="10">
                  <c:v>0.24809215261087891</c:v>
                </c:pt>
                <c:pt idx="11">
                  <c:v>0.2454242910065331</c:v>
                </c:pt>
                <c:pt idx="12">
                  <c:v>0.2428302013901508</c:v>
                </c:pt>
                <c:pt idx="13">
                  <c:v>0.2403048058515497</c:v>
                </c:pt>
                <c:pt idx="14">
                  <c:v>0.23784339626843029</c:v>
                </c:pt>
                <c:pt idx="15">
                  <c:v>0.23540975367525219</c:v>
                </c:pt>
                <c:pt idx="16">
                  <c:v>0.2329778885782795</c:v>
                </c:pt>
                <c:pt idx="17">
                  <c:v>0.23054773581243951</c:v>
                </c:pt>
                <c:pt idx="18">
                  <c:v>0.22811933445336721</c:v>
                </c:pt>
                <c:pt idx="19">
                  <c:v>0.22575204917599631</c:v>
                </c:pt>
                <c:pt idx="20">
                  <c:v>0.2234890833775546</c:v>
                </c:pt>
                <c:pt idx="21">
                  <c:v>0.22132478667051311</c:v>
                </c:pt>
                <c:pt idx="22">
                  <c:v>0.21920769903106521</c:v>
                </c:pt>
                <c:pt idx="23">
                  <c:v>0.21709222351864069</c:v>
                </c:pt>
                <c:pt idx="24">
                  <c:v>0.21510214178568751</c:v>
                </c:pt>
                <c:pt idx="25">
                  <c:v>0.2133473373255188</c:v>
                </c:pt>
                <c:pt idx="26">
                  <c:v>0.21157164389002789</c:v>
                </c:pt>
                <c:pt idx="27">
                  <c:v>0.20954596999066871</c:v>
                </c:pt>
                <c:pt idx="28">
                  <c:v>0.2074448001466172</c:v>
                </c:pt>
                <c:pt idx="29">
                  <c:v>0.20542577250213589</c:v>
                </c:pt>
                <c:pt idx="30">
                  <c:v>0.20348548454110091</c:v>
                </c:pt>
                <c:pt idx="31">
                  <c:v>0.2016055950591312</c:v>
                </c:pt>
                <c:pt idx="32">
                  <c:v>0.19977101302514511</c:v>
                </c:pt>
                <c:pt idx="33">
                  <c:v>0.19797991019424119</c:v>
                </c:pt>
                <c:pt idx="34">
                  <c:v>0.19627368735884559</c:v>
                </c:pt>
                <c:pt idx="35">
                  <c:v>0.19469017956328649</c:v>
                </c:pt>
                <c:pt idx="36">
                  <c:v>0.1931500986925368</c:v>
                </c:pt>
                <c:pt idx="37">
                  <c:v>0.19158057026344141</c:v>
                </c:pt>
                <c:pt idx="38">
                  <c:v>0.18998244146639781</c:v>
                </c:pt>
                <c:pt idx="39">
                  <c:v>0.18840291736946399</c:v>
                </c:pt>
                <c:pt idx="40">
                  <c:v>0.18688112542742499</c:v>
                </c:pt>
                <c:pt idx="41">
                  <c:v>0.18541520392569491</c:v>
                </c:pt>
                <c:pt idx="42">
                  <c:v>0.18400340088723641</c:v>
                </c:pt>
                <c:pt idx="43">
                  <c:v>0.1826640059075138</c:v>
                </c:pt>
                <c:pt idx="44">
                  <c:v>0.18141210735568181</c:v>
                </c:pt>
                <c:pt idx="45">
                  <c:v>0.1802450575603127</c:v>
                </c:pt>
                <c:pt idx="46">
                  <c:v>0.17916027913571059</c:v>
                </c:pt>
                <c:pt idx="47">
                  <c:v>0.1781582712441572</c:v>
                </c:pt>
                <c:pt idx="48">
                  <c:v>0.17723911114365021</c:v>
                </c:pt>
                <c:pt idx="49">
                  <c:v>0.1764002147070424</c:v>
                </c:pt>
                <c:pt idx="50">
                  <c:v>0.175638998796291</c:v>
                </c:pt>
                <c:pt idx="51">
                  <c:v>0.1748961998644388</c:v>
                </c:pt>
                <c:pt idx="52">
                  <c:v>0.174121348757069</c:v>
                </c:pt>
                <c:pt idx="53">
                  <c:v>0.1733154448261239</c:v>
                </c:pt>
                <c:pt idx="54">
                  <c:v>0.1724794306490704</c:v>
                </c:pt>
                <c:pt idx="55">
                  <c:v>0.17164026556297241</c:v>
                </c:pt>
                <c:pt idx="56">
                  <c:v>0.1708211599934539</c:v>
                </c:pt>
                <c:pt idx="57">
                  <c:v>0.17002156354242631</c:v>
                </c:pt>
                <c:pt idx="58">
                  <c:v>0.1629598140730859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6-E27E-4C0A-99B7-33696A982CB4}"/>
            </c:ext>
          </c:extLst>
        </c:ser>
        <c:ser>
          <c:idx val="39"/>
          <c:order val="39"/>
          <c:tx>
            <c:strRef>
              <c:f>Sheet1!$A$41</c:f>
              <c:strCache>
                <c:ptCount val="1"/>
                <c:pt idx="0">
                  <c:v>9.25</c:v>
                </c:pt>
              </c:strCache>
            </c:strRef>
          </c:tx>
          <c:spPr>
            <a:gradFill rotWithShape="1">
              <a:gsLst>
                <a:gs pos="0">
                  <a:schemeClr val="accent4">
                    <a:lumMod val="70000"/>
                    <a:lumOff val="30000"/>
                    <a:tint val="50000"/>
                    <a:satMod val="300000"/>
                  </a:schemeClr>
                </a:gs>
                <a:gs pos="35000">
                  <a:schemeClr val="accent4">
                    <a:lumMod val="70000"/>
                    <a:lumOff val="30000"/>
                    <a:tint val="37000"/>
                    <a:satMod val="300000"/>
                  </a:schemeClr>
                </a:gs>
                <a:gs pos="100000">
                  <a:schemeClr val="accent4">
                    <a:lumMod val="70000"/>
                    <a:lumOff val="30000"/>
                    <a:tint val="15000"/>
                    <a:satMod val="350000"/>
                  </a:schemeClr>
                </a:gs>
              </a:gsLst>
              <a:lin ang="16200000" scaled="1"/>
            </a:gradFill>
            <a:ln w="9525" cap="flat" cmpd="sng" algn="ctr">
              <a:solidFill>
                <a:schemeClr val="accent4">
                  <a:lumMod val="70000"/>
                  <a:lumOff val="30000"/>
                  <a:shade val="95000"/>
                </a:schemeClr>
              </a:solidFill>
              <a:round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  <a:sp3d contourW="9525">
              <a:contourClr>
                <a:schemeClr val="accent4">
                  <a:lumMod val="70000"/>
                  <a:lumOff val="30000"/>
                  <a:shade val="95000"/>
                </a:schemeClr>
              </a:contourClr>
            </a:sp3d>
          </c:spPr>
          <c:cat>
            <c:numRef>
              <c:f>Sheet1!$B$1:$BH$1</c:f>
              <c:numCache>
                <c:formatCode>General</c:formatCode>
                <c:ptCount val="59"/>
                <c:pt idx="0">
                  <c:v>40</c:v>
                </c:pt>
                <c:pt idx="1">
                  <c:v>42.5</c:v>
                </c:pt>
                <c:pt idx="2">
                  <c:v>45</c:v>
                </c:pt>
                <c:pt idx="3">
                  <c:v>47.5</c:v>
                </c:pt>
                <c:pt idx="4">
                  <c:v>50</c:v>
                </c:pt>
                <c:pt idx="5">
                  <c:v>52.5</c:v>
                </c:pt>
                <c:pt idx="6">
                  <c:v>55</c:v>
                </c:pt>
                <c:pt idx="7">
                  <c:v>57.5</c:v>
                </c:pt>
                <c:pt idx="8">
                  <c:v>60</c:v>
                </c:pt>
                <c:pt idx="9">
                  <c:v>62.5</c:v>
                </c:pt>
                <c:pt idx="10">
                  <c:v>65</c:v>
                </c:pt>
                <c:pt idx="11">
                  <c:v>67.5</c:v>
                </c:pt>
                <c:pt idx="12">
                  <c:v>70</c:v>
                </c:pt>
                <c:pt idx="13">
                  <c:v>72.5</c:v>
                </c:pt>
                <c:pt idx="14">
                  <c:v>75</c:v>
                </c:pt>
                <c:pt idx="15">
                  <c:v>77.5</c:v>
                </c:pt>
                <c:pt idx="16">
                  <c:v>80</c:v>
                </c:pt>
                <c:pt idx="17">
                  <c:v>82.5</c:v>
                </c:pt>
                <c:pt idx="18">
                  <c:v>85</c:v>
                </c:pt>
                <c:pt idx="19">
                  <c:v>87.5</c:v>
                </c:pt>
                <c:pt idx="20">
                  <c:v>90</c:v>
                </c:pt>
                <c:pt idx="21">
                  <c:v>92.5</c:v>
                </c:pt>
                <c:pt idx="22">
                  <c:v>95</c:v>
                </c:pt>
                <c:pt idx="23">
                  <c:v>97.5</c:v>
                </c:pt>
                <c:pt idx="24">
                  <c:v>100</c:v>
                </c:pt>
                <c:pt idx="25">
                  <c:v>102.5</c:v>
                </c:pt>
                <c:pt idx="26">
                  <c:v>105</c:v>
                </c:pt>
                <c:pt idx="27">
                  <c:v>107.5</c:v>
                </c:pt>
                <c:pt idx="28">
                  <c:v>110</c:v>
                </c:pt>
                <c:pt idx="29">
                  <c:v>112.5</c:v>
                </c:pt>
                <c:pt idx="30">
                  <c:v>115</c:v>
                </c:pt>
                <c:pt idx="31">
                  <c:v>117.5</c:v>
                </c:pt>
                <c:pt idx="32">
                  <c:v>120</c:v>
                </c:pt>
                <c:pt idx="33">
                  <c:v>122.5</c:v>
                </c:pt>
                <c:pt idx="34">
                  <c:v>125</c:v>
                </c:pt>
                <c:pt idx="35">
                  <c:v>127.5</c:v>
                </c:pt>
                <c:pt idx="36">
                  <c:v>130</c:v>
                </c:pt>
                <c:pt idx="37">
                  <c:v>132.5</c:v>
                </c:pt>
                <c:pt idx="38">
                  <c:v>135</c:v>
                </c:pt>
                <c:pt idx="39">
                  <c:v>137.5</c:v>
                </c:pt>
                <c:pt idx="40">
                  <c:v>140</c:v>
                </c:pt>
                <c:pt idx="41">
                  <c:v>142.5</c:v>
                </c:pt>
                <c:pt idx="42">
                  <c:v>145</c:v>
                </c:pt>
                <c:pt idx="43">
                  <c:v>147.5</c:v>
                </c:pt>
                <c:pt idx="44">
                  <c:v>150</c:v>
                </c:pt>
                <c:pt idx="45">
                  <c:v>152.5</c:v>
                </c:pt>
                <c:pt idx="46">
                  <c:v>155</c:v>
                </c:pt>
                <c:pt idx="47">
                  <c:v>157.5</c:v>
                </c:pt>
                <c:pt idx="48">
                  <c:v>160</c:v>
                </c:pt>
                <c:pt idx="49">
                  <c:v>162.5</c:v>
                </c:pt>
                <c:pt idx="50">
                  <c:v>165</c:v>
                </c:pt>
                <c:pt idx="51">
                  <c:v>167.5</c:v>
                </c:pt>
                <c:pt idx="52">
                  <c:v>170</c:v>
                </c:pt>
                <c:pt idx="53">
                  <c:v>172.5</c:v>
                </c:pt>
                <c:pt idx="54">
                  <c:v>175</c:v>
                </c:pt>
                <c:pt idx="55">
                  <c:v>177.5</c:v>
                </c:pt>
                <c:pt idx="56">
                  <c:v>180</c:v>
                </c:pt>
                <c:pt idx="57">
                  <c:v>182.5</c:v>
                </c:pt>
                <c:pt idx="58">
                  <c:v>1000</c:v>
                </c:pt>
              </c:numCache>
            </c:numRef>
          </c:cat>
          <c:val>
            <c:numRef>
              <c:f>Sheet1!$B$41:$BH$41</c:f>
              <c:numCache>
                <c:formatCode>General</c:formatCode>
                <c:ptCount val="59"/>
                <c:pt idx="0">
                  <c:v>0.27793830468809122</c:v>
                </c:pt>
                <c:pt idx="1">
                  <c:v>0.27420446651909047</c:v>
                </c:pt>
                <c:pt idx="2">
                  <c:v>0.27071094303167281</c:v>
                </c:pt>
                <c:pt idx="3">
                  <c:v>0.2674312634251973</c:v>
                </c:pt>
                <c:pt idx="4">
                  <c:v>0.26434306923621298</c:v>
                </c:pt>
                <c:pt idx="5">
                  <c:v>0.26142730646732287</c:v>
                </c:pt>
                <c:pt idx="6">
                  <c:v>0.25866705280381941</c:v>
                </c:pt>
                <c:pt idx="7">
                  <c:v>0.25597304420676448</c:v>
                </c:pt>
                <c:pt idx="8">
                  <c:v>0.25328874710289268</c:v>
                </c:pt>
                <c:pt idx="9">
                  <c:v>0.25061446565946233</c:v>
                </c:pt>
                <c:pt idx="10">
                  <c:v>0.24795047964683981</c:v>
                </c:pt>
                <c:pt idx="11">
                  <c:v>0.2453356951428444</c:v>
                </c:pt>
                <c:pt idx="12">
                  <c:v>0.24279519128107099</c:v>
                </c:pt>
                <c:pt idx="13">
                  <c:v>0.24032385689440239</c:v>
                </c:pt>
                <c:pt idx="14">
                  <c:v>0.2379169381326578</c:v>
                </c:pt>
                <c:pt idx="15">
                  <c:v>0.23553378548846129</c:v>
                </c:pt>
                <c:pt idx="16">
                  <c:v>0.2331453653340072</c:v>
                </c:pt>
                <c:pt idx="17">
                  <c:v>0.2307520945043455</c:v>
                </c:pt>
                <c:pt idx="18">
                  <c:v>0.22835445551415459</c:v>
                </c:pt>
                <c:pt idx="19">
                  <c:v>0.22601744393063189</c:v>
                </c:pt>
                <c:pt idx="20">
                  <c:v>0.2237884006457192</c:v>
                </c:pt>
                <c:pt idx="21">
                  <c:v>0.2216614638204483</c:v>
                </c:pt>
                <c:pt idx="22">
                  <c:v>0.21958301885293369</c:v>
                </c:pt>
                <c:pt idx="23">
                  <c:v>0.2175055961800782</c:v>
                </c:pt>
                <c:pt idx="24">
                  <c:v>0.21556008642051869</c:v>
                </c:pt>
                <c:pt idx="25">
                  <c:v>0.21386256846112189</c:v>
                </c:pt>
                <c:pt idx="26">
                  <c:v>0.2121461531001628</c:v>
                </c:pt>
                <c:pt idx="27">
                  <c:v>0.2101724326693965</c:v>
                </c:pt>
                <c:pt idx="28">
                  <c:v>0.20810796066885459</c:v>
                </c:pt>
                <c:pt idx="29">
                  <c:v>0.20610303693154811</c:v>
                </c:pt>
                <c:pt idx="30">
                  <c:v>0.20415515646167889</c:v>
                </c:pt>
                <c:pt idx="31">
                  <c:v>0.20227781445409351</c:v>
                </c:pt>
                <c:pt idx="32">
                  <c:v>0.2004814542630122</c:v>
                </c:pt>
                <c:pt idx="33">
                  <c:v>0.1987629684854996</c:v>
                </c:pt>
                <c:pt idx="34">
                  <c:v>0.19711936698851351</c:v>
                </c:pt>
                <c:pt idx="35">
                  <c:v>0.19554781584028999</c:v>
                </c:pt>
                <c:pt idx="36">
                  <c:v>0.1940022757117803</c:v>
                </c:pt>
                <c:pt idx="37">
                  <c:v>0.192440444220595</c:v>
                </c:pt>
                <c:pt idx="38">
                  <c:v>0.19086274576675549</c:v>
                </c:pt>
                <c:pt idx="39">
                  <c:v>0.18930758118996219</c:v>
                </c:pt>
                <c:pt idx="40">
                  <c:v>0.18780673211038629</c:v>
                </c:pt>
                <c:pt idx="41">
                  <c:v>0.18635842751794271</c:v>
                </c:pt>
                <c:pt idx="42">
                  <c:v>0.1849610020947022</c:v>
                </c:pt>
                <c:pt idx="43">
                  <c:v>0.18363150407289899</c:v>
                </c:pt>
                <c:pt idx="44">
                  <c:v>0.1823839908334767</c:v>
                </c:pt>
                <c:pt idx="45">
                  <c:v>0.1812159660968535</c:v>
                </c:pt>
                <c:pt idx="46">
                  <c:v>0.1801250139876045</c:v>
                </c:pt>
                <c:pt idx="47">
                  <c:v>0.179118887463426</c:v>
                </c:pt>
                <c:pt idx="48">
                  <c:v>0.17820378837080469</c:v>
                </c:pt>
                <c:pt idx="49">
                  <c:v>0.1773768659118645</c:v>
                </c:pt>
                <c:pt idx="50">
                  <c:v>0.17663525749905201</c:v>
                </c:pt>
                <c:pt idx="51">
                  <c:v>0.17591083242280911</c:v>
                </c:pt>
                <c:pt idx="52">
                  <c:v>0.17514561129480349</c:v>
                </c:pt>
                <c:pt idx="53">
                  <c:v>0.17434087355579</c:v>
                </c:pt>
                <c:pt idx="54">
                  <c:v>0.17349781940718781</c:v>
                </c:pt>
                <c:pt idx="55">
                  <c:v>0.1726479274755256</c:v>
                </c:pt>
                <c:pt idx="56">
                  <c:v>0.17181830813714641</c:v>
                </c:pt>
                <c:pt idx="57">
                  <c:v>0.17100840596248609</c:v>
                </c:pt>
                <c:pt idx="58">
                  <c:v>0.163728510503339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7-E27E-4C0A-99B7-33696A982CB4}"/>
            </c:ext>
          </c:extLst>
        </c:ser>
        <c:ser>
          <c:idx val="40"/>
          <c:order val="40"/>
          <c:tx>
            <c:strRef>
              <c:f>Sheet1!$A$42</c:f>
              <c:strCache>
                <c:ptCount val="1"/>
                <c:pt idx="0">
                  <c:v>9.5</c:v>
                </c:pt>
              </c:strCache>
            </c:strRef>
          </c:tx>
          <c:spPr>
            <a:gradFill rotWithShape="1">
              <a:gsLst>
                <a:gs pos="0">
                  <a:schemeClr val="accent5">
                    <a:lumMod val="70000"/>
                    <a:lumOff val="30000"/>
                    <a:tint val="50000"/>
                    <a:satMod val="300000"/>
                  </a:schemeClr>
                </a:gs>
                <a:gs pos="35000">
                  <a:schemeClr val="accent5">
                    <a:lumMod val="70000"/>
                    <a:lumOff val="30000"/>
                    <a:tint val="37000"/>
                    <a:satMod val="300000"/>
                  </a:schemeClr>
                </a:gs>
                <a:gs pos="100000">
                  <a:schemeClr val="accent5">
                    <a:lumMod val="70000"/>
                    <a:lumOff val="30000"/>
                    <a:tint val="15000"/>
                    <a:satMod val="350000"/>
                  </a:schemeClr>
                </a:gs>
              </a:gsLst>
              <a:lin ang="16200000" scaled="1"/>
            </a:gradFill>
            <a:ln w="9525" cap="flat" cmpd="sng" algn="ctr">
              <a:solidFill>
                <a:schemeClr val="accent5">
                  <a:lumMod val="70000"/>
                  <a:lumOff val="30000"/>
                  <a:shade val="95000"/>
                </a:schemeClr>
              </a:solidFill>
              <a:round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  <a:sp3d contourW="9525">
              <a:contourClr>
                <a:schemeClr val="accent5">
                  <a:lumMod val="70000"/>
                  <a:lumOff val="30000"/>
                  <a:shade val="95000"/>
                </a:schemeClr>
              </a:contourClr>
            </a:sp3d>
          </c:spPr>
          <c:cat>
            <c:numRef>
              <c:f>Sheet1!$B$1:$BH$1</c:f>
              <c:numCache>
                <c:formatCode>General</c:formatCode>
                <c:ptCount val="59"/>
                <c:pt idx="0">
                  <c:v>40</c:v>
                </c:pt>
                <c:pt idx="1">
                  <c:v>42.5</c:v>
                </c:pt>
                <c:pt idx="2">
                  <c:v>45</c:v>
                </c:pt>
                <c:pt idx="3">
                  <c:v>47.5</c:v>
                </c:pt>
                <c:pt idx="4">
                  <c:v>50</c:v>
                </c:pt>
                <c:pt idx="5">
                  <c:v>52.5</c:v>
                </c:pt>
                <c:pt idx="6">
                  <c:v>55</c:v>
                </c:pt>
                <c:pt idx="7">
                  <c:v>57.5</c:v>
                </c:pt>
                <c:pt idx="8">
                  <c:v>60</c:v>
                </c:pt>
                <c:pt idx="9">
                  <c:v>62.5</c:v>
                </c:pt>
                <c:pt idx="10">
                  <c:v>65</c:v>
                </c:pt>
                <c:pt idx="11">
                  <c:v>67.5</c:v>
                </c:pt>
                <c:pt idx="12">
                  <c:v>70</c:v>
                </c:pt>
                <c:pt idx="13">
                  <c:v>72.5</c:v>
                </c:pt>
                <c:pt idx="14">
                  <c:v>75</c:v>
                </c:pt>
                <c:pt idx="15">
                  <c:v>77.5</c:v>
                </c:pt>
                <c:pt idx="16">
                  <c:v>80</c:v>
                </c:pt>
                <c:pt idx="17">
                  <c:v>82.5</c:v>
                </c:pt>
                <c:pt idx="18">
                  <c:v>85</c:v>
                </c:pt>
                <c:pt idx="19">
                  <c:v>87.5</c:v>
                </c:pt>
                <c:pt idx="20">
                  <c:v>90</c:v>
                </c:pt>
                <c:pt idx="21">
                  <c:v>92.5</c:v>
                </c:pt>
                <c:pt idx="22">
                  <c:v>95</c:v>
                </c:pt>
                <c:pt idx="23">
                  <c:v>97.5</c:v>
                </c:pt>
                <c:pt idx="24">
                  <c:v>100</c:v>
                </c:pt>
                <c:pt idx="25">
                  <c:v>102.5</c:v>
                </c:pt>
                <c:pt idx="26">
                  <c:v>105</c:v>
                </c:pt>
                <c:pt idx="27">
                  <c:v>107.5</c:v>
                </c:pt>
                <c:pt idx="28">
                  <c:v>110</c:v>
                </c:pt>
                <c:pt idx="29">
                  <c:v>112.5</c:v>
                </c:pt>
                <c:pt idx="30">
                  <c:v>115</c:v>
                </c:pt>
                <c:pt idx="31">
                  <c:v>117.5</c:v>
                </c:pt>
                <c:pt idx="32">
                  <c:v>120</c:v>
                </c:pt>
                <c:pt idx="33">
                  <c:v>122.5</c:v>
                </c:pt>
                <c:pt idx="34">
                  <c:v>125</c:v>
                </c:pt>
                <c:pt idx="35">
                  <c:v>127.5</c:v>
                </c:pt>
                <c:pt idx="36">
                  <c:v>130</c:v>
                </c:pt>
                <c:pt idx="37">
                  <c:v>132.5</c:v>
                </c:pt>
                <c:pt idx="38">
                  <c:v>135</c:v>
                </c:pt>
                <c:pt idx="39">
                  <c:v>137.5</c:v>
                </c:pt>
                <c:pt idx="40">
                  <c:v>140</c:v>
                </c:pt>
                <c:pt idx="41">
                  <c:v>142.5</c:v>
                </c:pt>
                <c:pt idx="42">
                  <c:v>145</c:v>
                </c:pt>
                <c:pt idx="43">
                  <c:v>147.5</c:v>
                </c:pt>
                <c:pt idx="44">
                  <c:v>150</c:v>
                </c:pt>
                <c:pt idx="45">
                  <c:v>152.5</c:v>
                </c:pt>
                <c:pt idx="46">
                  <c:v>155</c:v>
                </c:pt>
                <c:pt idx="47">
                  <c:v>157.5</c:v>
                </c:pt>
                <c:pt idx="48">
                  <c:v>160</c:v>
                </c:pt>
                <c:pt idx="49">
                  <c:v>162.5</c:v>
                </c:pt>
                <c:pt idx="50">
                  <c:v>165</c:v>
                </c:pt>
                <c:pt idx="51">
                  <c:v>167.5</c:v>
                </c:pt>
                <c:pt idx="52">
                  <c:v>170</c:v>
                </c:pt>
                <c:pt idx="53">
                  <c:v>172.5</c:v>
                </c:pt>
                <c:pt idx="54">
                  <c:v>175</c:v>
                </c:pt>
                <c:pt idx="55">
                  <c:v>177.5</c:v>
                </c:pt>
                <c:pt idx="56">
                  <c:v>180</c:v>
                </c:pt>
                <c:pt idx="57">
                  <c:v>182.5</c:v>
                </c:pt>
                <c:pt idx="58">
                  <c:v>1000</c:v>
                </c:pt>
              </c:numCache>
            </c:numRef>
          </c:cat>
          <c:val>
            <c:numRef>
              <c:f>Sheet1!$B$42:$BH$42</c:f>
              <c:numCache>
                <c:formatCode>General</c:formatCode>
                <c:ptCount val="59"/>
                <c:pt idx="0">
                  <c:v>0.27702164697210668</c:v>
                </c:pt>
                <c:pt idx="1">
                  <c:v>0.27341078768395582</c:v>
                </c:pt>
                <c:pt idx="2">
                  <c:v>0.2700263309435641</c:v>
                </c:pt>
                <c:pt idx="3">
                  <c:v>0.26684341143882417</c:v>
                </c:pt>
                <c:pt idx="4">
                  <c:v>0.26384102222890771</c:v>
                </c:pt>
                <c:pt idx="5">
                  <c:v>0.26100125735161961</c:v>
                </c:pt>
                <c:pt idx="6">
                  <c:v>0.25830819339983502</c:v>
                </c:pt>
                <c:pt idx="7">
                  <c:v>0.25567557092434329</c:v>
                </c:pt>
                <c:pt idx="8">
                  <c:v>0.25304891560338427</c:v>
                </c:pt>
                <c:pt idx="9">
                  <c:v>0.25042891434790648</c:v>
                </c:pt>
                <c:pt idx="10">
                  <c:v>0.2478161884441592</c:v>
                </c:pt>
                <c:pt idx="11">
                  <c:v>0.24525173269693931</c:v>
                </c:pt>
                <c:pt idx="12">
                  <c:v>0.24276201915191459</c:v>
                </c:pt>
                <c:pt idx="13">
                  <c:v>0.2403419038578086</c:v>
                </c:pt>
                <c:pt idx="14">
                  <c:v>0.23798658840943471</c:v>
                </c:pt>
                <c:pt idx="15">
                  <c:v>0.23565122909251371</c:v>
                </c:pt>
                <c:pt idx="16">
                  <c:v>0.2333039166255767</c:v>
                </c:pt>
                <c:pt idx="17">
                  <c:v>0.23094553066890541</c:v>
                </c:pt>
                <c:pt idx="18">
                  <c:v>0.22857697868852259</c:v>
                </c:pt>
                <c:pt idx="19">
                  <c:v>0.22626858339799091</c:v>
                </c:pt>
                <c:pt idx="20">
                  <c:v>0.22407159555434619</c:v>
                </c:pt>
                <c:pt idx="21">
                  <c:v>0.22197995008871951</c:v>
                </c:pt>
                <c:pt idx="22">
                  <c:v>0.2199379942017291</c:v>
                </c:pt>
                <c:pt idx="23">
                  <c:v>0.21789648900051531</c:v>
                </c:pt>
                <c:pt idx="24">
                  <c:v>0.21599303308912721</c:v>
                </c:pt>
                <c:pt idx="25">
                  <c:v>0.21434953977031379</c:v>
                </c:pt>
                <c:pt idx="26">
                  <c:v>0.21268899350588699</c:v>
                </c:pt>
                <c:pt idx="27">
                  <c:v>0.2107642060013761</c:v>
                </c:pt>
                <c:pt idx="28">
                  <c:v>0.20873427453243709</c:v>
                </c:pt>
                <c:pt idx="29">
                  <c:v>0.20674260931909291</c:v>
                </c:pt>
                <c:pt idx="30">
                  <c:v>0.2047875624725273</c:v>
                </c:pt>
                <c:pt idx="31">
                  <c:v>0.20291259965644251</c:v>
                </c:pt>
                <c:pt idx="32">
                  <c:v>0.2011521893093027</c:v>
                </c:pt>
                <c:pt idx="33">
                  <c:v>0.19950197803977149</c:v>
                </c:pt>
                <c:pt idx="34">
                  <c:v>0.19791720396250129</c:v>
                </c:pt>
                <c:pt idx="35">
                  <c:v>0.1963568580049129</c:v>
                </c:pt>
                <c:pt idx="36">
                  <c:v>0.19480616264177711</c:v>
                </c:pt>
                <c:pt idx="37">
                  <c:v>0.19325153242572921</c:v>
                </c:pt>
                <c:pt idx="38">
                  <c:v>0.19169298926319561</c:v>
                </c:pt>
                <c:pt idx="39">
                  <c:v>0.190160661163954</c:v>
                </c:pt>
                <c:pt idx="40">
                  <c:v>0.18867943413198729</c:v>
                </c:pt>
                <c:pt idx="41">
                  <c:v>0.18724762503096559</c:v>
                </c:pt>
                <c:pt idx="42">
                  <c:v>0.18586365224089829</c:v>
                </c:pt>
                <c:pt idx="43">
                  <c:v>0.18454340249490531</c:v>
                </c:pt>
                <c:pt idx="44">
                  <c:v>0.18329996922540609</c:v>
                </c:pt>
                <c:pt idx="45">
                  <c:v>0.18213099994564691</c:v>
                </c:pt>
                <c:pt idx="46">
                  <c:v>0.18103423104769031</c:v>
                </c:pt>
                <c:pt idx="47">
                  <c:v>0.1800242166865178</c:v>
                </c:pt>
                <c:pt idx="48">
                  <c:v>0.17911290054295539</c:v>
                </c:pt>
                <c:pt idx="49">
                  <c:v>0.17829717966746059</c:v>
                </c:pt>
                <c:pt idx="50">
                  <c:v>0.17757392573651121</c:v>
                </c:pt>
                <c:pt idx="51">
                  <c:v>0.17686669416168491</c:v>
                </c:pt>
                <c:pt idx="52">
                  <c:v>0.17611047027842461</c:v>
                </c:pt>
                <c:pt idx="53">
                  <c:v>0.17530679958534359</c:v>
                </c:pt>
                <c:pt idx="54">
                  <c:v>0.17445712512011349</c:v>
                </c:pt>
                <c:pt idx="55">
                  <c:v>0.17359715922874161</c:v>
                </c:pt>
                <c:pt idx="56">
                  <c:v>0.17275766580355389</c:v>
                </c:pt>
                <c:pt idx="57">
                  <c:v>0.1719380846967154</c:v>
                </c:pt>
                <c:pt idx="58">
                  <c:v>0.164453434868599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8-E27E-4C0A-99B7-33696A982CB4}"/>
            </c:ext>
          </c:extLst>
        </c:ser>
        <c:ser>
          <c:idx val="41"/>
          <c:order val="41"/>
          <c:tx>
            <c:strRef>
              <c:f>Sheet1!$A$43</c:f>
              <c:strCache>
                <c:ptCount val="1"/>
                <c:pt idx="0">
                  <c:v>9.75</c:v>
                </c:pt>
              </c:strCache>
            </c:strRef>
          </c:tx>
          <c:spPr>
            <a:gradFill rotWithShape="1">
              <a:gsLst>
                <a:gs pos="0">
                  <a:schemeClr val="accent6">
                    <a:lumMod val="70000"/>
                    <a:lumOff val="30000"/>
                    <a:tint val="50000"/>
                    <a:satMod val="300000"/>
                  </a:schemeClr>
                </a:gs>
                <a:gs pos="35000">
                  <a:schemeClr val="accent6">
                    <a:lumMod val="70000"/>
                    <a:lumOff val="30000"/>
                    <a:tint val="37000"/>
                    <a:satMod val="300000"/>
                  </a:schemeClr>
                </a:gs>
                <a:gs pos="100000">
                  <a:schemeClr val="accent6">
                    <a:lumMod val="70000"/>
                    <a:lumOff val="30000"/>
                    <a:tint val="15000"/>
                    <a:satMod val="350000"/>
                  </a:schemeClr>
                </a:gs>
              </a:gsLst>
              <a:lin ang="16200000" scaled="1"/>
            </a:gradFill>
            <a:ln w="9525" cap="flat" cmpd="sng" algn="ctr">
              <a:solidFill>
                <a:schemeClr val="accent6">
                  <a:lumMod val="70000"/>
                  <a:lumOff val="30000"/>
                  <a:shade val="95000"/>
                </a:schemeClr>
              </a:solidFill>
              <a:round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  <a:sp3d contourW="9525">
              <a:contourClr>
                <a:schemeClr val="accent6">
                  <a:lumMod val="70000"/>
                  <a:lumOff val="30000"/>
                  <a:shade val="95000"/>
                </a:schemeClr>
              </a:contourClr>
            </a:sp3d>
          </c:spPr>
          <c:cat>
            <c:numRef>
              <c:f>Sheet1!$B$1:$BH$1</c:f>
              <c:numCache>
                <c:formatCode>General</c:formatCode>
                <c:ptCount val="59"/>
                <c:pt idx="0">
                  <c:v>40</c:v>
                </c:pt>
                <c:pt idx="1">
                  <c:v>42.5</c:v>
                </c:pt>
                <c:pt idx="2">
                  <c:v>45</c:v>
                </c:pt>
                <c:pt idx="3">
                  <c:v>47.5</c:v>
                </c:pt>
                <c:pt idx="4">
                  <c:v>50</c:v>
                </c:pt>
                <c:pt idx="5">
                  <c:v>52.5</c:v>
                </c:pt>
                <c:pt idx="6">
                  <c:v>55</c:v>
                </c:pt>
                <c:pt idx="7">
                  <c:v>57.5</c:v>
                </c:pt>
                <c:pt idx="8">
                  <c:v>60</c:v>
                </c:pt>
                <c:pt idx="9">
                  <c:v>62.5</c:v>
                </c:pt>
                <c:pt idx="10">
                  <c:v>65</c:v>
                </c:pt>
                <c:pt idx="11">
                  <c:v>67.5</c:v>
                </c:pt>
                <c:pt idx="12">
                  <c:v>70</c:v>
                </c:pt>
                <c:pt idx="13">
                  <c:v>72.5</c:v>
                </c:pt>
                <c:pt idx="14">
                  <c:v>75</c:v>
                </c:pt>
                <c:pt idx="15">
                  <c:v>77.5</c:v>
                </c:pt>
                <c:pt idx="16">
                  <c:v>80</c:v>
                </c:pt>
                <c:pt idx="17">
                  <c:v>82.5</c:v>
                </c:pt>
                <c:pt idx="18">
                  <c:v>85</c:v>
                </c:pt>
                <c:pt idx="19">
                  <c:v>87.5</c:v>
                </c:pt>
                <c:pt idx="20">
                  <c:v>90</c:v>
                </c:pt>
                <c:pt idx="21">
                  <c:v>92.5</c:v>
                </c:pt>
                <c:pt idx="22">
                  <c:v>95</c:v>
                </c:pt>
                <c:pt idx="23">
                  <c:v>97.5</c:v>
                </c:pt>
                <c:pt idx="24">
                  <c:v>100</c:v>
                </c:pt>
                <c:pt idx="25">
                  <c:v>102.5</c:v>
                </c:pt>
                <c:pt idx="26">
                  <c:v>105</c:v>
                </c:pt>
                <c:pt idx="27">
                  <c:v>107.5</c:v>
                </c:pt>
                <c:pt idx="28">
                  <c:v>110</c:v>
                </c:pt>
                <c:pt idx="29">
                  <c:v>112.5</c:v>
                </c:pt>
                <c:pt idx="30">
                  <c:v>115</c:v>
                </c:pt>
                <c:pt idx="31">
                  <c:v>117.5</c:v>
                </c:pt>
                <c:pt idx="32">
                  <c:v>120</c:v>
                </c:pt>
                <c:pt idx="33">
                  <c:v>122.5</c:v>
                </c:pt>
                <c:pt idx="34">
                  <c:v>125</c:v>
                </c:pt>
                <c:pt idx="35">
                  <c:v>127.5</c:v>
                </c:pt>
                <c:pt idx="36">
                  <c:v>130</c:v>
                </c:pt>
                <c:pt idx="37">
                  <c:v>132.5</c:v>
                </c:pt>
                <c:pt idx="38">
                  <c:v>135</c:v>
                </c:pt>
                <c:pt idx="39">
                  <c:v>137.5</c:v>
                </c:pt>
                <c:pt idx="40">
                  <c:v>140</c:v>
                </c:pt>
                <c:pt idx="41">
                  <c:v>142.5</c:v>
                </c:pt>
                <c:pt idx="42">
                  <c:v>145</c:v>
                </c:pt>
                <c:pt idx="43">
                  <c:v>147.5</c:v>
                </c:pt>
                <c:pt idx="44">
                  <c:v>150</c:v>
                </c:pt>
                <c:pt idx="45">
                  <c:v>152.5</c:v>
                </c:pt>
                <c:pt idx="46">
                  <c:v>155</c:v>
                </c:pt>
                <c:pt idx="47">
                  <c:v>157.5</c:v>
                </c:pt>
                <c:pt idx="48">
                  <c:v>160</c:v>
                </c:pt>
                <c:pt idx="49">
                  <c:v>162.5</c:v>
                </c:pt>
                <c:pt idx="50">
                  <c:v>165</c:v>
                </c:pt>
                <c:pt idx="51">
                  <c:v>167.5</c:v>
                </c:pt>
                <c:pt idx="52">
                  <c:v>170</c:v>
                </c:pt>
                <c:pt idx="53">
                  <c:v>172.5</c:v>
                </c:pt>
                <c:pt idx="54">
                  <c:v>175</c:v>
                </c:pt>
                <c:pt idx="55">
                  <c:v>177.5</c:v>
                </c:pt>
                <c:pt idx="56">
                  <c:v>180</c:v>
                </c:pt>
                <c:pt idx="57">
                  <c:v>182.5</c:v>
                </c:pt>
                <c:pt idx="58">
                  <c:v>1000</c:v>
                </c:pt>
              </c:numCache>
            </c:numRef>
          </c:cat>
          <c:val>
            <c:numRef>
              <c:f>Sheet1!$B$43:$BH$43</c:f>
              <c:numCache>
                <c:formatCode>General</c:formatCode>
                <c:ptCount val="59"/>
                <c:pt idx="0">
                  <c:v>0.27614918463691063</c:v>
                </c:pt>
                <c:pt idx="1">
                  <c:v>0.27265567468057877</c:v>
                </c:pt>
                <c:pt idx="2">
                  <c:v>0.26937521879643561</c:v>
                </c:pt>
                <c:pt idx="3">
                  <c:v>0.26628450608398258</c:v>
                </c:pt>
                <c:pt idx="4">
                  <c:v>0.26336383653832468</c:v>
                </c:pt>
                <c:pt idx="5">
                  <c:v>0.26059641302623682</c:v>
                </c:pt>
                <c:pt idx="6">
                  <c:v>0.25796727557614962</c:v>
                </c:pt>
                <c:pt idx="7">
                  <c:v>0.25539303239253208</c:v>
                </c:pt>
                <c:pt idx="8">
                  <c:v>0.25282117284755079</c:v>
                </c:pt>
                <c:pt idx="9">
                  <c:v>0.2502527513122163</c:v>
                </c:pt>
                <c:pt idx="10">
                  <c:v>0.24768871666518971</c:v>
                </c:pt>
                <c:pt idx="11">
                  <c:v>0.2451720494374719</c:v>
                </c:pt>
                <c:pt idx="12">
                  <c:v>0.242730543966966</c:v>
                </c:pt>
                <c:pt idx="13">
                  <c:v>0.24035902408333629</c:v>
                </c:pt>
                <c:pt idx="14">
                  <c:v>0.23805264803940759</c:v>
                </c:pt>
                <c:pt idx="15">
                  <c:v>0.2357625958672406</c:v>
                </c:pt>
                <c:pt idx="16">
                  <c:v>0.23345423754255559</c:v>
                </c:pt>
                <c:pt idx="17">
                  <c:v>0.2311288973800367</c:v>
                </c:pt>
                <c:pt idx="18">
                  <c:v>0.22878789035201111</c:v>
                </c:pt>
                <c:pt idx="19">
                  <c:v>0.22650658652042799</c:v>
                </c:pt>
                <c:pt idx="20">
                  <c:v>0.22433993718625081</c:v>
                </c:pt>
                <c:pt idx="21">
                  <c:v>0.22228168190175149</c:v>
                </c:pt>
                <c:pt idx="22">
                  <c:v>0.22027423689035239</c:v>
                </c:pt>
                <c:pt idx="23">
                  <c:v>0.21826668891742321</c:v>
                </c:pt>
                <c:pt idx="24">
                  <c:v>0.21640297668097669</c:v>
                </c:pt>
                <c:pt idx="25">
                  <c:v>0.2148105177076603</c:v>
                </c:pt>
                <c:pt idx="26">
                  <c:v>0.21320271830826329</c:v>
                </c:pt>
                <c:pt idx="27">
                  <c:v>0.21132410013284519</c:v>
                </c:pt>
                <c:pt idx="28">
                  <c:v>0.20932673747404371</c:v>
                </c:pt>
                <c:pt idx="29">
                  <c:v>0.20734755950126141</c:v>
                </c:pt>
                <c:pt idx="30">
                  <c:v>0.20538573739182461</c:v>
                </c:pt>
                <c:pt idx="31">
                  <c:v>0.20351300149971521</c:v>
                </c:pt>
                <c:pt idx="32">
                  <c:v>0.20178646675365849</c:v>
                </c:pt>
                <c:pt idx="33">
                  <c:v>0.20020056799864269</c:v>
                </c:pt>
                <c:pt idx="34">
                  <c:v>0.19867116448383609</c:v>
                </c:pt>
                <c:pt idx="35">
                  <c:v>0.19712134137190351</c:v>
                </c:pt>
                <c:pt idx="36">
                  <c:v>0.19556577003293171</c:v>
                </c:pt>
                <c:pt idx="37">
                  <c:v>0.1940178920175559</c:v>
                </c:pt>
                <c:pt idx="38">
                  <c:v>0.19247734574536149</c:v>
                </c:pt>
                <c:pt idx="39">
                  <c:v>0.19096647075659451</c:v>
                </c:pt>
                <c:pt idx="40">
                  <c:v>0.18950366714065819</c:v>
                </c:pt>
                <c:pt idx="41">
                  <c:v>0.1880873367990688</c:v>
                </c:pt>
                <c:pt idx="42">
                  <c:v>0.18671597888726241</c:v>
                </c:pt>
                <c:pt idx="43">
                  <c:v>0.18540439094428041</c:v>
                </c:pt>
                <c:pt idx="44">
                  <c:v>0.18416476307733151</c:v>
                </c:pt>
                <c:pt idx="45">
                  <c:v>0.18299487950660939</c:v>
                </c:pt>
                <c:pt idx="46">
                  <c:v>0.18189262041309029</c:v>
                </c:pt>
                <c:pt idx="47">
                  <c:v>0.18087893009967751</c:v>
                </c:pt>
                <c:pt idx="48">
                  <c:v>0.1799711465257598</c:v>
                </c:pt>
                <c:pt idx="49">
                  <c:v>0.17916592798896261</c:v>
                </c:pt>
                <c:pt idx="50">
                  <c:v>0.178459893261777</c:v>
                </c:pt>
                <c:pt idx="51">
                  <c:v>0.17776878635070781</c:v>
                </c:pt>
                <c:pt idx="52">
                  <c:v>0.17702098800689489</c:v>
                </c:pt>
                <c:pt idx="53">
                  <c:v>0.1762182966892086</c:v>
                </c:pt>
                <c:pt idx="54">
                  <c:v>0.17536238470799201</c:v>
                </c:pt>
                <c:pt idx="55">
                  <c:v>0.17449293915146649</c:v>
                </c:pt>
                <c:pt idx="56">
                  <c:v>0.17364415394152871</c:v>
                </c:pt>
                <c:pt idx="57">
                  <c:v>0.17281546449628221</c:v>
                </c:pt>
                <c:pt idx="58">
                  <c:v>0.165138241982314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9-E27E-4C0A-99B7-33696A982CB4}"/>
            </c:ext>
          </c:extLst>
        </c:ser>
        <c:ser>
          <c:idx val="42"/>
          <c:order val="42"/>
          <c:tx>
            <c:strRef>
              <c:f>Sheet1!$A$44</c:f>
              <c:strCache>
                <c:ptCount val="1"/>
                <c:pt idx="0">
                  <c:v>10.00547945</c:v>
                </c:pt>
              </c:strCache>
            </c:strRef>
          </c:tx>
          <c:spPr>
            <a:gradFill rotWithShape="1">
              <a:gsLst>
                <a:gs pos="0">
                  <a:schemeClr val="accent1">
                    <a:lumMod val="70000"/>
                    <a:tint val="50000"/>
                    <a:satMod val="300000"/>
                  </a:schemeClr>
                </a:gs>
                <a:gs pos="35000">
                  <a:schemeClr val="accent1">
                    <a:lumMod val="70000"/>
                    <a:tint val="37000"/>
                    <a:satMod val="300000"/>
                  </a:schemeClr>
                </a:gs>
                <a:gs pos="100000">
                  <a:schemeClr val="accent1">
                    <a:lumMod val="70000"/>
                    <a:tint val="15000"/>
                    <a:satMod val="350000"/>
                  </a:schemeClr>
                </a:gs>
              </a:gsLst>
              <a:lin ang="16200000" scaled="1"/>
            </a:gradFill>
            <a:ln w="9525" cap="flat" cmpd="sng" algn="ctr">
              <a:solidFill>
                <a:schemeClr val="accent1">
                  <a:lumMod val="70000"/>
                  <a:shade val="95000"/>
                </a:schemeClr>
              </a:solidFill>
              <a:round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  <a:sp3d contourW="9525">
              <a:contourClr>
                <a:schemeClr val="accent1">
                  <a:lumMod val="70000"/>
                  <a:shade val="95000"/>
                </a:schemeClr>
              </a:contourClr>
            </a:sp3d>
          </c:spPr>
          <c:cat>
            <c:numRef>
              <c:f>Sheet1!$B$1:$BH$1</c:f>
              <c:numCache>
                <c:formatCode>General</c:formatCode>
                <c:ptCount val="59"/>
                <c:pt idx="0">
                  <c:v>40</c:v>
                </c:pt>
                <c:pt idx="1">
                  <c:v>42.5</c:v>
                </c:pt>
                <c:pt idx="2">
                  <c:v>45</c:v>
                </c:pt>
                <c:pt idx="3">
                  <c:v>47.5</c:v>
                </c:pt>
                <c:pt idx="4">
                  <c:v>50</c:v>
                </c:pt>
                <c:pt idx="5">
                  <c:v>52.5</c:v>
                </c:pt>
                <c:pt idx="6">
                  <c:v>55</c:v>
                </c:pt>
                <c:pt idx="7">
                  <c:v>57.5</c:v>
                </c:pt>
                <c:pt idx="8">
                  <c:v>60</c:v>
                </c:pt>
                <c:pt idx="9">
                  <c:v>62.5</c:v>
                </c:pt>
                <c:pt idx="10">
                  <c:v>65</c:v>
                </c:pt>
                <c:pt idx="11">
                  <c:v>67.5</c:v>
                </c:pt>
                <c:pt idx="12">
                  <c:v>70</c:v>
                </c:pt>
                <c:pt idx="13">
                  <c:v>72.5</c:v>
                </c:pt>
                <c:pt idx="14">
                  <c:v>75</c:v>
                </c:pt>
                <c:pt idx="15">
                  <c:v>77.5</c:v>
                </c:pt>
                <c:pt idx="16">
                  <c:v>80</c:v>
                </c:pt>
                <c:pt idx="17">
                  <c:v>82.5</c:v>
                </c:pt>
                <c:pt idx="18">
                  <c:v>85</c:v>
                </c:pt>
                <c:pt idx="19">
                  <c:v>87.5</c:v>
                </c:pt>
                <c:pt idx="20">
                  <c:v>90</c:v>
                </c:pt>
                <c:pt idx="21">
                  <c:v>92.5</c:v>
                </c:pt>
                <c:pt idx="22">
                  <c:v>95</c:v>
                </c:pt>
                <c:pt idx="23">
                  <c:v>97.5</c:v>
                </c:pt>
                <c:pt idx="24">
                  <c:v>100</c:v>
                </c:pt>
                <c:pt idx="25">
                  <c:v>102.5</c:v>
                </c:pt>
                <c:pt idx="26">
                  <c:v>105</c:v>
                </c:pt>
                <c:pt idx="27">
                  <c:v>107.5</c:v>
                </c:pt>
                <c:pt idx="28">
                  <c:v>110</c:v>
                </c:pt>
                <c:pt idx="29">
                  <c:v>112.5</c:v>
                </c:pt>
                <c:pt idx="30">
                  <c:v>115</c:v>
                </c:pt>
                <c:pt idx="31">
                  <c:v>117.5</c:v>
                </c:pt>
                <c:pt idx="32">
                  <c:v>120</c:v>
                </c:pt>
                <c:pt idx="33">
                  <c:v>122.5</c:v>
                </c:pt>
                <c:pt idx="34">
                  <c:v>125</c:v>
                </c:pt>
                <c:pt idx="35">
                  <c:v>127.5</c:v>
                </c:pt>
                <c:pt idx="36">
                  <c:v>130</c:v>
                </c:pt>
                <c:pt idx="37">
                  <c:v>132.5</c:v>
                </c:pt>
                <c:pt idx="38">
                  <c:v>135</c:v>
                </c:pt>
                <c:pt idx="39">
                  <c:v>137.5</c:v>
                </c:pt>
                <c:pt idx="40">
                  <c:v>140</c:v>
                </c:pt>
                <c:pt idx="41">
                  <c:v>142.5</c:v>
                </c:pt>
                <c:pt idx="42">
                  <c:v>145</c:v>
                </c:pt>
                <c:pt idx="43">
                  <c:v>147.5</c:v>
                </c:pt>
                <c:pt idx="44">
                  <c:v>150</c:v>
                </c:pt>
                <c:pt idx="45">
                  <c:v>152.5</c:v>
                </c:pt>
                <c:pt idx="46">
                  <c:v>155</c:v>
                </c:pt>
                <c:pt idx="47">
                  <c:v>157.5</c:v>
                </c:pt>
                <c:pt idx="48">
                  <c:v>160</c:v>
                </c:pt>
                <c:pt idx="49">
                  <c:v>162.5</c:v>
                </c:pt>
                <c:pt idx="50">
                  <c:v>165</c:v>
                </c:pt>
                <c:pt idx="51">
                  <c:v>167.5</c:v>
                </c:pt>
                <c:pt idx="52">
                  <c:v>170</c:v>
                </c:pt>
                <c:pt idx="53">
                  <c:v>172.5</c:v>
                </c:pt>
                <c:pt idx="54">
                  <c:v>175</c:v>
                </c:pt>
                <c:pt idx="55">
                  <c:v>177.5</c:v>
                </c:pt>
                <c:pt idx="56">
                  <c:v>180</c:v>
                </c:pt>
                <c:pt idx="57">
                  <c:v>182.5</c:v>
                </c:pt>
                <c:pt idx="58">
                  <c:v>1000</c:v>
                </c:pt>
              </c:numCache>
            </c:numRef>
          </c:cat>
          <c:val>
            <c:numRef>
              <c:f>Sheet1!$B$44:$BH$44</c:f>
              <c:numCache>
                <c:formatCode>General</c:formatCode>
                <c:ptCount val="59"/>
                <c:pt idx="0">
                  <c:v>0.27530000000666582</c:v>
                </c:pt>
                <c:pt idx="1">
                  <c:v>0.2719209915136897</c:v>
                </c:pt>
                <c:pt idx="2">
                  <c:v>0.2687419431173369</c:v>
                </c:pt>
                <c:pt idx="3">
                  <c:v>0.26574108205239549</c:v>
                </c:pt>
                <c:pt idx="4">
                  <c:v>0.26290000000363861</c:v>
                </c:pt>
                <c:pt idx="5">
                  <c:v>0.26020299443160971</c:v>
                </c:pt>
                <c:pt idx="6">
                  <c:v>0.25763605512229149</c:v>
                </c:pt>
                <c:pt idx="7">
                  <c:v>0.25511858891252531</c:v>
                </c:pt>
                <c:pt idx="8">
                  <c:v>0.25260000000173422</c:v>
                </c:pt>
                <c:pt idx="9">
                  <c:v>0.25008170341959768</c:v>
                </c:pt>
                <c:pt idx="10">
                  <c:v>0.24756496930217811</c:v>
                </c:pt>
                <c:pt idx="11">
                  <c:v>0.24509470878524159</c:v>
                </c:pt>
                <c:pt idx="12">
                  <c:v>0.24270000000023939</c:v>
                </c:pt>
                <c:pt idx="13">
                  <c:v>0.24037563450559771</c:v>
                </c:pt>
                <c:pt idx="14">
                  <c:v>0.238116727535925</c:v>
                </c:pt>
                <c:pt idx="15">
                  <c:v>0.23587060370035301</c:v>
                </c:pt>
                <c:pt idx="16">
                  <c:v>0.23359999999885789</c:v>
                </c:pt>
                <c:pt idx="17">
                  <c:v>0.23130667736225369</c:v>
                </c:pt>
                <c:pt idx="18">
                  <c:v>0.2289923501943259</c:v>
                </c:pt>
                <c:pt idx="19">
                  <c:v>0.22673727982290939</c:v>
                </c:pt>
                <c:pt idx="20">
                  <c:v>0.2245999999979629</c:v>
                </c:pt>
                <c:pt idx="21">
                  <c:v>0.22257405834317981</c:v>
                </c:pt>
                <c:pt idx="22">
                  <c:v>0.2205999999974487</c:v>
                </c:pt>
                <c:pt idx="23">
                  <c:v>0.2186252910828855</c:v>
                </c:pt>
                <c:pt idx="24">
                  <c:v>0.21679999999689109</c:v>
                </c:pt>
                <c:pt idx="25">
                  <c:v>0.2152568564677404</c:v>
                </c:pt>
                <c:pt idx="26">
                  <c:v>0.21369999999610709</c:v>
                </c:pt>
                <c:pt idx="27">
                  <c:v>0.21186594561532321</c:v>
                </c:pt>
                <c:pt idx="28">
                  <c:v>0.20989999999551309</c:v>
                </c:pt>
                <c:pt idx="29">
                  <c:v>0.2079328544117984</c:v>
                </c:pt>
                <c:pt idx="30">
                  <c:v>0.2059644800836182</c:v>
                </c:pt>
                <c:pt idx="31">
                  <c:v>0.2040938772333501</c:v>
                </c:pt>
                <c:pt idx="32">
                  <c:v>0.2023999999951987</c:v>
                </c:pt>
                <c:pt idx="33">
                  <c:v>0.20087608073390281</c:v>
                </c:pt>
                <c:pt idx="34">
                  <c:v>0.19939999999429819</c:v>
                </c:pt>
                <c:pt idx="35">
                  <c:v>0.19786028870006159</c:v>
                </c:pt>
                <c:pt idx="36">
                  <c:v>0.19629999999425621</c:v>
                </c:pt>
                <c:pt idx="37">
                  <c:v>0.1947586007671083</c:v>
                </c:pt>
                <c:pt idx="38">
                  <c:v>0.19323535592956129</c:v>
                </c:pt>
                <c:pt idx="39">
                  <c:v>0.1917451029722054</c:v>
                </c:pt>
                <c:pt idx="40">
                  <c:v>0.19029999999377181</c:v>
                </c:pt>
                <c:pt idx="41">
                  <c:v>0.18889853289606781</c:v>
                </c:pt>
                <c:pt idx="42">
                  <c:v>0.1875392804261522</c:v>
                </c:pt>
                <c:pt idx="43">
                  <c:v>0.1862359948666627</c:v>
                </c:pt>
                <c:pt idx="44">
                  <c:v>0.18499999999346861</c:v>
                </c:pt>
                <c:pt idx="45">
                  <c:v>0.18382921290369561</c:v>
                </c:pt>
                <c:pt idx="46">
                  <c:v>0.1827216526701525</c:v>
                </c:pt>
                <c:pt idx="47">
                  <c:v>0.18170440716423081</c:v>
                </c:pt>
                <c:pt idx="48">
                  <c:v>0.1807999999935187</c:v>
                </c:pt>
                <c:pt idx="49">
                  <c:v>0.1800048582587036</c:v>
                </c:pt>
                <c:pt idx="50">
                  <c:v>0.17931535468422299</c:v>
                </c:pt>
                <c:pt idx="51">
                  <c:v>0.17863972328070121</c:v>
                </c:pt>
                <c:pt idx="52">
                  <c:v>0.17789999999312769</c:v>
                </c:pt>
                <c:pt idx="53">
                  <c:v>0.1770982291565687</c:v>
                </c:pt>
                <c:pt idx="54">
                  <c:v>0.1762363045051919</c:v>
                </c:pt>
                <c:pt idx="55">
                  <c:v>0.17535773171775909</c:v>
                </c:pt>
                <c:pt idx="56">
                  <c:v>0.1744999999933087</c:v>
                </c:pt>
                <c:pt idx="57">
                  <c:v>0.17366254048585539</c:v>
                </c:pt>
                <c:pt idx="58">
                  <c:v>0.1657999999948238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A-E27E-4C0A-99B7-33696A982CB4}"/>
            </c:ext>
          </c:extLst>
        </c:ser>
        <c:bandFmts>
          <c:bandFmt>
            <c:idx val="0"/>
            <c:spPr>
              <a:gradFill rotWithShape="1">
                <a:gsLst>
                  <a:gs pos="0">
                    <a:schemeClr val="accent1">
                      <a:tint val="50000"/>
                      <a:satMod val="300000"/>
                    </a:schemeClr>
                  </a:gs>
                  <a:gs pos="35000">
                    <a:schemeClr val="accent1">
                      <a:tint val="37000"/>
                      <a:satMod val="300000"/>
                    </a:schemeClr>
                  </a:gs>
                  <a:gs pos="100000">
                    <a:schemeClr val="accent1">
                      <a:tint val="15000"/>
                      <a:satMod val="350000"/>
                    </a:schemeClr>
                  </a:gs>
                </a:gsLst>
                <a:lin ang="16200000" scaled="1"/>
              </a:gradFill>
              <a:ln w="9525" cap="flat" cmpd="sng" algn="ctr">
                <a:solidFill>
                  <a:schemeClr val="accent1">
                    <a:shade val="95000"/>
                  </a:schemeClr>
                </a:solidFill>
                <a:round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  <a:sp3d contourW="9525">
                <a:contourClr>
                  <a:schemeClr val="accent1">
                    <a:shade val="95000"/>
                  </a:schemeClr>
                </a:contourClr>
              </a:sp3d>
            </c:spPr>
          </c:bandFmt>
          <c:bandFmt>
            <c:idx val="1"/>
            <c:spPr>
              <a:gradFill rotWithShape="1">
                <a:gsLst>
                  <a:gs pos="0">
                    <a:schemeClr val="accent2">
                      <a:tint val="50000"/>
                      <a:satMod val="300000"/>
                    </a:schemeClr>
                  </a:gs>
                  <a:gs pos="35000">
                    <a:schemeClr val="accent2">
                      <a:tint val="37000"/>
                      <a:satMod val="300000"/>
                    </a:schemeClr>
                  </a:gs>
                  <a:gs pos="100000">
                    <a:schemeClr val="accent2">
                      <a:tint val="15000"/>
                      <a:satMod val="350000"/>
                    </a:schemeClr>
                  </a:gs>
                </a:gsLst>
                <a:lin ang="16200000" scaled="1"/>
              </a:gradFill>
              <a:ln w="9525" cap="flat" cmpd="sng" algn="ctr">
                <a:solidFill>
                  <a:schemeClr val="accent2">
                    <a:shade val="95000"/>
                  </a:schemeClr>
                </a:solidFill>
                <a:round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  <a:sp3d contourW="9525">
                <a:contourClr>
                  <a:schemeClr val="accent2">
                    <a:shade val="95000"/>
                  </a:schemeClr>
                </a:contourClr>
              </a:sp3d>
            </c:spPr>
          </c:bandFmt>
          <c:bandFmt>
            <c:idx val="2"/>
            <c:spPr>
              <a:gradFill rotWithShape="1">
                <a:gsLst>
                  <a:gs pos="0">
                    <a:schemeClr val="accent3">
                      <a:tint val="50000"/>
                      <a:satMod val="300000"/>
                    </a:schemeClr>
                  </a:gs>
                  <a:gs pos="35000">
                    <a:schemeClr val="accent3">
                      <a:tint val="37000"/>
                      <a:satMod val="300000"/>
                    </a:schemeClr>
                  </a:gs>
                  <a:gs pos="100000">
                    <a:schemeClr val="accent3">
                      <a:tint val="15000"/>
                      <a:satMod val="350000"/>
                    </a:schemeClr>
                  </a:gs>
                </a:gsLst>
                <a:lin ang="16200000" scaled="1"/>
              </a:gradFill>
              <a:ln w="9525" cap="flat" cmpd="sng" algn="ctr">
                <a:solidFill>
                  <a:schemeClr val="accent3">
                    <a:shade val="95000"/>
                  </a:schemeClr>
                </a:solidFill>
                <a:round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  <a:sp3d contourW="9525">
                <a:contourClr>
                  <a:schemeClr val="accent3">
                    <a:shade val="95000"/>
                  </a:schemeClr>
                </a:contourClr>
              </a:sp3d>
            </c:spPr>
          </c:bandFmt>
          <c:bandFmt>
            <c:idx val="3"/>
            <c:spPr>
              <a:gradFill rotWithShape="1">
                <a:gsLst>
                  <a:gs pos="0">
                    <a:schemeClr val="accent4">
                      <a:tint val="50000"/>
                      <a:satMod val="300000"/>
                    </a:schemeClr>
                  </a:gs>
                  <a:gs pos="35000">
                    <a:schemeClr val="accent4">
                      <a:tint val="37000"/>
                      <a:satMod val="300000"/>
                    </a:schemeClr>
                  </a:gs>
                  <a:gs pos="100000">
                    <a:schemeClr val="accent4">
                      <a:tint val="15000"/>
                      <a:satMod val="350000"/>
                    </a:schemeClr>
                  </a:gs>
                </a:gsLst>
                <a:lin ang="16200000" scaled="1"/>
              </a:gradFill>
              <a:ln w="9525" cap="flat" cmpd="sng" algn="ctr">
                <a:solidFill>
                  <a:schemeClr val="accent4">
                    <a:shade val="95000"/>
                  </a:schemeClr>
                </a:solidFill>
                <a:round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  <a:sp3d contourW="9525">
                <a:contourClr>
                  <a:schemeClr val="accent4">
                    <a:shade val="95000"/>
                  </a:schemeClr>
                </a:contourClr>
              </a:sp3d>
            </c:spPr>
          </c:bandFmt>
          <c:bandFmt>
            <c:idx val="4"/>
            <c:spPr>
              <a:gradFill rotWithShape="1">
                <a:gsLst>
                  <a:gs pos="0">
                    <a:schemeClr val="accent5">
                      <a:tint val="50000"/>
                      <a:satMod val="300000"/>
                    </a:schemeClr>
                  </a:gs>
                  <a:gs pos="35000">
                    <a:schemeClr val="accent5">
                      <a:tint val="37000"/>
                      <a:satMod val="300000"/>
                    </a:schemeClr>
                  </a:gs>
                  <a:gs pos="100000">
                    <a:schemeClr val="accent5">
                      <a:tint val="15000"/>
                      <a:satMod val="350000"/>
                    </a:schemeClr>
                  </a:gs>
                </a:gsLst>
                <a:lin ang="16200000" scaled="1"/>
              </a:gradFill>
              <a:ln w="9525" cap="flat" cmpd="sng" algn="ctr">
                <a:solidFill>
                  <a:schemeClr val="accent5">
                    <a:shade val="95000"/>
                  </a:schemeClr>
                </a:solidFill>
                <a:round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  <a:sp3d contourW="9525">
                <a:contourClr>
                  <a:schemeClr val="accent5">
                    <a:shade val="95000"/>
                  </a:schemeClr>
                </a:contourClr>
              </a:sp3d>
            </c:spPr>
          </c:bandFmt>
          <c:bandFmt>
            <c:idx val="5"/>
            <c:spPr>
              <a:gradFill rotWithShape="1">
                <a:gsLst>
                  <a:gs pos="0">
                    <a:schemeClr val="accent6">
                      <a:tint val="50000"/>
                      <a:satMod val="300000"/>
                    </a:schemeClr>
                  </a:gs>
                  <a:gs pos="35000">
                    <a:schemeClr val="accent6">
                      <a:tint val="37000"/>
                      <a:satMod val="300000"/>
                    </a:schemeClr>
                  </a:gs>
                  <a:gs pos="100000">
                    <a:schemeClr val="accent6">
                      <a:tint val="15000"/>
                      <a:satMod val="350000"/>
                    </a:schemeClr>
                  </a:gs>
                </a:gsLst>
                <a:lin ang="16200000" scaled="1"/>
              </a:gradFill>
              <a:ln w="9525" cap="flat" cmpd="sng" algn="ctr">
                <a:solidFill>
                  <a:schemeClr val="accent6">
                    <a:shade val="95000"/>
                  </a:schemeClr>
                </a:solidFill>
                <a:round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  <a:sp3d contourW="9525">
                <a:contourClr>
                  <a:schemeClr val="accent6">
                    <a:shade val="95000"/>
                  </a:schemeClr>
                </a:contourClr>
              </a:sp3d>
            </c:spPr>
          </c:bandFmt>
          <c:bandFmt>
            <c:idx val="6"/>
            <c:spPr>
              <a:gradFill rotWithShape="1">
                <a:gsLst>
                  <a:gs pos="0">
                    <a:schemeClr val="accent1">
                      <a:lumMod val="60000"/>
                      <a:tint val="50000"/>
                      <a:satMod val="300000"/>
                    </a:schemeClr>
                  </a:gs>
                  <a:gs pos="35000">
                    <a:schemeClr val="accent1">
                      <a:lumMod val="60000"/>
                      <a:tint val="37000"/>
                      <a:satMod val="300000"/>
                    </a:schemeClr>
                  </a:gs>
                  <a:gs pos="100000">
                    <a:schemeClr val="accent1">
                      <a:lumMod val="60000"/>
                      <a:tint val="15000"/>
                      <a:satMod val="350000"/>
                    </a:schemeClr>
                  </a:gs>
                </a:gsLst>
                <a:lin ang="16200000" scaled="1"/>
              </a:gradFill>
              <a:ln w="9525" cap="flat" cmpd="sng" algn="ctr">
                <a:solidFill>
                  <a:schemeClr val="accent1">
                    <a:lumMod val="60000"/>
                    <a:shade val="95000"/>
                  </a:schemeClr>
                </a:solidFill>
                <a:round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  <a:sp3d contourW="9525">
                <a:contourClr>
                  <a:schemeClr val="accent1">
                    <a:lumMod val="60000"/>
                    <a:shade val="95000"/>
                  </a:schemeClr>
                </a:contourClr>
              </a:sp3d>
            </c:spPr>
          </c:bandFmt>
          <c:bandFmt>
            <c:idx val="7"/>
            <c:spPr>
              <a:gradFill rotWithShape="1">
                <a:gsLst>
                  <a:gs pos="0">
                    <a:schemeClr val="accent2">
                      <a:lumMod val="60000"/>
                      <a:tint val="50000"/>
                      <a:satMod val="300000"/>
                    </a:schemeClr>
                  </a:gs>
                  <a:gs pos="35000">
                    <a:schemeClr val="accent2">
                      <a:lumMod val="60000"/>
                      <a:tint val="37000"/>
                      <a:satMod val="300000"/>
                    </a:schemeClr>
                  </a:gs>
                  <a:gs pos="100000">
                    <a:schemeClr val="accent2">
                      <a:lumMod val="60000"/>
                      <a:tint val="15000"/>
                      <a:satMod val="350000"/>
                    </a:schemeClr>
                  </a:gs>
                </a:gsLst>
                <a:lin ang="16200000" scaled="1"/>
              </a:gradFill>
              <a:ln w="9525" cap="flat" cmpd="sng" algn="ctr">
                <a:solidFill>
                  <a:schemeClr val="accent2">
                    <a:lumMod val="60000"/>
                    <a:shade val="95000"/>
                  </a:schemeClr>
                </a:solidFill>
                <a:round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  <a:sp3d contourW="9525">
                <a:contourClr>
                  <a:schemeClr val="accent2">
                    <a:lumMod val="60000"/>
                    <a:shade val="95000"/>
                  </a:schemeClr>
                </a:contourClr>
              </a:sp3d>
            </c:spPr>
          </c:bandFmt>
          <c:bandFmt>
            <c:idx val="8"/>
            <c:spPr>
              <a:gradFill rotWithShape="1">
                <a:gsLst>
                  <a:gs pos="0">
                    <a:schemeClr val="accent3">
                      <a:lumMod val="60000"/>
                      <a:tint val="50000"/>
                      <a:satMod val="300000"/>
                    </a:schemeClr>
                  </a:gs>
                  <a:gs pos="35000">
                    <a:schemeClr val="accent3">
                      <a:lumMod val="60000"/>
                      <a:tint val="37000"/>
                      <a:satMod val="300000"/>
                    </a:schemeClr>
                  </a:gs>
                  <a:gs pos="100000">
                    <a:schemeClr val="accent3">
                      <a:lumMod val="60000"/>
                      <a:tint val="15000"/>
                      <a:satMod val="350000"/>
                    </a:schemeClr>
                  </a:gs>
                </a:gsLst>
                <a:lin ang="16200000" scaled="1"/>
              </a:gradFill>
              <a:ln w="9525" cap="flat" cmpd="sng" algn="ctr">
                <a:solidFill>
                  <a:schemeClr val="accent3">
                    <a:lumMod val="60000"/>
                    <a:shade val="95000"/>
                  </a:schemeClr>
                </a:solidFill>
                <a:round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  <a:sp3d contourW="9525">
                <a:contourClr>
                  <a:schemeClr val="accent3">
                    <a:lumMod val="60000"/>
                    <a:shade val="95000"/>
                  </a:schemeClr>
                </a:contourClr>
              </a:sp3d>
            </c:spPr>
          </c:bandFmt>
          <c:bandFmt>
            <c:idx val="9"/>
            <c:spPr>
              <a:gradFill rotWithShape="1">
                <a:gsLst>
                  <a:gs pos="0">
                    <a:schemeClr val="accent4">
                      <a:lumMod val="60000"/>
                      <a:tint val="50000"/>
                      <a:satMod val="300000"/>
                    </a:schemeClr>
                  </a:gs>
                  <a:gs pos="35000">
                    <a:schemeClr val="accent4">
                      <a:lumMod val="60000"/>
                      <a:tint val="37000"/>
                      <a:satMod val="300000"/>
                    </a:schemeClr>
                  </a:gs>
                  <a:gs pos="100000">
                    <a:schemeClr val="accent4">
                      <a:lumMod val="60000"/>
                      <a:tint val="15000"/>
                      <a:satMod val="350000"/>
                    </a:schemeClr>
                  </a:gs>
                </a:gsLst>
                <a:lin ang="16200000" scaled="1"/>
              </a:gradFill>
              <a:ln w="9525" cap="flat" cmpd="sng" algn="ctr">
                <a:solidFill>
                  <a:schemeClr val="accent4">
                    <a:lumMod val="60000"/>
                    <a:shade val="95000"/>
                  </a:schemeClr>
                </a:solidFill>
                <a:round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  <a:sp3d contourW="9525">
                <a:contourClr>
                  <a:schemeClr val="accent4">
                    <a:lumMod val="60000"/>
                    <a:shade val="95000"/>
                  </a:schemeClr>
                </a:contourClr>
              </a:sp3d>
            </c:spPr>
          </c:bandFmt>
          <c:bandFmt>
            <c:idx val="10"/>
            <c:spPr>
              <a:gradFill rotWithShape="1">
                <a:gsLst>
                  <a:gs pos="0">
                    <a:schemeClr val="accent5">
                      <a:lumMod val="60000"/>
                      <a:tint val="50000"/>
                      <a:satMod val="300000"/>
                    </a:schemeClr>
                  </a:gs>
                  <a:gs pos="35000">
                    <a:schemeClr val="accent5">
                      <a:lumMod val="60000"/>
                      <a:tint val="37000"/>
                      <a:satMod val="300000"/>
                    </a:schemeClr>
                  </a:gs>
                  <a:gs pos="100000">
                    <a:schemeClr val="accent5">
                      <a:lumMod val="60000"/>
                      <a:tint val="15000"/>
                      <a:satMod val="350000"/>
                    </a:schemeClr>
                  </a:gs>
                </a:gsLst>
                <a:lin ang="16200000" scaled="1"/>
              </a:gradFill>
              <a:ln w="9525" cap="flat" cmpd="sng" algn="ctr">
                <a:solidFill>
                  <a:schemeClr val="accent5">
                    <a:lumMod val="60000"/>
                    <a:shade val="95000"/>
                  </a:schemeClr>
                </a:solidFill>
                <a:round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  <a:sp3d contourW="9525">
                <a:contourClr>
                  <a:schemeClr val="accent5">
                    <a:lumMod val="60000"/>
                    <a:shade val="95000"/>
                  </a:schemeClr>
                </a:contourClr>
              </a:sp3d>
            </c:spPr>
          </c:bandFmt>
          <c:bandFmt>
            <c:idx val="11"/>
            <c:spPr>
              <a:gradFill rotWithShape="1">
                <a:gsLst>
                  <a:gs pos="0">
                    <a:schemeClr val="accent6">
                      <a:lumMod val="60000"/>
                      <a:tint val="50000"/>
                      <a:satMod val="300000"/>
                    </a:schemeClr>
                  </a:gs>
                  <a:gs pos="35000">
                    <a:schemeClr val="accent6">
                      <a:lumMod val="60000"/>
                      <a:tint val="37000"/>
                      <a:satMod val="300000"/>
                    </a:schemeClr>
                  </a:gs>
                  <a:gs pos="100000">
                    <a:schemeClr val="accent6">
                      <a:lumMod val="60000"/>
                      <a:tint val="15000"/>
                      <a:satMod val="350000"/>
                    </a:schemeClr>
                  </a:gs>
                </a:gsLst>
                <a:lin ang="16200000" scaled="1"/>
              </a:gradFill>
              <a:ln w="9525" cap="flat" cmpd="sng" algn="ctr">
                <a:solidFill>
                  <a:schemeClr val="accent6">
                    <a:lumMod val="60000"/>
                    <a:shade val="95000"/>
                  </a:schemeClr>
                </a:solidFill>
                <a:round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  <a:sp3d contourW="9525">
                <a:contourClr>
                  <a:schemeClr val="accent6">
                    <a:lumMod val="60000"/>
                    <a:shade val="95000"/>
                  </a:schemeClr>
                </a:contourClr>
              </a:sp3d>
            </c:spPr>
          </c:bandFmt>
          <c:bandFmt>
            <c:idx val="12"/>
            <c:spPr>
              <a:gradFill rotWithShape="1">
                <a:gsLst>
                  <a:gs pos="0">
                    <a:schemeClr val="accent1">
                      <a:lumMod val="80000"/>
                      <a:lumOff val="20000"/>
                      <a:tint val="50000"/>
                      <a:satMod val="300000"/>
                    </a:schemeClr>
                  </a:gs>
                  <a:gs pos="35000">
                    <a:schemeClr val="accent1">
                      <a:lumMod val="80000"/>
                      <a:lumOff val="20000"/>
                      <a:tint val="37000"/>
                      <a:satMod val="300000"/>
                    </a:schemeClr>
                  </a:gs>
                  <a:gs pos="100000">
                    <a:schemeClr val="accent1">
                      <a:lumMod val="80000"/>
                      <a:lumOff val="20000"/>
                      <a:tint val="15000"/>
                      <a:satMod val="350000"/>
                    </a:schemeClr>
                  </a:gs>
                </a:gsLst>
                <a:lin ang="16200000" scaled="1"/>
              </a:gradFill>
              <a:ln w="9525" cap="flat" cmpd="sng" algn="ctr">
                <a:solidFill>
                  <a:schemeClr val="accent1">
                    <a:lumMod val="80000"/>
                    <a:lumOff val="20000"/>
                    <a:shade val="95000"/>
                  </a:schemeClr>
                </a:solidFill>
                <a:round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  <a:sp3d contourW="9525">
                <a:contourClr>
                  <a:schemeClr val="accent1">
                    <a:lumMod val="80000"/>
                    <a:lumOff val="20000"/>
                    <a:shade val="95000"/>
                  </a:schemeClr>
                </a:contourClr>
              </a:sp3d>
            </c:spPr>
          </c:bandFmt>
          <c:bandFmt>
            <c:idx val="13"/>
            <c:spPr>
              <a:gradFill rotWithShape="1">
                <a:gsLst>
                  <a:gs pos="0">
                    <a:schemeClr val="accent2">
                      <a:lumMod val="80000"/>
                      <a:lumOff val="20000"/>
                      <a:tint val="50000"/>
                      <a:satMod val="300000"/>
                    </a:schemeClr>
                  </a:gs>
                  <a:gs pos="35000">
                    <a:schemeClr val="accent2">
                      <a:lumMod val="80000"/>
                      <a:lumOff val="20000"/>
                      <a:tint val="37000"/>
                      <a:satMod val="300000"/>
                    </a:schemeClr>
                  </a:gs>
                  <a:gs pos="100000">
                    <a:schemeClr val="accent2">
                      <a:lumMod val="80000"/>
                      <a:lumOff val="20000"/>
                      <a:tint val="15000"/>
                      <a:satMod val="350000"/>
                    </a:schemeClr>
                  </a:gs>
                </a:gsLst>
                <a:lin ang="16200000" scaled="1"/>
              </a:gradFill>
              <a:ln w="9525" cap="flat" cmpd="sng" algn="ctr">
                <a:solidFill>
                  <a:schemeClr val="accent2">
                    <a:lumMod val="80000"/>
                    <a:lumOff val="20000"/>
                    <a:shade val="95000"/>
                  </a:schemeClr>
                </a:solidFill>
                <a:round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  <a:sp3d contourW="9525">
                <a:contourClr>
                  <a:schemeClr val="accent2">
                    <a:lumMod val="80000"/>
                    <a:lumOff val="20000"/>
                    <a:shade val="95000"/>
                  </a:schemeClr>
                </a:contourClr>
              </a:sp3d>
            </c:spPr>
          </c:bandFmt>
          <c:bandFmt>
            <c:idx val="14"/>
            <c:spPr>
              <a:gradFill rotWithShape="1">
                <a:gsLst>
                  <a:gs pos="0">
                    <a:schemeClr val="accent3">
                      <a:lumMod val="80000"/>
                      <a:lumOff val="20000"/>
                      <a:tint val="50000"/>
                      <a:satMod val="300000"/>
                    </a:schemeClr>
                  </a:gs>
                  <a:gs pos="35000">
                    <a:schemeClr val="accent3">
                      <a:lumMod val="80000"/>
                      <a:lumOff val="20000"/>
                      <a:tint val="37000"/>
                      <a:satMod val="300000"/>
                    </a:schemeClr>
                  </a:gs>
                  <a:gs pos="100000">
                    <a:schemeClr val="accent3">
                      <a:lumMod val="80000"/>
                      <a:lumOff val="20000"/>
                      <a:tint val="15000"/>
                      <a:satMod val="350000"/>
                    </a:schemeClr>
                  </a:gs>
                </a:gsLst>
                <a:lin ang="16200000" scaled="1"/>
              </a:gradFill>
              <a:ln w="9525" cap="flat" cmpd="sng" algn="ctr">
                <a:solidFill>
                  <a:schemeClr val="accent3">
                    <a:lumMod val="80000"/>
                    <a:lumOff val="20000"/>
                    <a:shade val="95000"/>
                  </a:schemeClr>
                </a:solidFill>
                <a:round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  <a:sp3d contourW="9525">
                <a:contourClr>
                  <a:schemeClr val="accent3">
                    <a:lumMod val="80000"/>
                    <a:lumOff val="20000"/>
                    <a:shade val="95000"/>
                  </a:schemeClr>
                </a:contourClr>
              </a:sp3d>
            </c:spPr>
          </c:bandFmt>
        </c:bandFmts>
        <c:axId val="833009384"/>
        <c:axId val="725998096"/>
        <c:axId val="407908184"/>
      </c:surface3DChart>
      <c:catAx>
        <c:axId val="833009384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197" b="0" i="0" u="none" strike="noStrike" kern="1200" cap="all" baseline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IN" dirty="0"/>
                  <a:t>MONEYNESS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25998096"/>
        <c:crosses val="autoZero"/>
        <c:auto val="1"/>
        <c:lblAlgn val="ctr"/>
        <c:lblOffset val="100"/>
        <c:noMultiLvlLbl val="0"/>
      </c:catAx>
      <c:valAx>
        <c:axId val="72599809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197" b="0" i="0" u="none" strike="noStrike" kern="1200" cap="all" baseline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IN" dirty="0"/>
                  <a:t>vol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833009384"/>
        <c:crosses val="autoZero"/>
        <c:crossBetween val="midCat"/>
      </c:valAx>
      <c:serAx>
        <c:axId val="407908184"/>
        <c:scaling>
          <c:orientation val="minMax"/>
        </c:scaling>
        <c:delete val="0"/>
        <c:axPos val="b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197" b="0" i="0" u="none" strike="noStrike" kern="1200" cap="all" baseline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IN" dirty="0"/>
                  <a:t>MATURITY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</c:title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25998096"/>
        <c:crosses val="autoZero"/>
      </c:ser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rtl="0">
            <a:defRPr sz="1197" b="0" i="0" u="none" strike="noStrike" kern="1200" baseline="0">
              <a:solidFill>
                <a:schemeClr val="tx1">
                  <a:lumMod val="50000"/>
                  <a:lumOff val="50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12C5C61-B3FC-4163-87B4-6CCD34E43DD2}" type="datetimeFigureOut">
              <a:rPr lang="en-IN" smtClean="0"/>
              <a:t>05-08-2022</a:t>
            </a:fld>
            <a:endParaRPr lang="en-IN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IN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21F55A3-DEFC-4864-81E0-B4C0D9243B8A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1437895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1D7F658-8BC7-478B-9015-36F5D3ABF05F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1383558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7.svg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1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1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7.svg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7.svg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56">
            <a:extLst>
              <a:ext uri="{FF2B5EF4-FFF2-40B4-BE49-F238E27FC236}">
                <a16:creationId xmlns:a16="http://schemas.microsoft.com/office/drawing/2014/main" id="{13A7AC18-CF42-4EC5-8D40-441EAE30A06C}"/>
              </a:ext>
            </a:extLst>
          </p:cNvPr>
          <p:cNvSpPr/>
          <p:nvPr userDrawn="1"/>
        </p:nvSpPr>
        <p:spPr>
          <a:xfrm>
            <a:off x="497856" y="795662"/>
            <a:ext cx="4927845" cy="3581484"/>
          </a:xfrm>
          <a:custGeom>
            <a:avLst/>
            <a:gdLst>
              <a:gd name="connsiteX0" fmla="*/ 4238387 w 4257675"/>
              <a:gd name="connsiteY0" fmla="*/ 0 h 3092804"/>
              <a:gd name="connsiteX1" fmla="*/ 4257675 w 4257675"/>
              <a:gd name="connsiteY1" fmla="*/ 0 h 3092804"/>
              <a:gd name="connsiteX2" fmla="*/ 4257675 w 4257675"/>
              <a:gd name="connsiteY2" fmla="*/ 3092804 h 3092804"/>
              <a:gd name="connsiteX3" fmla="*/ 0 w 4257675"/>
              <a:gd name="connsiteY3" fmla="*/ 3092804 h 3092804"/>
              <a:gd name="connsiteX4" fmla="*/ 0 w 4257675"/>
              <a:gd name="connsiteY4" fmla="*/ 747342 h 30928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7675" h="3092804">
                <a:moveTo>
                  <a:pt x="4238387" y="0"/>
                </a:moveTo>
                <a:lnTo>
                  <a:pt x="4257675" y="0"/>
                </a:lnTo>
                <a:lnTo>
                  <a:pt x="4257675" y="3092804"/>
                </a:lnTo>
                <a:lnTo>
                  <a:pt x="0" y="3092804"/>
                </a:lnTo>
                <a:lnTo>
                  <a:pt x="0" y="747342"/>
                </a:lnTo>
                <a:close/>
              </a:path>
            </a:pathLst>
          </a:custGeom>
          <a:solidFill>
            <a:srgbClr val="FFE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775100" y="1954221"/>
            <a:ext cx="4326679" cy="979702"/>
          </a:xfrm>
        </p:spPr>
        <p:txBody>
          <a:bodyPr/>
          <a:lstStyle>
            <a:lvl1pPr>
              <a:defRPr sz="2999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2" name="Subtitle 2"/>
          <p:cNvSpPr>
            <a:spLocks noGrp="1"/>
          </p:cNvSpPr>
          <p:nvPr>
            <p:ph type="subTitle" idx="1"/>
          </p:nvPr>
        </p:nvSpPr>
        <p:spPr>
          <a:xfrm>
            <a:off x="775100" y="3046159"/>
            <a:ext cx="4326679" cy="1046323"/>
          </a:xfrm>
        </p:spPr>
        <p:txBody>
          <a:bodyPr/>
          <a:lstStyle>
            <a:lvl1pPr marL="0" indent="0" algn="l">
              <a:spcAft>
                <a:spcPts val="1199"/>
              </a:spcAft>
              <a:buNone/>
              <a:defRPr sz="1999">
                <a:solidFill>
                  <a:schemeClr val="bg1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599" b="1">
                <a:solidFill>
                  <a:srgbClr val="404040"/>
                </a:solidFill>
              </a:defRPr>
            </a:lvl2pPr>
            <a:lvl3pPr marL="913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9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8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8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7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subtitle style</a:t>
            </a:r>
            <a:endParaRPr lang="en-GB" dirty="0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F93BD223-2224-476C-AB5C-300C248C1618}"/>
              </a:ext>
            </a:extLst>
          </p:cNvPr>
          <p:cNvCxnSpPr>
            <a:cxnSpLocks/>
          </p:cNvCxnSpPr>
          <p:nvPr userDrawn="1"/>
        </p:nvCxnSpPr>
        <p:spPr>
          <a:xfrm>
            <a:off x="1332490" y="5709060"/>
            <a:ext cx="8117873" cy="0"/>
          </a:xfrm>
          <a:prstGeom prst="line">
            <a:avLst/>
          </a:prstGeom>
          <a:ln>
            <a:solidFill>
              <a:srgbClr val="82829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651B4C43-E5F8-400E-A971-58A3766B1BF0}"/>
              </a:ext>
            </a:extLst>
          </p:cNvPr>
          <p:cNvSpPr txBox="1"/>
          <p:nvPr userDrawn="1"/>
        </p:nvSpPr>
        <p:spPr>
          <a:xfrm>
            <a:off x="461744" y="5605201"/>
            <a:ext cx="1044529" cy="197581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r>
              <a:rPr lang="en-GB" sz="1199" dirty="0">
                <a:solidFill>
                  <a:srgbClr val="828290"/>
                </a:solidFill>
                <a:latin typeface="EYInterstate Light" panose="02000506000000020004" pitchFamily="2" charset="0"/>
              </a:rPr>
              <a:t>Written by</a:t>
            </a:r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A9465B6B-DFD4-4E0C-9ACE-E88CA22204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332490" y="6019189"/>
            <a:ext cx="3087667" cy="180000"/>
          </a:xfrm>
        </p:spPr>
        <p:txBody>
          <a:bodyPr/>
          <a:lstStyle>
            <a:lvl1pPr marL="0" indent="0">
              <a:buNone/>
              <a:defRPr sz="1199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16">
            <a:extLst>
              <a:ext uri="{FF2B5EF4-FFF2-40B4-BE49-F238E27FC236}">
                <a16:creationId xmlns:a16="http://schemas.microsoft.com/office/drawing/2014/main" id="{A1F2ED22-5637-4AB8-ABD8-3693A6EA55F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332490" y="6216807"/>
            <a:ext cx="3087667" cy="180000"/>
          </a:xfrm>
        </p:spPr>
        <p:txBody>
          <a:bodyPr/>
          <a:lstStyle>
            <a:lvl1pPr marL="0" indent="0">
              <a:buNone/>
              <a:defRPr sz="1199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Job Title</a:t>
            </a:r>
            <a:endParaRPr lang="en-GB" dirty="0"/>
          </a:p>
        </p:txBody>
      </p:sp>
      <p:sp>
        <p:nvSpPr>
          <p:cNvPr id="14" name="Picture Placeholder 19">
            <a:extLst>
              <a:ext uri="{FF2B5EF4-FFF2-40B4-BE49-F238E27FC236}">
                <a16:creationId xmlns:a16="http://schemas.microsoft.com/office/drawing/2014/main" id="{29A5E1BC-8F6B-43EF-9FF6-8242E7708BD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61743" y="5914642"/>
            <a:ext cx="575700" cy="576000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9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grpSp>
        <p:nvGrpSpPr>
          <p:cNvPr id="2" name="Group 4">
            <a:extLst>
              <a:ext uri="{FF2B5EF4-FFF2-40B4-BE49-F238E27FC236}">
                <a16:creationId xmlns:a16="http://schemas.microsoft.com/office/drawing/2014/main" id="{63F02F42-4916-4588-807F-4BB7367EB0EC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59392" y="4960938"/>
            <a:ext cx="1224912" cy="1435100"/>
            <a:chOff x="6529" y="3125"/>
            <a:chExt cx="772" cy="904"/>
          </a:xfrm>
        </p:grpSpPr>
        <p:sp>
          <p:nvSpPr>
            <p:cNvPr id="4" name="Freeform 5">
              <a:extLst>
                <a:ext uri="{FF2B5EF4-FFF2-40B4-BE49-F238E27FC236}">
                  <a16:creationId xmlns:a16="http://schemas.microsoft.com/office/drawing/2014/main" id="{0BD928C5-1C7D-4599-A7E9-8AB1B188C6A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5" name="Freeform 6">
              <a:extLst>
                <a:ext uri="{FF2B5EF4-FFF2-40B4-BE49-F238E27FC236}">
                  <a16:creationId xmlns:a16="http://schemas.microsoft.com/office/drawing/2014/main" id="{37C281E8-2924-471F-A849-26C37A059B4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</p:grpSp>
    </p:spTree>
    <p:extLst>
      <p:ext uri="{BB962C8B-B14F-4D97-AF65-F5344CB8AC3E}">
        <p14:creationId xmlns:p14="http://schemas.microsoft.com/office/powerpoint/2010/main" val="18508742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2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697C43D-4F1B-43DA-A0C6-DA6B6708E16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2616" y="2851522"/>
            <a:ext cx="4445485" cy="1202318"/>
          </a:xfrm>
        </p:spPr>
        <p:txBody>
          <a:bodyPr vert="horz" lIns="0" tIns="0" rIns="0" bIns="0" rtlCol="0" anchor="ctr" anchorCtr="0">
            <a:noAutofit/>
          </a:bodyPr>
          <a:lstStyle>
            <a:lvl1pPr marL="0" indent="0">
              <a:buNone/>
              <a:defRPr kumimoji="0" lang="en-IN" sz="3598" b="0" i="0" u="none" strike="noStrike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EYInterstate Light" panose="02000506000000020004" pitchFamily="2" charset="0"/>
                <a:ea typeface="+mj-ea"/>
                <a:cs typeface="+mj-cs"/>
              </a:defRPr>
            </a:lvl1pPr>
          </a:lstStyle>
          <a:p>
            <a:pPr marL="356438" marR="0" lvl="0" indent="-356438" defTabSz="1007383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</a:pPr>
            <a:r>
              <a:rPr lang="en-US" dirty="0"/>
              <a:t>Chapter Title</a:t>
            </a:r>
            <a:endParaRPr lang="en-IN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00C2D9D-B0D7-494E-9184-FCD6E94AACE5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6A95EDC0-9791-477B-BA1D-1692FE9BFBAA}" type="datetime3">
              <a:rPr lang="en-US" smtClean="0"/>
              <a:t>5 August 2022</a:t>
            </a:fld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87FD91A-AB40-450B-8784-9A5D99C62D81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IN"/>
              <a:t>Presentation title</a:t>
            </a:r>
            <a:endParaRPr lang="en-IN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2CE5F90-7113-4FA1-AFCF-3BC8EF010002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114373267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edia Placeholder 2">
            <a:extLst>
              <a:ext uri="{FF2B5EF4-FFF2-40B4-BE49-F238E27FC236}">
                <a16:creationId xmlns:a16="http://schemas.microsoft.com/office/drawing/2014/main" id="{0052CFA6-7CF5-41BD-9D94-2D0DAE108428}"/>
              </a:ext>
            </a:extLst>
          </p:cNvPr>
          <p:cNvSpPr>
            <a:spLocks noGrp="1"/>
          </p:cNvSpPr>
          <p:nvPr>
            <p:ph type="media" sz="quarter" idx="10" hasCustomPrompt="1"/>
          </p:nvPr>
        </p:nvSpPr>
        <p:spPr>
          <a:xfrm>
            <a:off x="0" y="0"/>
            <a:ext cx="12192000" cy="6858000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IN" dirty="0"/>
              <a:t>Video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943830C-23AE-48E4-B9DE-E91E6CE0B8B9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A8381BA6-C3FD-495B-9B56-A30783EC7416}" type="datetime3">
              <a:rPr lang="en-US" smtClean="0"/>
              <a:t>5 August 2022</a:t>
            </a:fld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0F742A9-BF69-4BF2-966C-3D76FC687FBA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IN" dirty="0"/>
              <a:t>Presentation tit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B65F912-EBE8-413B-A241-0FB3A540BA82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642855632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Key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37B5C6B-B98B-4A4C-A8A7-B006989B59B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7C88E1-FE33-48AD-9218-9258D62CDCC4}" type="datetime3">
              <a:rPr lang="en-US" smtClean="0"/>
              <a:t>5 August 2022</a:t>
            </a:fld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CEF6675-2050-4038-B9E1-B80DB63D73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 dirty="0"/>
              <a:t>Presentation titl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BA4D6F3-1431-4069-B814-2558466772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281119131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Focused da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897186E-D73E-46D0-965A-D83686BA73F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2FE8F4A-3FA1-4A64-AE77-2254BB85F3D2}" type="datetime3">
              <a:rPr lang="en-US" smtClean="0"/>
              <a:t>5 August 2022</a:t>
            </a:fld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DEF40EA-FE63-4D50-8C90-EC25A860C0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 dirty="0"/>
              <a:t>Presentation tit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F37420B-CF82-4784-8E9C-5C496E27C5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538390255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602" y="294200"/>
            <a:ext cx="10972800" cy="590400"/>
          </a:xfrm>
        </p:spPr>
        <p:txBody>
          <a:bodyPr/>
          <a:lstStyle>
            <a:lvl1pPr>
              <a:defRPr sz="2398">
                <a:solidFill>
                  <a:schemeClr val="bg1"/>
                </a:solidFill>
              </a:defRPr>
            </a:lvl1pPr>
          </a:lstStyle>
          <a:p>
            <a:r>
              <a:rPr lang="en-US"/>
              <a:t>Standard slide</a:t>
            </a:r>
            <a:endParaRPr lang="en-GB"/>
          </a:p>
        </p:txBody>
      </p:sp>
      <p:sp>
        <p:nvSpPr>
          <p:cNvPr id="80" name="Line 10">
            <a:extLst>
              <a:ext uri="{FF2B5EF4-FFF2-40B4-BE49-F238E27FC236}">
                <a16:creationId xmlns:a16="http://schemas.microsoft.com/office/drawing/2014/main" id="{EF8E9275-C0E0-4ABA-8699-73E5E292EC85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601" y="907750"/>
            <a:ext cx="10974284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8" noProof="0" dirty="0">
              <a:solidFill>
                <a:schemeClr val="bg1"/>
              </a:solidFill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BD5E823-546D-4100-9D33-42F450A382E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A9E02A-78D6-48B7-A389-464ED573BA5D}" type="datetime3">
              <a:rPr lang="en-US" smtClean="0"/>
              <a:t>5 August 2022</a:t>
            </a:fld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4EEA008-3E80-49A8-A128-C1EEB8A02F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 dirty="0"/>
              <a:t>Presentation tit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A192330-2E70-49F4-A5DA-F82320E708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32631595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wo columns with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12329" y="1869443"/>
            <a:ext cx="5390400" cy="4256075"/>
          </a:xfrm>
        </p:spPr>
        <p:txBody>
          <a:bodyPr/>
          <a:lstStyle>
            <a:lvl1pPr>
              <a:defRPr sz="1998">
                <a:solidFill>
                  <a:schemeClr val="bg1"/>
                </a:solidFill>
              </a:defRPr>
            </a:lvl1pPr>
            <a:lvl2pPr>
              <a:defRPr sz="1798">
                <a:solidFill>
                  <a:schemeClr val="bg1"/>
                </a:solidFill>
              </a:defRPr>
            </a:lvl2pPr>
            <a:lvl3pPr>
              <a:defRPr sz="1598">
                <a:solidFill>
                  <a:schemeClr val="bg1"/>
                </a:solidFill>
              </a:defRPr>
            </a:lvl3pPr>
            <a:lvl4pPr>
              <a:defRPr sz="1398">
                <a:solidFill>
                  <a:schemeClr val="bg1"/>
                </a:solidFill>
              </a:defRPr>
            </a:lvl4pPr>
            <a:lvl5pPr>
              <a:defRPr sz="1198">
                <a:solidFill>
                  <a:schemeClr val="bg1"/>
                </a:solidFill>
              </a:defRPr>
            </a:lvl5pPr>
            <a:lvl6pPr>
              <a:defRPr sz="1798"/>
            </a:lvl6pPr>
            <a:lvl7pPr>
              <a:defRPr sz="1798"/>
            </a:lvl7pPr>
            <a:lvl8pPr>
              <a:defRPr sz="1798"/>
            </a:lvl8pPr>
            <a:lvl9pPr>
              <a:defRPr sz="1798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6405" y="1869443"/>
            <a:ext cx="5390400" cy="4256075"/>
          </a:xfrm>
        </p:spPr>
        <p:txBody>
          <a:bodyPr/>
          <a:lstStyle>
            <a:lvl1pPr>
              <a:defRPr sz="1998">
                <a:solidFill>
                  <a:schemeClr val="bg1"/>
                </a:solidFill>
              </a:defRPr>
            </a:lvl1pPr>
            <a:lvl2pPr>
              <a:defRPr sz="1798">
                <a:solidFill>
                  <a:schemeClr val="bg1"/>
                </a:solidFill>
              </a:defRPr>
            </a:lvl2pPr>
            <a:lvl3pPr>
              <a:defRPr sz="1598">
                <a:solidFill>
                  <a:schemeClr val="bg1"/>
                </a:solidFill>
              </a:defRPr>
            </a:lvl3pPr>
            <a:lvl4pPr>
              <a:defRPr sz="1398">
                <a:solidFill>
                  <a:schemeClr val="bg1"/>
                </a:solidFill>
              </a:defRPr>
            </a:lvl4pPr>
            <a:lvl5pPr>
              <a:defRPr sz="1198">
                <a:solidFill>
                  <a:schemeClr val="bg1"/>
                </a:solidFill>
              </a:defRPr>
            </a:lvl5pPr>
            <a:lvl6pPr>
              <a:defRPr sz="1798"/>
            </a:lvl6pPr>
            <a:lvl7pPr>
              <a:defRPr sz="1798"/>
            </a:lvl7pPr>
            <a:lvl8pPr>
              <a:defRPr sz="1798"/>
            </a:lvl8pPr>
            <a:lvl9pPr>
              <a:defRPr sz="1798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609601" y="1137920"/>
            <a:ext cx="5390400" cy="640800"/>
          </a:xfrm>
        </p:spPr>
        <p:txBody>
          <a:bodyPr anchor="t" anchorCtr="0"/>
          <a:lstStyle>
            <a:lvl1pPr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196405" y="1137920"/>
            <a:ext cx="5390400" cy="640800"/>
          </a:xfrm>
        </p:spPr>
        <p:txBody>
          <a:bodyPr anchor="t" anchorCtr="0"/>
          <a:lstStyle>
            <a:lvl1pPr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2" y="294200"/>
            <a:ext cx="10972800" cy="59088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Line 10">
            <a:extLst>
              <a:ext uri="{FF2B5EF4-FFF2-40B4-BE49-F238E27FC236}">
                <a16:creationId xmlns:a16="http://schemas.microsoft.com/office/drawing/2014/main" id="{9773E7D9-2434-4381-A00D-27B62C086733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601" y="907750"/>
            <a:ext cx="10974284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8" noProof="0" dirty="0">
              <a:solidFill>
                <a:schemeClr val="bg1"/>
              </a:solidFill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A3CD3F7-62DC-4CC4-8F34-C353DB087D7C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029E1942-EB53-47E3-BCA7-F99D05C795EC}" type="datetime3">
              <a:rPr lang="en-US" smtClean="0"/>
              <a:t>5 August 2022</a:t>
            </a:fld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BD2EC01-3D34-4D32-9B76-5269D1AA465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IN" dirty="0"/>
              <a:t>Presentation titl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4BE1C2B-4DA4-468F-9976-85F6CBF826F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56944173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628F8CDB-776D-4811-AE2C-217236ECDEC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223938" y="0"/>
            <a:ext cx="5968062" cy="6858000"/>
          </a:xfrm>
        </p:spPr>
        <p:txBody>
          <a:bodyPr/>
          <a:lstStyle/>
          <a:p>
            <a:endParaRPr lang="en-IN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26E96BA-E9E4-496B-8CA5-6DA27B8AD7E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69514" y="2578743"/>
            <a:ext cx="4535597" cy="1055708"/>
          </a:xfrm>
        </p:spPr>
        <p:txBody>
          <a:bodyPr/>
          <a:lstStyle>
            <a:lvl1pPr marL="0" indent="0">
              <a:buNone/>
              <a:defRPr sz="2998"/>
            </a:lvl1pPr>
          </a:lstStyle>
          <a:p>
            <a:pPr lvl="0"/>
            <a:r>
              <a:rPr lang="en-IN"/>
              <a:t>Chapter Title</a:t>
            </a:r>
          </a:p>
          <a:p>
            <a:pPr lvl="0"/>
            <a:r>
              <a:rPr lang="en-IN"/>
              <a:t>EY Interstate Light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1173C8A3-BA2F-497B-A214-45B02D73AF2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9514" y="3840384"/>
            <a:ext cx="4535597" cy="1055708"/>
          </a:xfrm>
        </p:spPr>
        <p:txBody>
          <a:bodyPr/>
          <a:lstStyle>
            <a:lvl1pPr marL="0" indent="0">
              <a:buNone/>
              <a:defRPr sz="1598"/>
            </a:lvl1pPr>
          </a:lstStyle>
          <a:p>
            <a:pPr lvl="0"/>
            <a:r>
              <a:rPr lang="en-IN"/>
              <a:t>text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3EABBDA-A77F-45A2-9996-90CD0EE5C388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1057AB47-DE48-402E-B5B7-CB9A0D0B7D44}" type="datetime3">
              <a:rPr lang="en-US" smtClean="0"/>
              <a:t>5 August 2022</a:t>
            </a:fld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F883B36-3BA3-42B4-A811-65C0AF01A86F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IN" dirty="0"/>
              <a:t>Presentation tit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9D9C98C-F30E-45BC-A1D9-67DB57119DCE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603055977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697C43D-4F1B-43DA-A0C6-DA6B6708E16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2616" y="2851522"/>
            <a:ext cx="4445485" cy="1202318"/>
          </a:xfrm>
        </p:spPr>
        <p:txBody>
          <a:bodyPr vert="horz" lIns="0" tIns="0" rIns="0" bIns="0" rtlCol="0" anchor="ctr" anchorCtr="0">
            <a:noAutofit/>
          </a:bodyPr>
          <a:lstStyle>
            <a:lvl1pPr marL="0" indent="0">
              <a:buNone/>
              <a:defRPr kumimoji="0" lang="en-IN" sz="3596" b="0" i="0" u="none" strike="noStrike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EYInterstate Light" panose="02000506000000020004" pitchFamily="2" charset="0"/>
                <a:ea typeface="+mj-ea"/>
                <a:cs typeface="+mj-cs"/>
              </a:defRPr>
            </a:lvl1pPr>
          </a:lstStyle>
          <a:p>
            <a:pPr marL="356260" marR="0" lvl="0" indent="-356260" defTabSz="1006879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Chapter Title</a:t>
            </a:r>
            <a:endParaRPr lang="en-IN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00C2D9D-B0D7-494E-9184-FCD6E94AACE5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6A95EDC0-9791-477B-BA1D-1692FE9BFBAA}" type="datetime3">
              <a:rPr lang="en-US" smtClean="0"/>
              <a:t>5 August 2022</a:t>
            </a:fld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87FD91A-AB40-450B-8784-9A5D99C62D81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IN" dirty="0"/>
              <a:t>Presentation tit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2CE5F90-7113-4FA1-AFCF-3BC8EF010002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662255526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BD5388A-86DF-494E-B137-EE20B7E1CF9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1FBADE3-2F67-4EB8-B1F9-B00F8B809757}" type="datetime3">
              <a:rPr lang="en-US" smtClean="0"/>
              <a:t>5 August 2022</a:t>
            </a:fld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297E548-6FF4-4D89-ADE0-60181F5365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 dirty="0"/>
              <a:t>Presentation tit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10B0A8B-D001-432B-877C-21558412BB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16976915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Final leg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607483" y="719139"/>
            <a:ext cx="4675200" cy="5210062"/>
          </a:xfrm>
        </p:spPr>
        <p:txBody>
          <a:bodyPr/>
          <a:lstStyle>
            <a:lvl1pPr marL="0" indent="0" algn="l" defTabSz="994368" rtl="0" fontAlgn="base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SzPct val="100000"/>
              <a:buNone/>
              <a:defRPr lang="en-US" sz="1198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1pPr>
            <a:lvl2pPr marL="0" indent="0" algn="l" defTabSz="994368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900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2pPr>
            <a:lvl3pPr marL="176037" indent="-176037" algn="l" defTabSz="994368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900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3pPr>
            <a:lvl4pPr marL="0" indent="0" algn="l" defTabSz="994368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8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4pPr>
            <a:lvl5pPr marL="188725" indent="-188725" algn="l" defTabSz="994368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800" kern="1200" noProof="0" dirty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25241237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pproved question w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5" name="Group 234">
            <a:extLst>
              <a:ext uri="{FF2B5EF4-FFF2-40B4-BE49-F238E27FC236}">
                <a16:creationId xmlns:a16="http://schemas.microsoft.com/office/drawing/2014/main" id="{5342E118-6F1D-4C46-956E-4CCCBCAA7952}"/>
              </a:ext>
            </a:extLst>
          </p:cNvPr>
          <p:cNvGrpSpPr/>
          <p:nvPr userDrawn="1"/>
        </p:nvGrpSpPr>
        <p:grpSpPr>
          <a:xfrm>
            <a:off x="497856" y="5826615"/>
            <a:ext cx="3876004" cy="570195"/>
            <a:chOff x="498115" y="5951018"/>
            <a:chExt cx="3878023" cy="570195"/>
          </a:xfrm>
        </p:grpSpPr>
        <p:sp>
          <p:nvSpPr>
            <p:cNvPr id="168" name="Rectangle 167">
              <a:extLst>
                <a:ext uri="{FF2B5EF4-FFF2-40B4-BE49-F238E27FC236}">
                  <a16:creationId xmlns:a16="http://schemas.microsoft.com/office/drawing/2014/main" id="{A22049CA-64AE-409F-988D-A7317F8AD13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98115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/>
            </a:p>
          </p:txBody>
        </p:sp>
        <p:sp>
          <p:nvSpPr>
            <p:cNvPr id="169" name="Rectangle 6">
              <a:extLst>
                <a:ext uri="{FF2B5EF4-FFF2-40B4-BE49-F238E27FC236}">
                  <a16:creationId xmlns:a16="http://schemas.microsoft.com/office/drawing/2014/main" id="{E37A0A05-0A78-44A7-8873-0A1A20C8717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9341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/>
            </a:p>
          </p:txBody>
        </p:sp>
        <p:sp>
          <p:nvSpPr>
            <p:cNvPr id="170" name="Rectangle 7">
              <a:extLst>
                <a:ext uri="{FF2B5EF4-FFF2-40B4-BE49-F238E27FC236}">
                  <a16:creationId xmlns:a16="http://schemas.microsoft.com/office/drawing/2014/main" id="{0DEA0CBE-8527-4287-BF98-DA48947875F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9045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/>
            </a:p>
          </p:txBody>
        </p:sp>
        <p:sp>
          <p:nvSpPr>
            <p:cNvPr id="171" name="Freeform 8">
              <a:extLst>
                <a:ext uri="{FF2B5EF4-FFF2-40B4-BE49-F238E27FC236}">
                  <a16:creationId xmlns:a16="http://schemas.microsoft.com/office/drawing/2014/main" id="{444058C6-612A-446E-8F68-0E5CC4CFF36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181188"/>
              <a:ext cx="94161" cy="130778"/>
            </a:xfrm>
            <a:custGeom>
              <a:avLst/>
              <a:gdLst>
                <a:gd name="T0" fmla="*/ 32 w 54"/>
                <a:gd name="T1" fmla="*/ 11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1 h 75"/>
                <a:gd name="T8" fmla="*/ 0 w 54"/>
                <a:gd name="T9" fmla="*/ 11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1 h 75"/>
                <a:gd name="T16" fmla="*/ 32 w 54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1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1"/>
                  </a:lnTo>
                  <a:lnTo>
                    <a:pt x="32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172" name="Freeform 9">
              <a:extLst>
                <a:ext uri="{FF2B5EF4-FFF2-40B4-BE49-F238E27FC236}">
                  <a16:creationId xmlns:a16="http://schemas.microsoft.com/office/drawing/2014/main" id="{1011EC31-E0C3-404F-93B3-EFD3DADC11C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174213"/>
              <a:ext cx="78468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173" name="Freeform 10">
              <a:extLst>
                <a:ext uri="{FF2B5EF4-FFF2-40B4-BE49-F238E27FC236}">
                  <a16:creationId xmlns:a16="http://schemas.microsoft.com/office/drawing/2014/main" id="{3C9D076B-D88C-4089-8D58-9A31CFCDB02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174" name="Freeform 11">
              <a:extLst>
                <a:ext uri="{FF2B5EF4-FFF2-40B4-BE49-F238E27FC236}">
                  <a16:creationId xmlns:a16="http://schemas.microsoft.com/office/drawing/2014/main" id="{29DB43AC-B765-4ECB-B483-562473BD4A3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174213"/>
              <a:ext cx="83698" cy="139497"/>
            </a:xfrm>
            <a:custGeom>
              <a:avLst/>
              <a:gdLst>
                <a:gd name="T0" fmla="*/ 33 w 33"/>
                <a:gd name="T1" fmla="*/ 35 h 55"/>
                <a:gd name="T2" fmla="*/ 31 w 33"/>
                <a:gd name="T3" fmla="*/ 44 h 55"/>
                <a:gd name="T4" fmla="*/ 28 w 33"/>
                <a:gd name="T5" fmla="*/ 50 h 55"/>
                <a:gd name="T6" fmla="*/ 23 w 33"/>
                <a:gd name="T7" fmla="*/ 53 h 55"/>
                <a:gd name="T8" fmla="*/ 17 w 33"/>
                <a:gd name="T9" fmla="*/ 55 h 55"/>
                <a:gd name="T10" fmla="*/ 12 w 33"/>
                <a:gd name="T11" fmla="*/ 53 h 55"/>
                <a:gd name="T12" fmla="*/ 8 w 33"/>
                <a:gd name="T13" fmla="*/ 50 h 55"/>
                <a:gd name="T14" fmla="*/ 8 w 33"/>
                <a:gd name="T15" fmla="*/ 54 h 55"/>
                <a:gd name="T16" fmla="*/ 0 w 33"/>
                <a:gd name="T17" fmla="*/ 54 h 55"/>
                <a:gd name="T18" fmla="*/ 0 w 33"/>
                <a:gd name="T19" fmla="*/ 4 h 55"/>
                <a:gd name="T20" fmla="*/ 8 w 33"/>
                <a:gd name="T21" fmla="*/ 0 h 55"/>
                <a:gd name="T22" fmla="*/ 8 w 33"/>
                <a:gd name="T23" fmla="*/ 19 h 55"/>
                <a:gd name="T24" fmla="*/ 10 w 33"/>
                <a:gd name="T25" fmla="*/ 17 h 55"/>
                <a:gd name="T26" fmla="*/ 12 w 33"/>
                <a:gd name="T27" fmla="*/ 16 h 55"/>
                <a:gd name="T28" fmla="*/ 14 w 33"/>
                <a:gd name="T29" fmla="*/ 15 h 55"/>
                <a:gd name="T30" fmla="*/ 18 w 33"/>
                <a:gd name="T31" fmla="*/ 15 h 55"/>
                <a:gd name="T32" fmla="*/ 24 w 33"/>
                <a:gd name="T33" fmla="*/ 16 h 55"/>
                <a:gd name="T34" fmla="*/ 28 w 33"/>
                <a:gd name="T35" fmla="*/ 19 h 55"/>
                <a:gd name="T36" fmla="*/ 31 w 33"/>
                <a:gd name="T37" fmla="*/ 26 h 55"/>
                <a:gd name="T38" fmla="*/ 33 w 33"/>
                <a:gd name="T39" fmla="*/ 35 h 55"/>
                <a:gd name="T40" fmla="*/ 25 w 33"/>
                <a:gd name="T41" fmla="*/ 35 h 55"/>
                <a:gd name="T42" fmla="*/ 23 w 33"/>
                <a:gd name="T43" fmla="*/ 25 h 55"/>
                <a:gd name="T44" fmla="*/ 16 w 33"/>
                <a:gd name="T45" fmla="*/ 22 h 55"/>
                <a:gd name="T46" fmla="*/ 14 w 33"/>
                <a:gd name="T47" fmla="*/ 22 h 55"/>
                <a:gd name="T48" fmla="*/ 11 w 33"/>
                <a:gd name="T49" fmla="*/ 23 h 55"/>
                <a:gd name="T50" fmla="*/ 9 w 33"/>
                <a:gd name="T51" fmla="*/ 25 h 55"/>
                <a:gd name="T52" fmla="*/ 8 w 33"/>
                <a:gd name="T53" fmla="*/ 26 h 55"/>
                <a:gd name="T54" fmla="*/ 8 w 33"/>
                <a:gd name="T55" fmla="*/ 43 h 55"/>
                <a:gd name="T56" fmla="*/ 9 w 33"/>
                <a:gd name="T57" fmla="*/ 44 h 55"/>
                <a:gd name="T58" fmla="*/ 11 w 33"/>
                <a:gd name="T59" fmla="*/ 46 h 55"/>
                <a:gd name="T60" fmla="*/ 14 w 33"/>
                <a:gd name="T61" fmla="*/ 47 h 55"/>
                <a:gd name="T62" fmla="*/ 17 w 33"/>
                <a:gd name="T63" fmla="*/ 48 h 55"/>
                <a:gd name="T64" fmla="*/ 23 w 33"/>
                <a:gd name="T65" fmla="*/ 45 h 55"/>
                <a:gd name="T66" fmla="*/ 25 w 33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5">
                  <a:moveTo>
                    <a:pt x="33" y="35"/>
                  </a:moveTo>
                  <a:cubicBezTo>
                    <a:pt x="33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7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6" y="55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8"/>
                    <a:pt x="10" y="17"/>
                  </a:cubicBezTo>
                  <a:cubicBezTo>
                    <a:pt x="11" y="17"/>
                    <a:pt x="11" y="16"/>
                    <a:pt x="12" y="16"/>
                  </a:cubicBezTo>
                  <a:cubicBezTo>
                    <a:pt x="13" y="16"/>
                    <a:pt x="13" y="15"/>
                    <a:pt x="14" y="15"/>
                  </a:cubicBezTo>
                  <a:cubicBezTo>
                    <a:pt x="15" y="15"/>
                    <a:pt x="16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30" y="21"/>
                    <a:pt x="31" y="23"/>
                    <a:pt x="31" y="26"/>
                  </a:cubicBezTo>
                  <a:cubicBezTo>
                    <a:pt x="32" y="28"/>
                    <a:pt x="33" y="32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5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1" y="23"/>
                    <a:pt x="10" y="24"/>
                    <a:pt x="9" y="25"/>
                  </a:cubicBezTo>
                  <a:cubicBezTo>
                    <a:pt x="9" y="25"/>
                    <a:pt x="8" y="26"/>
                    <a:pt x="8" y="26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8" y="43"/>
                    <a:pt x="9" y="44"/>
                    <a:pt x="9" y="44"/>
                  </a:cubicBezTo>
                  <a:cubicBezTo>
                    <a:pt x="10" y="45"/>
                    <a:pt x="11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6" y="48"/>
                    <a:pt x="17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175" name="Freeform 12">
              <a:extLst>
                <a:ext uri="{FF2B5EF4-FFF2-40B4-BE49-F238E27FC236}">
                  <a16:creationId xmlns:a16="http://schemas.microsoft.com/office/drawing/2014/main" id="{AF1DE1B8-EA4B-4A98-A97D-BA5EEA42B19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176" name="Freeform 13">
              <a:extLst>
                <a:ext uri="{FF2B5EF4-FFF2-40B4-BE49-F238E27FC236}">
                  <a16:creationId xmlns:a16="http://schemas.microsoft.com/office/drawing/2014/main" id="{F8F60B79-7AF5-4C5E-A5EF-126F117D591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1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2" y="54"/>
                    <a:pt x="11" y="54"/>
                  </a:cubicBezTo>
                  <a:cubicBezTo>
                    <a:pt x="10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2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177" name="Freeform 14">
              <a:extLst>
                <a:ext uri="{FF2B5EF4-FFF2-40B4-BE49-F238E27FC236}">
                  <a16:creationId xmlns:a16="http://schemas.microsoft.com/office/drawing/2014/main" id="{0A0438AD-9937-4C25-AB9E-7F8C8CCA23F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178" name="Freeform 15">
              <a:extLst>
                <a:ext uri="{FF2B5EF4-FFF2-40B4-BE49-F238E27FC236}">
                  <a16:creationId xmlns:a16="http://schemas.microsoft.com/office/drawing/2014/main" id="{6FDE2726-7032-4BE4-A420-0ECF49A32A8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0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2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0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3" y="31"/>
                    <a:pt x="24" y="30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0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7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179" name="Freeform 16">
              <a:extLst>
                <a:ext uri="{FF2B5EF4-FFF2-40B4-BE49-F238E27FC236}">
                  <a16:creationId xmlns:a16="http://schemas.microsoft.com/office/drawing/2014/main" id="{50C22C21-F8DB-486D-9042-765D68AE3A7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212575"/>
              <a:ext cx="55799" cy="99391"/>
            </a:xfrm>
            <a:custGeom>
              <a:avLst/>
              <a:gdLst>
                <a:gd name="T0" fmla="*/ 20 w 22"/>
                <a:gd name="T1" fmla="*/ 8 h 39"/>
                <a:gd name="T2" fmla="*/ 18 w 22"/>
                <a:gd name="T3" fmla="*/ 7 h 39"/>
                <a:gd name="T4" fmla="*/ 15 w 22"/>
                <a:gd name="T5" fmla="*/ 7 h 39"/>
                <a:gd name="T6" fmla="*/ 9 w 22"/>
                <a:gd name="T7" fmla="*/ 9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0 h 39"/>
                <a:gd name="T16" fmla="*/ 7 w 22"/>
                <a:gd name="T17" fmla="*/ 0 h 39"/>
                <a:gd name="T18" fmla="*/ 7 w 22"/>
                <a:gd name="T19" fmla="*/ 4 h 39"/>
                <a:gd name="T20" fmla="*/ 9 w 22"/>
                <a:gd name="T21" fmla="*/ 2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0 h 39"/>
                <a:gd name="T30" fmla="*/ 22 w 22"/>
                <a:gd name="T31" fmla="*/ 1 h 39"/>
                <a:gd name="T32" fmla="*/ 20 w 22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2" y="7"/>
                    <a:pt x="10" y="8"/>
                    <a:pt x="9" y="9"/>
                  </a:cubicBezTo>
                  <a:cubicBezTo>
                    <a:pt x="8" y="11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9" y="2"/>
                    <a:pt x="10" y="1"/>
                    <a:pt x="11" y="1"/>
                  </a:cubicBezTo>
                  <a:cubicBezTo>
                    <a:pt x="11" y="0"/>
                    <a:pt x="12" y="0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0"/>
                  </a:cubicBezTo>
                  <a:cubicBezTo>
                    <a:pt x="21" y="0"/>
                    <a:pt x="22" y="1"/>
                    <a:pt x="22" y="1"/>
                  </a:cubicBezTo>
                  <a:lnTo>
                    <a:pt x="20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180" name="Freeform 17">
              <a:extLst>
                <a:ext uri="{FF2B5EF4-FFF2-40B4-BE49-F238E27FC236}">
                  <a16:creationId xmlns:a16="http://schemas.microsoft.com/office/drawing/2014/main" id="{7F763F72-BB8F-482C-9FDA-40EDD6EE5F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181" name="Freeform 18">
              <a:extLst>
                <a:ext uri="{FF2B5EF4-FFF2-40B4-BE49-F238E27FC236}">
                  <a16:creationId xmlns:a16="http://schemas.microsoft.com/office/drawing/2014/main" id="{710F466C-6BEC-4970-9707-40D8002740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2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8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9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182" name="Freeform 19">
              <a:extLst>
                <a:ext uri="{FF2B5EF4-FFF2-40B4-BE49-F238E27FC236}">
                  <a16:creationId xmlns:a16="http://schemas.microsoft.com/office/drawing/2014/main" id="{3332407D-F423-41B2-985F-8A4482C61D9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183" name="Freeform 20">
              <a:extLst>
                <a:ext uri="{FF2B5EF4-FFF2-40B4-BE49-F238E27FC236}">
                  <a16:creationId xmlns:a16="http://schemas.microsoft.com/office/drawing/2014/main" id="{44E3286F-1188-47B1-8B46-3498795DF2D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30922" y="6212575"/>
              <a:ext cx="80211" cy="134265"/>
            </a:xfrm>
            <a:custGeom>
              <a:avLst/>
              <a:gdLst>
                <a:gd name="T0" fmla="*/ 25 w 32"/>
                <a:gd name="T1" fmla="*/ 53 h 53"/>
                <a:gd name="T2" fmla="*/ 25 w 32"/>
                <a:gd name="T3" fmla="*/ 35 h 53"/>
                <a:gd name="T4" fmla="*/ 20 w 32"/>
                <a:gd name="T5" fmla="*/ 38 h 53"/>
                <a:gd name="T6" fmla="*/ 15 w 32"/>
                <a:gd name="T7" fmla="*/ 40 h 53"/>
                <a:gd name="T8" fmla="*/ 9 w 32"/>
                <a:gd name="T9" fmla="*/ 38 h 53"/>
                <a:gd name="T10" fmla="*/ 4 w 32"/>
                <a:gd name="T11" fmla="*/ 35 h 53"/>
                <a:gd name="T12" fmla="*/ 1 w 32"/>
                <a:gd name="T13" fmla="*/ 28 h 53"/>
                <a:gd name="T14" fmla="*/ 0 w 32"/>
                <a:gd name="T15" fmla="*/ 19 h 53"/>
                <a:gd name="T16" fmla="*/ 1 w 32"/>
                <a:gd name="T17" fmla="*/ 10 h 53"/>
                <a:gd name="T18" fmla="*/ 4 w 32"/>
                <a:gd name="T19" fmla="*/ 4 h 53"/>
                <a:gd name="T20" fmla="*/ 9 w 32"/>
                <a:gd name="T21" fmla="*/ 1 h 53"/>
                <a:gd name="T22" fmla="*/ 15 w 32"/>
                <a:gd name="T23" fmla="*/ 0 h 53"/>
                <a:gd name="T24" fmla="*/ 18 w 32"/>
                <a:gd name="T25" fmla="*/ 0 h 53"/>
                <a:gd name="T26" fmla="*/ 20 w 32"/>
                <a:gd name="T27" fmla="*/ 1 h 53"/>
                <a:gd name="T28" fmla="*/ 23 w 32"/>
                <a:gd name="T29" fmla="*/ 2 h 53"/>
                <a:gd name="T30" fmla="*/ 25 w 32"/>
                <a:gd name="T31" fmla="*/ 4 h 53"/>
                <a:gd name="T32" fmla="*/ 25 w 32"/>
                <a:gd name="T33" fmla="*/ 0 h 53"/>
                <a:gd name="T34" fmla="*/ 32 w 32"/>
                <a:gd name="T35" fmla="*/ 0 h 53"/>
                <a:gd name="T36" fmla="*/ 32 w 32"/>
                <a:gd name="T37" fmla="*/ 49 h 53"/>
                <a:gd name="T38" fmla="*/ 25 w 32"/>
                <a:gd name="T39" fmla="*/ 53 h 53"/>
                <a:gd name="T40" fmla="*/ 25 w 32"/>
                <a:gd name="T41" fmla="*/ 12 h 53"/>
                <a:gd name="T42" fmla="*/ 23 w 32"/>
                <a:gd name="T43" fmla="*/ 10 h 53"/>
                <a:gd name="T44" fmla="*/ 21 w 32"/>
                <a:gd name="T45" fmla="*/ 8 h 53"/>
                <a:gd name="T46" fmla="*/ 18 w 32"/>
                <a:gd name="T47" fmla="*/ 7 h 53"/>
                <a:gd name="T48" fmla="*/ 16 w 32"/>
                <a:gd name="T49" fmla="*/ 7 h 53"/>
                <a:gd name="T50" fmla="*/ 9 w 32"/>
                <a:gd name="T51" fmla="*/ 10 h 53"/>
                <a:gd name="T52" fmla="*/ 7 w 32"/>
                <a:gd name="T53" fmla="*/ 19 h 53"/>
                <a:gd name="T54" fmla="*/ 10 w 32"/>
                <a:gd name="T55" fmla="*/ 29 h 53"/>
                <a:gd name="T56" fmla="*/ 16 w 32"/>
                <a:gd name="T57" fmla="*/ 33 h 53"/>
                <a:gd name="T58" fmla="*/ 21 w 32"/>
                <a:gd name="T59" fmla="*/ 31 h 53"/>
                <a:gd name="T60" fmla="*/ 25 w 32"/>
                <a:gd name="T61" fmla="*/ 28 h 53"/>
                <a:gd name="T62" fmla="*/ 25 w 32"/>
                <a:gd name="T63" fmla="*/ 1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2" h="53">
                  <a:moveTo>
                    <a:pt x="25" y="53"/>
                  </a:moveTo>
                  <a:cubicBezTo>
                    <a:pt x="25" y="35"/>
                    <a:pt x="25" y="35"/>
                    <a:pt x="25" y="35"/>
                  </a:cubicBezTo>
                  <a:cubicBezTo>
                    <a:pt x="23" y="36"/>
                    <a:pt x="22" y="37"/>
                    <a:pt x="20" y="38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3" y="40"/>
                    <a:pt x="11" y="39"/>
                    <a:pt x="9" y="38"/>
                  </a:cubicBezTo>
                  <a:cubicBezTo>
                    <a:pt x="7" y="38"/>
                    <a:pt x="5" y="36"/>
                    <a:pt x="4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0" y="26"/>
                    <a:pt x="0" y="23"/>
                    <a:pt x="0" y="19"/>
                  </a:cubicBezTo>
                  <a:cubicBezTo>
                    <a:pt x="0" y="16"/>
                    <a:pt x="0" y="13"/>
                    <a:pt x="1" y="10"/>
                  </a:cubicBezTo>
                  <a:cubicBezTo>
                    <a:pt x="2" y="8"/>
                    <a:pt x="3" y="6"/>
                    <a:pt x="4" y="4"/>
                  </a:cubicBezTo>
                  <a:cubicBezTo>
                    <a:pt x="6" y="3"/>
                    <a:pt x="7" y="2"/>
                    <a:pt x="9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6" y="0"/>
                    <a:pt x="17" y="0"/>
                    <a:pt x="18" y="0"/>
                  </a:cubicBezTo>
                  <a:cubicBezTo>
                    <a:pt x="19" y="0"/>
                    <a:pt x="20" y="0"/>
                    <a:pt x="20" y="1"/>
                  </a:cubicBezTo>
                  <a:cubicBezTo>
                    <a:pt x="21" y="1"/>
                    <a:pt x="22" y="2"/>
                    <a:pt x="23" y="2"/>
                  </a:cubicBezTo>
                  <a:cubicBezTo>
                    <a:pt x="23" y="3"/>
                    <a:pt x="24" y="3"/>
                    <a:pt x="25" y="4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49"/>
                    <a:pt x="32" y="49"/>
                    <a:pt x="32" y="49"/>
                  </a:cubicBezTo>
                  <a:lnTo>
                    <a:pt x="25" y="53"/>
                  </a:lnTo>
                  <a:close/>
                  <a:moveTo>
                    <a:pt x="25" y="12"/>
                  </a:moveTo>
                  <a:cubicBezTo>
                    <a:pt x="24" y="11"/>
                    <a:pt x="24" y="10"/>
                    <a:pt x="23" y="10"/>
                  </a:cubicBezTo>
                  <a:cubicBezTo>
                    <a:pt x="23" y="9"/>
                    <a:pt x="22" y="9"/>
                    <a:pt x="21" y="8"/>
                  </a:cubicBezTo>
                  <a:cubicBezTo>
                    <a:pt x="20" y="8"/>
                    <a:pt x="19" y="7"/>
                    <a:pt x="18" y="7"/>
                  </a:cubicBezTo>
                  <a:cubicBezTo>
                    <a:pt x="18" y="7"/>
                    <a:pt x="17" y="7"/>
                    <a:pt x="16" y="7"/>
                  </a:cubicBezTo>
                  <a:cubicBezTo>
                    <a:pt x="13" y="7"/>
                    <a:pt x="11" y="8"/>
                    <a:pt x="9" y="10"/>
                  </a:cubicBezTo>
                  <a:cubicBezTo>
                    <a:pt x="8" y="12"/>
                    <a:pt x="7" y="15"/>
                    <a:pt x="7" y="19"/>
                  </a:cubicBezTo>
                  <a:cubicBezTo>
                    <a:pt x="7" y="23"/>
                    <a:pt x="8" y="27"/>
                    <a:pt x="10" y="29"/>
                  </a:cubicBezTo>
                  <a:cubicBezTo>
                    <a:pt x="11" y="31"/>
                    <a:pt x="13" y="33"/>
                    <a:pt x="16" y="33"/>
                  </a:cubicBezTo>
                  <a:cubicBezTo>
                    <a:pt x="18" y="33"/>
                    <a:pt x="19" y="32"/>
                    <a:pt x="21" y="31"/>
                  </a:cubicBezTo>
                  <a:cubicBezTo>
                    <a:pt x="22" y="30"/>
                    <a:pt x="24" y="29"/>
                    <a:pt x="25" y="28"/>
                  </a:cubicBezTo>
                  <a:lnTo>
                    <a:pt x="25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184" name="Freeform 21">
              <a:extLst>
                <a:ext uri="{FF2B5EF4-FFF2-40B4-BE49-F238E27FC236}">
                  <a16:creationId xmlns:a16="http://schemas.microsoft.com/office/drawing/2014/main" id="{E7BD9E0B-920A-4409-95E7-40A47107B3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35545" y="6212575"/>
              <a:ext cx="78468" cy="101135"/>
            </a:xfrm>
            <a:custGeom>
              <a:avLst/>
              <a:gdLst>
                <a:gd name="T0" fmla="*/ 24 w 31"/>
                <a:gd name="T1" fmla="*/ 39 h 40"/>
                <a:gd name="T2" fmla="*/ 24 w 31"/>
                <a:gd name="T3" fmla="*/ 35 h 40"/>
                <a:gd name="T4" fmla="*/ 20 w 31"/>
                <a:gd name="T5" fmla="*/ 38 h 40"/>
                <a:gd name="T6" fmla="*/ 14 w 31"/>
                <a:gd name="T7" fmla="*/ 40 h 40"/>
                <a:gd name="T8" fmla="*/ 4 w 31"/>
                <a:gd name="T9" fmla="*/ 35 h 40"/>
                <a:gd name="T10" fmla="*/ 0 w 31"/>
                <a:gd name="T11" fmla="*/ 22 h 40"/>
                <a:gd name="T12" fmla="*/ 0 w 31"/>
                <a:gd name="T13" fmla="*/ 0 h 40"/>
                <a:gd name="T14" fmla="*/ 8 w 31"/>
                <a:gd name="T15" fmla="*/ 0 h 40"/>
                <a:gd name="T16" fmla="*/ 8 w 31"/>
                <a:gd name="T17" fmla="*/ 22 h 40"/>
                <a:gd name="T18" fmla="*/ 10 w 31"/>
                <a:gd name="T19" fmla="*/ 30 h 40"/>
                <a:gd name="T20" fmla="*/ 16 w 31"/>
                <a:gd name="T21" fmla="*/ 33 h 40"/>
                <a:gd name="T22" fmla="*/ 22 w 31"/>
                <a:gd name="T23" fmla="*/ 30 h 40"/>
                <a:gd name="T24" fmla="*/ 24 w 31"/>
                <a:gd name="T25" fmla="*/ 23 h 40"/>
                <a:gd name="T26" fmla="*/ 24 w 31"/>
                <a:gd name="T27" fmla="*/ 0 h 40"/>
                <a:gd name="T28" fmla="*/ 31 w 31"/>
                <a:gd name="T29" fmla="*/ 0 h 40"/>
                <a:gd name="T30" fmla="*/ 31 w 31"/>
                <a:gd name="T31" fmla="*/ 39 h 40"/>
                <a:gd name="T32" fmla="*/ 24 w 31"/>
                <a:gd name="T33" fmla="*/ 39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1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2" y="38"/>
                    <a:pt x="20" y="38"/>
                  </a:cubicBezTo>
                  <a:cubicBezTo>
                    <a:pt x="18" y="39"/>
                    <a:pt x="16" y="40"/>
                    <a:pt x="14" y="40"/>
                  </a:cubicBezTo>
                  <a:cubicBezTo>
                    <a:pt x="10" y="40"/>
                    <a:pt x="6" y="38"/>
                    <a:pt x="4" y="35"/>
                  </a:cubicBezTo>
                  <a:cubicBezTo>
                    <a:pt x="2" y="32"/>
                    <a:pt x="0" y="28"/>
                    <a:pt x="0" y="2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6"/>
                    <a:pt x="9" y="28"/>
                    <a:pt x="10" y="30"/>
                  </a:cubicBezTo>
                  <a:cubicBezTo>
                    <a:pt x="11" y="32"/>
                    <a:pt x="13" y="33"/>
                    <a:pt x="16" y="33"/>
                  </a:cubicBezTo>
                  <a:cubicBezTo>
                    <a:pt x="18" y="33"/>
                    <a:pt x="20" y="32"/>
                    <a:pt x="22" y="30"/>
                  </a:cubicBezTo>
                  <a:cubicBezTo>
                    <a:pt x="23" y="28"/>
                    <a:pt x="24" y="26"/>
                    <a:pt x="24" y="23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4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185" name="Freeform 22">
              <a:extLst>
                <a:ext uri="{FF2B5EF4-FFF2-40B4-BE49-F238E27FC236}">
                  <a16:creationId xmlns:a16="http://schemas.microsoft.com/office/drawing/2014/main" id="{9D2625B8-0A5B-46EF-8302-77353AB0D3A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93493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1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2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186" name="Freeform 23">
              <a:extLst>
                <a:ext uri="{FF2B5EF4-FFF2-40B4-BE49-F238E27FC236}">
                  <a16:creationId xmlns:a16="http://schemas.microsoft.com/office/drawing/2014/main" id="{DE6C9E0E-C49B-4FBE-97F3-BB6DFAC5742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30841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1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4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7 w 29"/>
                <a:gd name="T55" fmla="*/ 24 h 40"/>
                <a:gd name="T56" fmla="*/ 13 w 29"/>
                <a:gd name="T57" fmla="*/ 22 h 40"/>
                <a:gd name="T58" fmla="*/ 8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2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3" y="6"/>
                    <a:pt x="11" y="7"/>
                    <a:pt x="10" y="7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1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9" y="25"/>
                    <a:pt x="18" y="24"/>
                    <a:pt x="17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8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3" y="15"/>
                    <a:pt x="2" y="14"/>
                  </a:cubicBezTo>
                  <a:cubicBezTo>
                    <a:pt x="2" y="13"/>
                    <a:pt x="2" y="12"/>
                    <a:pt x="2" y="10"/>
                  </a:cubicBezTo>
                  <a:cubicBezTo>
                    <a:pt x="2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187" name="Freeform 24">
              <a:extLst>
                <a:ext uri="{FF2B5EF4-FFF2-40B4-BE49-F238E27FC236}">
                  <a16:creationId xmlns:a16="http://schemas.microsoft.com/office/drawing/2014/main" id="{580801ED-9260-41DB-A0B7-5AF24B32272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1802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188" name="Freeform 25">
              <a:extLst>
                <a:ext uri="{FF2B5EF4-FFF2-40B4-BE49-F238E27FC236}">
                  <a16:creationId xmlns:a16="http://schemas.microsoft.com/office/drawing/2014/main" id="{3A9842FB-6E95-4D11-B5B9-58C4CB82C2F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194750" y="6175958"/>
              <a:ext cx="24412" cy="136010"/>
            </a:xfrm>
            <a:custGeom>
              <a:avLst/>
              <a:gdLst>
                <a:gd name="T0" fmla="*/ 10 w 10"/>
                <a:gd name="T1" fmla="*/ 5 h 53"/>
                <a:gd name="T2" fmla="*/ 9 w 10"/>
                <a:gd name="T3" fmla="*/ 6 h 53"/>
                <a:gd name="T4" fmla="*/ 8 w 10"/>
                <a:gd name="T5" fmla="*/ 8 h 53"/>
                <a:gd name="T6" fmla="*/ 7 w 10"/>
                <a:gd name="T7" fmla="*/ 9 h 53"/>
                <a:gd name="T8" fmla="*/ 5 w 10"/>
                <a:gd name="T9" fmla="*/ 9 h 53"/>
                <a:gd name="T10" fmla="*/ 3 w 10"/>
                <a:gd name="T11" fmla="*/ 9 h 53"/>
                <a:gd name="T12" fmla="*/ 1 w 10"/>
                <a:gd name="T13" fmla="*/ 8 h 53"/>
                <a:gd name="T14" fmla="*/ 0 w 10"/>
                <a:gd name="T15" fmla="*/ 6 h 53"/>
                <a:gd name="T16" fmla="*/ 0 w 10"/>
                <a:gd name="T17" fmla="*/ 5 h 53"/>
                <a:gd name="T18" fmla="*/ 0 w 10"/>
                <a:gd name="T19" fmla="*/ 3 h 53"/>
                <a:gd name="T20" fmla="*/ 1 w 10"/>
                <a:gd name="T21" fmla="*/ 1 h 53"/>
                <a:gd name="T22" fmla="*/ 3 w 10"/>
                <a:gd name="T23" fmla="*/ 0 h 53"/>
                <a:gd name="T24" fmla="*/ 5 w 10"/>
                <a:gd name="T25" fmla="*/ 0 h 53"/>
                <a:gd name="T26" fmla="*/ 7 w 10"/>
                <a:gd name="T27" fmla="*/ 0 h 53"/>
                <a:gd name="T28" fmla="*/ 8 w 10"/>
                <a:gd name="T29" fmla="*/ 1 h 53"/>
                <a:gd name="T30" fmla="*/ 9 w 10"/>
                <a:gd name="T31" fmla="*/ 3 h 53"/>
                <a:gd name="T32" fmla="*/ 10 w 10"/>
                <a:gd name="T33" fmla="*/ 5 h 53"/>
                <a:gd name="T34" fmla="*/ 1 w 10"/>
                <a:gd name="T35" fmla="*/ 53 h 53"/>
                <a:gd name="T36" fmla="*/ 1 w 10"/>
                <a:gd name="T37" fmla="*/ 14 h 53"/>
                <a:gd name="T38" fmla="*/ 9 w 10"/>
                <a:gd name="T39" fmla="*/ 14 h 53"/>
                <a:gd name="T40" fmla="*/ 9 w 10"/>
                <a:gd name="T41" fmla="*/ 53 h 53"/>
                <a:gd name="T42" fmla="*/ 1 w 10"/>
                <a:gd name="T43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" h="53">
                  <a:moveTo>
                    <a:pt x="10" y="5"/>
                  </a:moveTo>
                  <a:cubicBezTo>
                    <a:pt x="10" y="5"/>
                    <a:pt x="10" y="6"/>
                    <a:pt x="9" y="6"/>
                  </a:cubicBezTo>
                  <a:cubicBezTo>
                    <a:pt x="9" y="7"/>
                    <a:pt x="9" y="8"/>
                    <a:pt x="8" y="8"/>
                  </a:cubicBezTo>
                  <a:cubicBezTo>
                    <a:pt x="8" y="8"/>
                    <a:pt x="7" y="9"/>
                    <a:pt x="7" y="9"/>
                  </a:cubicBezTo>
                  <a:cubicBezTo>
                    <a:pt x="6" y="9"/>
                    <a:pt x="6" y="9"/>
                    <a:pt x="5" y="9"/>
                  </a:cubicBezTo>
                  <a:cubicBezTo>
                    <a:pt x="4" y="9"/>
                    <a:pt x="4" y="9"/>
                    <a:pt x="3" y="9"/>
                  </a:cubicBezTo>
                  <a:cubicBezTo>
                    <a:pt x="2" y="9"/>
                    <a:pt x="2" y="8"/>
                    <a:pt x="1" y="8"/>
                  </a:cubicBezTo>
                  <a:cubicBezTo>
                    <a:pt x="1" y="8"/>
                    <a:pt x="1" y="7"/>
                    <a:pt x="0" y="6"/>
                  </a:cubicBezTo>
                  <a:cubicBezTo>
                    <a:pt x="0" y="6"/>
                    <a:pt x="0" y="5"/>
                    <a:pt x="0" y="5"/>
                  </a:cubicBezTo>
                  <a:cubicBezTo>
                    <a:pt x="0" y="4"/>
                    <a:pt x="0" y="3"/>
                    <a:pt x="0" y="3"/>
                  </a:cubicBezTo>
                  <a:cubicBezTo>
                    <a:pt x="1" y="2"/>
                    <a:pt x="1" y="2"/>
                    <a:pt x="1" y="1"/>
                  </a:cubicBezTo>
                  <a:cubicBezTo>
                    <a:pt x="2" y="1"/>
                    <a:pt x="2" y="0"/>
                    <a:pt x="3" y="0"/>
                  </a:cubicBezTo>
                  <a:cubicBezTo>
                    <a:pt x="4" y="0"/>
                    <a:pt x="4" y="0"/>
                    <a:pt x="5" y="0"/>
                  </a:cubicBezTo>
                  <a:cubicBezTo>
                    <a:pt x="6" y="0"/>
                    <a:pt x="6" y="0"/>
                    <a:pt x="7" y="0"/>
                  </a:cubicBezTo>
                  <a:cubicBezTo>
                    <a:pt x="7" y="0"/>
                    <a:pt x="8" y="1"/>
                    <a:pt x="8" y="1"/>
                  </a:cubicBezTo>
                  <a:cubicBezTo>
                    <a:pt x="9" y="2"/>
                    <a:pt x="9" y="2"/>
                    <a:pt x="9" y="3"/>
                  </a:cubicBezTo>
                  <a:cubicBezTo>
                    <a:pt x="10" y="3"/>
                    <a:pt x="10" y="4"/>
                    <a:pt x="10" y="5"/>
                  </a:cubicBezTo>
                  <a:close/>
                  <a:moveTo>
                    <a:pt x="1" y="53"/>
                  </a:moveTo>
                  <a:cubicBezTo>
                    <a:pt x="1" y="14"/>
                    <a:pt x="1" y="14"/>
                    <a:pt x="1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53"/>
                    <a:pt x="9" y="53"/>
                    <a:pt x="9" y="53"/>
                  </a:cubicBezTo>
                  <a:lnTo>
                    <a:pt x="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189" name="Freeform 26">
              <a:extLst>
                <a:ext uri="{FF2B5EF4-FFF2-40B4-BE49-F238E27FC236}">
                  <a16:creationId xmlns:a16="http://schemas.microsoft.com/office/drawing/2014/main" id="{076538BB-C266-42BE-916B-458AF9EFB22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236599" y="6212575"/>
              <a:ext cx="87186" cy="101135"/>
            </a:xfrm>
            <a:custGeom>
              <a:avLst/>
              <a:gdLst>
                <a:gd name="T0" fmla="*/ 34 w 34"/>
                <a:gd name="T1" fmla="*/ 19 h 40"/>
                <a:gd name="T2" fmla="*/ 33 w 34"/>
                <a:gd name="T3" fmla="*/ 28 h 40"/>
                <a:gd name="T4" fmla="*/ 29 w 34"/>
                <a:gd name="T5" fmla="*/ 34 h 40"/>
                <a:gd name="T6" fmla="*/ 24 w 34"/>
                <a:gd name="T7" fmla="*/ 38 h 40"/>
                <a:gd name="T8" fmla="*/ 17 w 34"/>
                <a:gd name="T9" fmla="*/ 40 h 40"/>
                <a:gd name="T10" fmla="*/ 10 w 34"/>
                <a:gd name="T11" fmla="*/ 38 h 40"/>
                <a:gd name="T12" fmla="*/ 5 w 34"/>
                <a:gd name="T13" fmla="*/ 34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1 h 40"/>
                <a:gd name="T20" fmla="*/ 5 w 34"/>
                <a:gd name="T21" fmla="*/ 5 h 40"/>
                <a:gd name="T22" fmla="*/ 10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1 h 40"/>
                <a:gd name="T32" fmla="*/ 34 w 34"/>
                <a:gd name="T33" fmla="*/ 19 h 40"/>
                <a:gd name="T34" fmla="*/ 26 w 34"/>
                <a:gd name="T35" fmla="*/ 20 h 40"/>
                <a:gd name="T36" fmla="*/ 26 w 34"/>
                <a:gd name="T37" fmla="*/ 14 h 40"/>
                <a:gd name="T38" fmla="*/ 24 w 34"/>
                <a:gd name="T39" fmla="*/ 10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0 h 40"/>
                <a:gd name="T48" fmla="*/ 8 w 34"/>
                <a:gd name="T49" fmla="*/ 14 h 40"/>
                <a:gd name="T50" fmla="*/ 7 w 34"/>
                <a:gd name="T51" fmla="*/ 19 h 40"/>
                <a:gd name="T52" fmla="*/ 8 w 34"/>
                <a:gd name="T53" fmla="*/ 25 h 40"/>
                <a:gd name="T54" fmla="*/ 10 w 34"/>
                <a:gd name="T55" fmla="*/ 29 h 40"/>
                <a:gd name="T56" fmla="*/ 13 w 34"/>
                <a:gd name="T57" fmla="*/ 32 h 40"/>
                <a:gd name="T58" fmla="*/ 17 w 34"/>
                <a:gd name="T59" fmla="*/ 32 h 40"/>
                <a:gd name="T60" fmla="*/ 21 w 34"/>
                <a:gd name="T61" fmla="*/ 31 h 40"/>
                <a:gd name="T62" fmla="*/ 24 w 34"/>
                <a:gd name="T63" fmla="*/ 29 h 40"/>
                <a:gd name="T64" fmla="*/ 26 w 34"/>
                <a:gd name="T65" fmla="*/ 25 h 40"/>
                <a:gd name="T66" fmla="*/ 26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19"/>
                  </a:moveTo>
                  <a:cubicBezTo>
                    <a:pt x="34" y="23"/>
                    <a:pt x="34" y="25"/>
                    <a:pt x="33" y="28"/>
                  </a:cubicBezTo>
                  <a:cubicBezTo>
                    <a:pt x="32" y="30"/>
                    <a:pt x="31" y="33"/>
                    <a:pt x="29" y="34"/>
                  </a:cubicBezTo>
                  <a:cubicBezTo>
                    <a:pt x="28" y="36"/>
                    <a:pt x="26" y="37"/>
                    <a:pt x="24" y="38"/>
                  </a:cubicBezTo>
                  <a:cubicBezTo>
                    <a:pt x="21" y="39"/>
                    <a:pt x="19" y="40"/>
                    <a:pt x="17" y="40"/>
                  </a:cubicBezTo>
                  <a:cubicBezTo>
                    <a:pt x="14" y="40"/>
                    <a:pt x="12" y="39"/>
                    <a:pt x="10" y="38"/>
                  </a:cubicBezTo>
                  <a:cubicBezTo>
                    <a:pt x="8" y="37"/>
                    <a:pt x="6" y="36"/>
                    <a:pt x="5" y="34"/>
                  </a:cubicBezTo>
                  <a:cubicBezTo>
                    <a:pt x="3" y="32"/>
                    <a:pt x="2" y="30"/>
                    <a:pt x="1" y="28"/>
                  </a:cubicBezTo>
                  <a:cubicBezTo>
                    <a:pt x="0" y="25"/>
                    <a:pt x="0" y="23"/>
                    <a:pt x="0" y="20"/>
                  </a:cubicBezTo>
                  <a:cubicBezTo>
                    <a:pt x="0" y="16"/>
                    <a:pt x="0" y="14"/>
                    <a:pt x="1" y="11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8" y="3"/>
                    <a:pt x="29" y="5"/>
                  </a:cubicBezTo>
                  <a:cubicBezTo>
                    <a:pt x="31" y="7"/>
                    <a:pt x="32" y="9"/>
                    <a:pt x="33" y="11"/>
                  </a:cubicBezTo>
                  <a:cubicBezTo>
                    <a:pt x="34" y="14"/>
                    <a:pt x="34" y="16"/>
                    <a:pt x="34" y="19"/>
                  </a:cubicBezTo>
                  <a:close/>
                  <a:moveTo>
                    <a:pt x="26" y="20"/>
                  </a:moveTo>
                  <a:cubicBezTo>
                    <a:pt x="26" y="18"/>
                    <a:pt x="26" y="16"/>
                    <a:pt x="26" y="14"/>
                  </a:cubicBezTo>
                  <a:cubicBezTo>
                    <a:pt x="25" y="13"/>
                    <a:pt x="25" y="11"/>
                    <a:pt x="24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19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11"/>
                    <a:pt x="8" y="13"/>
                    <a:pt x="8" y="14"/>
                  </a:cubicBezTo>
                  <a:cubicBezTo>
                    <a:pt x="8" y="16"/>
                    <a:pt x="7" y="17"/>
                    <a:pt x="7" y="19"/>
                  </a:cubicBezTo>
                  <a:cubicBezTo>
                    <a:pt x="7" y="21"/>
                    <a:pt x="8" y="23"/>
                    <a:pt x="8" y="25"/>
                  </a:cubicBezTo>
                  <a:cubicBezTo>
                    <a:pt x="9" y="27"/>
                    <a:pt x="9" y="28"/>
                    <a:pt x="10" y="29"/>
                  </a:cubicBezTo>
                  <a:cubicBezTo>
                    <a:pt x="11" y="30"/>
                    <a:pt x="12" y="31"/>
                    <a:pt x="13" y="32"/>
                  </a:cubicBezTo>
                  <a:cubicBezTo>
                    <a:pt x="14" y="32"/>
                    <a:pt x="16" y="32"/>
                    <a:pt x="17" y="32"/>
                  </a:cubicBezTo>
                  <a:cubicBezTo>
                    <a:pt x="18" y="32"/>
                    <a:pt x="20" y="32"/>
                    <a:pt x="21" y="31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7"/>
                    <a:pt x="25" y="26"/>
                    <a:pt x="26" y="25"/>
                  </a:cubicBezTo>
                  <a:cubicBezTo>
                    <a:pt x="26" y="23"/>
                    <a:pt x="26" y="21"/>
                    <a:pt x="26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190" name="Freeform 27">
              <a:extLst>
                <a:ext uri="{FF2B5EF4-FFF2-40B4-BE49-F238E27FC236}">
                  <a16:creationId xmlns:a16="http://schemas.microsoft.com/office/drawing/2014/main" id="{A7C95C0F-A1E9-46B5-B9DB-284F35C7280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44710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1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9 w 31"/>
                <a:gd name="T11" fmla="*/ 9 h 39"/>
                <a:gd name="T12" fmla="*/ 8 w 31"/>
                <a:gd name="T13" fmla="*/ 12 h 39"/>
                <a:gd name="T14" fmla="*/ 7 w 31"/>
                <a:gd name="T15" fmla="*/ 16 h 39"/>
                <a:gd name="T16" fmla="*/ 7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7 w 31"/>
                <a:gd name="T23" fmla="*/ 0 h 39"/>
                <a:gd name="T24" fmla="*/ 7 w 31"/>
                <a:gd name="T25" fmla="*/ 4 h 39"/>
                <a:gd name="T26" fmla="*/ 9 w 31"/>
                <a:gd name="T27" fmla="*/ 2 h 39"/>
                <a:gd name="T28" fmla="*/ 11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7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1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9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7" y="15"/>
                    <a:pt x="7" y="16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9" y="0"/>
                    <a:pt x="21" y="0"/>
                    <a:pt x="23" y="1"/>
                  </a:cubicBezTo>
                  <a:cubicBezTo>
                    <a:pt x="25" y="1"/>
                    <a:pt x="26" y="2"/>
                    <a:pt x="27" y="4"/>
                  </a:cubicBezTo>
                  <a:cubicBezTo>
                    <a:pt x="28" y="5"/>
                    <a:pt x="29" y="7"/>
                    <a:pt x="30" y="9"/>
                  </a:cubicBezTo>
                  <a:cubicBezTo>
                    <a:pt x="30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191" name="Freeform 28">
              <a:extLst>
                <a:ext uri="{FF2B5EF4-FFF2-40B4-BE49-F238E27FC236}">
                  <a16:creationId xmlns:a16="http://schemas.microsoft.com/office/drawing/2014/main" id="{BEEA6186-B2B9-4E5E-9631-B6332C7FDB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45845" y="6284068"/>
              <a:ext cx="31387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4 w 12"/>
                <a:gd name="T11" fmla="*/ 11 h 12"/>
                <a:gd name="T12" fmla="*/ 2 w 12"/>
                <a:gd name="T13" fmla="*/ 10 h 12"/>
                <a:gd name="T14" fmla="*/ 1 w 12"/>
                <a:gd name="T15" fmla="*/ 8 h 12"/>
                <a:gd name="T16" fmla="*/ 0 w 12"/>
                <a:gd name="T17" fmla="*/ 6 h 12"/>
                <a:gd name="T18" fmla="*/ 1 w 12"/>
                <a:gd name="T19" fmla="*/ 4 h 12"/>
                <a:gd name="T20" fmla="*/ 2 w 12"/>
                <a:gd name="T21" fmla="*/ 2 h 12"/>
                <a:gd name="T22" fmla="*/ 4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4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1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1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4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192" name="Freeform 29">
              <a:extLst>
                <a:ext uri="{FF2B5EF4-FFF2-40B4-BE49-F238E27FC236}">
                  <a16:creationId xmlns:a16="http://schemas.microsoft.com/office/drawing/2014/main" id="{E9B00A5D-BE04-4D7D-B4A2-204E2D0E04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0006" y="6181188"/>
              <a:ext cx="97648" cy="130778"/>
            </a:xfrm>
            <a:custGeom>
              <a:avLst/>
              <a:gdLst>
                <a:gd name="T0" fmla="*/ 34 w 56"/>
                <a:gd name="T1" fmla="*/ 11 h 75"/>
                <a:gd name="T2" fmla="*/ 34 w 56"/>
                <a:gd name="T3" fmla="*/ 75 h 75"/>
                <a:gd name="T4" fmla="*/ 22 w 56"/>
                <a:gd name="T5" fmla="*/ 75 h 75"/>
                <a:gd name="T6" fmla="*/ 22 w 56"/>
                <a:gd name="T7" fmla="*/ 11 h 75"/>
                <a:gd name="T8" fmla="*/ 0 w 56"/>
                <a:gd name="T9" fmla="*/ 11 h 75"/>
                <a:gd name="T10" fmla="*/ 0 w 56"/>
                <a:gd name="T11" fmla="*/ 0 h 75"/>
                <a:gd name="T12" fmla="*/ 56 w 56"/>
                <a:gd name="T13" fmla="*/ 0 h 75"/>
                <a:gd name="T14" fmla="*/ 56 w 56"/>
                <a:gd name="T15" fmla="*/ 11 h 75"/>
                <a:gd name="T16" fmla="*/ 34 w 56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6" h="75">
                  <a:moveTo>
                    <a:pt x="34" y="11"/>
                  </a:moveTo>
                  <a:lnTo>
                    <a:pt x="34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6" y="0"/>
                  </a:lnTo>
                  <a:lnTo>
                    <a:pt x="56" y="11"/>
                  </a:lnTo>
                  <a:lnTo>
                    <a:pt x="34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193" name="Freeform 30">
              <a:extLst>
                <a:ext uri="{FF2B5EF4-FFF2-40B4-BE49-F238E27FC236}">
                  <a16:creationId xmlns:a16="http://schemas.microsoft.com/office/drawing/2014/main" id="{72C85502-C007-49A3-A8AB-2BCC8C53945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51603" y="6174213"/>
              <a:ext cx="80211" cy="137753"/>
            </a:xfrm>
            <a:custGeom>
              <a:avLst/>
              <a:gdLst>
                <a:gd name="T0" fmla="*/ 24 w 31"/>
                <a:gd name="T1" fmla="*/ 54 h 54"/>
                <a:gd name="T2" fmla="*/ 24 w 31"/>
                <a:gd name="T3" fmla="*/ 32 h 54"/>
                <a:gd name="T4" fmla="*/ 22 w 31"/>
                <a:gd name="T5" fmla="*/ 24 h 54"/>
                <a:gd name="T6" fmla="*/ 16 w 31"/>
                <a:gd name="T7" fmla="*/ 22 h 54"/>
                <a:gd name="T8" fmla="*/ 13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8 w 31"/>
                <a:gd name="T15" fmla="*/ 31 h 54"/>
                <a:gd name="T16" fmla="*/ 8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8 w 31"/>
                <a:gd name="T23" fmla="*/ 0 h 54"/>
                <a:gd name="T24" fmla="*/ 8 w 31"/>
                <a:gd name="T25" fmla="*/ 19 h 54"/>
                <a:gd name="T26" fmla="*/ 10 w 31"/>
                <a:gd name="T27" fmla="*/ 17 h 54"/>
                <a:gd name="T28" fmla="*/ 12 w 31"/>
                <a:gd name="T29" fmla="*/ 16 h 54"/>
                <a:gd name="T30" fmla="*/ 15 w 31"/>
                <a:gd name="T31" fmla="*/ 15 h 54"/>
                <a:gd name="T32" fmla="*/ 18 w 31"/>
                <a:gd name="T33" fmla="*/ 15 h 54"/>
                <a:gd name="T34" fmla="*/ 24 w 31"/>
                <a:gd name="T35" fmla="*/ 16 h 54"/>
                <a:gd name="T36" fmla="*/ 28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4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4" y="54"/>
                  </a:moveTo>
                  <a:cubicBezTo>
                    <a:pt x="24" y="32"/>
                    <a:pt x="24" y="32"/>
                    <a:pt x="24" y="32"/>
                  </a:cubicBezTo>
                  <a:cubicBezTo>
                    <a:pt x="24" y="28"/>
                    <a:pt x="23" y="26"/>
                    <a:pt x="22" y="24"/>
                  </a:cubicBezTo>
                  <a:cubicBezTo>
                    <a:pt x="21" y="22"/>
                    <a:pt x="19" y="22"/>
                    <a:pt x="16" y="22"/>
                  </a:cubicBezTo>
                  <a:cubicBezTo>
                    <a:pt x="15" y="22"/>
                    <a:pt x="14" y="22"/>
                    <a:pt x="13" y="22"/>
                  </a:cubicBezTo>
                  <a:cubicBezTo>
                    <a:pt x="12" y="22"/>
                    <a:pt x="11" y="23"/>
                    <a:pt x="10" y="24"/>
                  </a:cubicBezTo>
                  <a:cubicBezTo>
                    <a:pt x="9" y="25"/>
                    <a:pt x="9" y="26"/>
                    <a:pt x="8" y="27"/>
                  </a:cubicBezTo>
                  <a:cubicBezTo>
                    <a:pt x="8" y="28"/>
                    <a:pt x="8" y="30"/>
                    <a:pt x="8" y="31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3" y="15"/>
                    <a:pt x="14" y="15"/>
                    <a:pt x="15" y="15"/>
                  </a:cubicBezTo>
                  <a:cubicBezTo>
                    <a:pt x="16" y="15"/>
                    <a:pt x="17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29" y="20"/>
                    <a:pt x="30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4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194" name="Freeform 31">
              <a:extLst>
                <a:ext uri="{FF2B5EF4-FFF2-40B4-BE49-F238E27FC236}">
                  <a16:creationId xmlns:a16="http://schemas.microsoft.com/office/drawing/2014/main" id="{9A42586B-B388-4323-82EB-ED3423EDC5D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50996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1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195" name="Freeform 32">
              <a:extLst>
                <a:ext uri="{FF2B5EF4-FFF2-40B4-BE49-F238E27FC236}">
                  <a16:creationId xmlns:a16="http://schemas.microsoft.com/office/drawing/2014/main" id="{558D2F0C-3796-492F-9EBD-4BB822191F3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02698" y="6174213"/>
              <a:ext cx="80211" cy="139497"/>
            </a:xfrm>
            <a:custGeom>
              <a:avLst/>
              <a:gdLst>
                <a:gd name="T0" fmla="*/ 32 w 32"/>
                <a:gd name="T1" fmla="*/ 35 h 55"/>
                <a:gd name="T2" fmla="*/ 31 w 32"/>
                <a:gd name="T3" fmla="*/ 44 h 55"/>
                <a:gd name="T4" fmla="*/ 28 w 32"/>
                <a:gd name="T5" fmla="*/ 50 h 55"/>
                <a:gd name="T6" fmla="*/ 23 w 32"/>
                <a:gd name="T7" fmla="*/ 53 h 55"/>
                <a:gd name="T8" fmla="*/ 17 w 32"/>
                <a:gd name="T9" fmla="*/ 55 h 55"/>
                <a:gd name="T10" fmla="*/ 12 w 32"/>
                <a:gd name="T11" fmla="*/ 53 h 55"/>
                <a:gd name="T12" fmla="*/ 7 w 32"/>
                <a:gd name="T13" fmla="*/ 50 h 55"/>
                <a:gd name="T14" fmla="*/ 7 w 32"/>
                <a:gd name="T15" fmla="*/ 54 h 55"/>
                <a:gd name="T16" fmla="*/ 0 w 32"/>
                <a:gd name="T17" fmla="*/ 54 h 55"/>
                <a:gd name="T18" fmla="*/ 0 w 32"/>
                <a:gd name="T19" fmla="*/ 4 h 55"/>
                <a:gd name="T20" fmla="*/ 7 w 32"/>
                <a:gd name="T21" fmla="*/ 0 h 55"/>
                <a:gd name="T22" fmla="*/ 7 w 32"/>
                <a:gd name="T23" fmla="*/ 19 h 55"/>
                <a:gd name="T24" fmla="*/ 10 w 32"/>
                <a:gd name="T25" fmla="*/ 17 h 55"/>
                <a:gd name="T26" fmla="*/ 12 w 32"/>
                <a:gd name="T27" fmla="*/ 16 h 55"/>
                <a:gd name="T28" fmla="*/ 14 w 32"/>
                <a:gd name="T29" fmla="*/ 15 h 55"/>
                <a:gd name="T30" fmla="*/ 17 w 32"/>
                <a:gd name="T31" fmla="*/ 15 h 55"/>
                <a:gd name="T32" fmla="*/ 23 w 32"/>
                <a:gd name="T33" fmla="*/ 16 h 55"/>
                <a:gd name="T34" fmla="*/ 28 w 32"/>
                <a:gd name="T35" fmla="*/ 19 h 55"/>
                <a:gd name="T36" fmla="*/ 31 w 32"/>
                <a:gd name="T37" fmla="*/ 26 h 55"/>
                <a:gd name="T38" fmla="*/ 32 w 32"/>
                <a:gd name="T39" fmla="*/ 35 h 55"/>
                <a:gd name="T40" fmla="*/ 25 w 32"/>
                <a:gd name="T41" fmla="*/ 35 h 55"/>
                <a:gd name="T42" fmla="*/ 23 w 32"/>
                <a:gd name="T43" fmla="*/ 25 h 55"/>
                <a:gd name="T44" fmla="*/ 16 w 32"/>
                <a:gd name="T45" fmla="*/ 22 h 55"/>
                <a:gd name="T46" fmla="*/ 14 w 32"/>
                <a:gd name="T47" fmla="*/ 22 h 55"/>
                <a:gd name="T48" fmla="*/ 11 w 32"/>
                <a:gd name="T49" fmla="*/ 23 h 55"/>
                <a:gd name="T50" fmla="*/ 9 w 32"/>
                <a:gd name="T51" fmla="*/ 25 h 55"/>
                <a:gd name="T52" fmla="*/ 7 w 32"/>
                <a:gd name="T53" fmla="*/ 26 h 55"/>
                <a:gd name="T54" fmla="*/ 7 w 32"/>
                <a:gd name="T55" fmla="*/ 43 h 55"/>
                <a:gd name="T56" fmla="*/ 9 w 32"/>
                <a:gd name="T57" fmla="*/ 44 h 55"/>
                <a:gd name="T58" fmla="*/ 11 w 32"/>
                <a:gd name="T59" fmla="*/ 46 h 55"/>
                <a:gd name="T60" fmla="*/ 14 w 32"/>
                <a:gd name="T61" fmla="*/ 47 h 55"/>
                <a:gd name="T62" fmla="*/ 16 w 32"/>
                <a:gd name="T63" fmla="*/ 48 h 55"/>
                <a:gd name="T64" fmla="*/ 23 w 32"/>
                <a:gd name="T65" fmla="*/ 45 h 55"/>
                <a:gd name="T66" fmla="*/ 25 w 32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2" h="55">
                  <a:moveTo>
                    <a:pt x="32" y="35"/>
                  </a:moveTo>
                  <a:cubicBezTo>
                    <a:pt x="32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6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5" y="55"/>
                    <a:pt x="13" y="54"/>
                    <a:pt x="12" y="53"/>
                  </a:cubicBezTo>
                  <a:cubicBezTo>
                    <a:pt x="10" y="52"/>
                    <a:pt x="9" y="51"/>
                    <a:pt x="7" y="50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6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20" y="15"/>
                    <a:pt x="21" y="15"/>
                    <a:pt x="23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29" y="21"/>
                    <a:pt x="30" y="23"/>
                    <a:pt x="31" y="26"/>
                  </a:cubicBezTo>
                  <a:cubicBezTo>
                    <a:pt x="32" y="28"/>
                    <a:pt x="32" y="32"/>
                    <a:pt x="32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4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0" y="23"/>
                    <a:pt x="10" y="24"/>
                    <a:pt x="9" y="25"/>
                  </a:cubicBezTo>
                  <a:cubicBezTo>
                    <a:pt x="8" y="25"/>
                    <a:pt x="8" y="26"/>
                    <a:pt x="7" y="26"/>
                  </a:cubicBezTo>
                  <a:cubicBezTo>
                    <a:pt x="7" y="43"/>
                    <a:pt x="7" y="43"/>
                    <a:pt x="7" y="43"/>
                  </a:cubicBezTo>
                  <a:cubicBezTo>
                    <a:pt x="8" y="43"/>
                    <a:pt x="8" y="44"/>
                    <a:pt x="9" y="44"/>
                  </a:cubicBezTo>
                  <a:cubicBezTo>
                    <a:pt x="10" y="45"/>
                    <a:pt x="10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5" y="48"/>
                    <a:pt x="16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196" name="Freeform 33">
              <a:extLst>
                <a:ext uri="{FF2B5EF4-FFF2-40B4-BE49-F238E27FC236}">
                  <a16:creationId xmlns:a16="http://schemas.microsoft.com/office/drawing/2014/main" id="{DE4E3633-17EF-414F-A86D-0B6A9F2F098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9860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8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8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3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7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197" name="Freeform 34">
              <a:extLst>
                <a:ext uri="{FF2B5EF4-FFF2-40B4-BE49-F238E27FC236}">
                  <a16:creationId xmlns:a16="http://schemas.microsoft.com/office/drawing/2014/main" id="{2572AE39-9386-47FC-B6AF-FBCF804BEB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625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3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198" name="Freeform 35">
              <a:extLst>
                <a:ext uri="{FF2B5EF4-FFF2-40B4-BE49-F238E27FC236}">
                  <a16:creationId xmlns:a16="http://schemas.microsoft.com/office/drawing/2014/main" id="{7096AEC6-B8C0-4212-842F-89677AE7D80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64256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7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6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7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199" name="Freeform 36">
              <a:extLst>
                <a:ext uri="{FF2B5EF4-FFF2-40B4-BE49-F238E27FC236}">
                  <a16:creationId xmlns:a16="http://schemas.microsoft.com/office/drawing/2014/main" id="{406AD873-E434-40CF-BFBD-6D1D1CA7CB8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2340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00" name="Freeform 37">
              <a:extLst>
                <a:ext uri="{FF2B5EF4-FFF2-40B4-BE49-F238E27FC236}">
                  <a16:creationId xmlns:a16="http://schemas.microsoft.com/office/drawing/2014/main" id="{74857EE2-44CC-4E8F-B1BB-355509B3EFE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36884" y="6212575"/>
              <a:ext cx="59286" cy="99391"/>
            </a:xfrm>
            <a:custGeom>
              <a:avLst/>
              <a:gdLst>
                <a:gd name="T0" fmla="*/ 21 w 23"/>
                <a:gd name="T1" fmla="*/ 8 h 39"/>
                <a:gd name="T2" fmla="*/ 19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9" y="7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01" name="Freeform 38">
              <a:extLst>
                <a:ext uri="{FF2B5EF4-FFF2-40B4-BE49-F238E27FC236}">
                  <a16:creationId xmlns:a16="http://schemas.microsoft.com/office/drawing/2014/main" id="{D39EC8B1-952E-4BF5-9735-6A38584161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51969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02" name="Freeform 39">
              <a:extLst>
                <a:ext uri="{FF2B5EF4-FFF2-40B4-BE49-F238E27FC236}">
                  <a16:creationId xmlns:a16="http://schemas.microsoft.com/office/drawing/2014/main" id="{EA37D3DF-3401-44BD-97F4-F423BFC87A1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30436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03" name="Freeform 40">
              <a:extLst>
                <a:ext uri="{FF2B5EF4-FFF2-40B4-BE49-F238E27FC236}">
                  <a16:creationId xmlns:a16="http://schemas.microsoft.com/office/drawing/2014/main" id="{7DFA4B46-95EA-4D4D-800F-4D2DB7BB66E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62808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04" name="Freeform 41">
              <a:extLst>
                <a:ext uri="{FF2B5EF4-FFF2-40B4-BE49-F238E27FC236}">
                  <a16:creationId xmlns:a16="http://schemas.microsoft.com/office/drawing/2014/main" id="{EF5012BA-3255-4BEF-8F4F-9117A6BEF32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772813" y="6212575"/>
              <a:ext cx="81955" cy="101135"/>
            </a:xfrm>
            <a:custGeom>
              <a:avLst/>
              <a:gdLst>
                <a:gd name="T0" fmla="*/ 24 w 32"/>
                <a:gd name="T1" fmla="*/ 39 h 40"/>
                <a:gd name="T2" fmla="*/ 24 w 32"/>
                <a:gd name="T3" fmla="*/ 35 h 40"/>
                <a:gd name="T4" fmla="*/ 22 w 32"/>
                <a:gd name="T5" fmla="*/ 37 h 40"/>
                <a:gd name="T6" fmla="*/ 20 w 32"/>
                <a:gd name="T7" fmla="*/ 38 h 40"/>
                <a:gd name="T8" fmla="*/ 17 w 32"/>
                <a:gd name="T9" fmla="*/ 39 h 40"/>
                <a:gd name="T10" fmla="*/ 14 w 32"/>
                <a:gd name="T11" fmla="*/ 40 h 40"/>
                <a:gd name="T12" fmla="*/ 9 w 32"/>
                <a:gd name="T13" fmla="*/ 39 h 40"/>
                <a:gd name="T14" fmla="*/ 5 w 32"/>
                <a:gd name="T15" fmla="*/ 37 h 40"/>
                <a:gd name="T16" fmla="*/ 2 w 32"/>
                <a:gd name="T17" fmla="*/ 33 h 40"/>
                <a:gd name="T18" fmla="*/ 0 w 32"/>
                <a:gd name="T19" fmla="*/ 27 h 40"/>
                <a:gd name="T20" fmla="*/ 2 w 32"/>
                <a:gd name="T21" fmla="*/ 21 h 40"/>
                <a:gd name="T22" fmla="*/ 5 w 32"/>
                <a:gd name="T23" fmla="*/ 17 h 40"/>
                <a:gd name="T24" fmla="*/ 10 w 32"/>
                <a:gd name="T25" fmla="*/ 15 h 40"/>
                <a:gd name="T26" fmla="*/ 16 w 32"/>
                <a:gd name="T27" fmla="*/ 14 h 40"/>
                <a:gd name="T28" fmla="*/ 21 w 32"/>
                <a:gd name="T29" fmla="*/ 15 h 40"/>
                <a:gd name="T30" fmla="*/ 24 w 32"/>
                <a:gd name="T31" fmla="*/ 16 h 40"/>
                <a:gd name="T32" fmla="*/ 24 w 32"/>
                <a:gd name="T33" fmla="*/ 13 h 40"/>
                <a:gd name="T34" fmla="*/ 22 w 32"/>
                <a:gd name="T35" fmla="*/ 8 h 40"/>
                <a:gd name="T36" fmla="*/ 17 w 32"/>
                <a:gd name="T37" fmla="*/ 6 h 40"/>
                <a:gd name="T38" fmla="*/ 12 w 32"/>
                <a:gd name="T39" fmla="*/ 7 h 40"/>
                <a:gd name="T40" fmla="*/ 7 w 32"/>
                <a:gd name="T41" fmla="*/ 9 h 40"/>
                <a:gd name="T42" fmla="*/ 4 w 32"/>
                <a:gd name="T43" fmla="*/ 3 h 40"/>
                <a:gd name="T44" fmla="*/ 10 w 32"/>
                <a:gd name="T45" fmla="*/ 0 h 40"/>
                <a:gd name="T46" fmla="*/ 17 w 32"/>
                <a:gd name="T47" fmla="*/ 0 h 40"/>
                <a:gd name="T48" fmla="*/ 23 w 32"/>
                <a:gd name="T49" fmla="*/ 0 h 40"/>
                <a:gd name="T50" fmla="*/ 28 w 32"/>
                <a:gd name="T51" fmla="*/ 3 h 40"/>
                <a:gd name="T52" fmla="*/ 31 w 32"/>
                <a:gd name="T53" fmla="*/ 7 h 40"/>
                <a:gd name="T54" fmla="*/ 32 w 32"/>
                <a:gd name="T55" fmla="*/ 12 h 40"/>
                <a:gd name="T56" fmla="*/ 32 w 32"/>
                <a:gd name="T57" fmla="*/ 39 h 40"/>
                <a:gd name="T58" fmla="*/ 24 w 32"/>
                <a:gd name="T59" fmla="*/ 39 h 40"/>
                <a:gd name="T60" fmla="*/ 24 w 32"/>
                <a:gd name="T61" fmla="*/ 22 h 40"/>
                <a:gd name="T62" fmla="*/ 22 w 32"/>
                <a:gd name="T63" fmla="*/ 22 h 40"/>
                <a:gd name="T64" fmla="*/ 21 w 32"/>
                <a:gd name="T65" fmla="*/ 21 h 40"/>
                <a:gd name="T66" fmla="*/ 18 w 32"/>
                <a:gd name="T67" fmla="*/ 21 h 40"/>
                <a:gd name="T68" fmla="*/ 16 w 32"/>
                <a:gd name="T69" fmla="*/ 21 h 40"/>
                <a:gd name="T70" fmla="*/ 10 w 32"/>
                <a:gd name="T71" fmla="*/ 22 h 40"/>
                <a:gd name="T72" fmla="*/ 8 w 32"/>
                <a:gd name="T73" fmla="*/ 26 h 40"/>
                <a:gd name="T74" fmla="*/ 8 w 32"/>
                <a:gd name="T75" fmla="*/ 29 h 40"/>
                <a:gd name="T76" fmla="*/ 10 w 32"/>
                <a:gd name="T77" fmla="*/ 31 h 40"/>
                <a:gd name="T78" fmla="*/ 12 w 32"/>
                <a:gd name="T79" fmla="*/ 32 h 40"/>
                <a:gd name="T80" fmla="*/ 15 w 32"/>
                <a:gd name="T81" fmla="*/ 33 h 40"/>
                <a:gd name="T82" fmla="*/ 18 w 32"/>
                <a:gd name="T83" fmla="*/ 32 h 40"/>
                <a:gd name="T84" fmla="*/ 21 w 32"/>
                <a:gd name="T85" fmla="*/ 31 h 40"/>
                <a:gd name="T86" fmla="*/ 23 w 32"/>
                <a:gd name="T87" fmla="*/ 30 h 40"/>
                <a:gd name="T88" fmla="*/ 24 w 32"/>
                <a:gd name="T89" fmla="*/ 28 h 40"/>
                <a:gd name="T90" fmla="*/ 24 w 32"/>
                <a:gd name="T91" fmla="*/ 2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2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3" y="37"/>
                    <a:pt x="22" y="37"/>
                  </a:cubicBezTo>
                  <a:cubicBezTo>
                    <a:pt x="21" y="37"/>
                    <a:pt x="21" y="38"/>
                    <a:pt x="20" y="38"/>
                  </a:cubicBezTo>
                  <a:cubicBezTo>
                    <a:pt x="19" y="39"/>
                    <a:pt x="18" y="39"/>
                    <a:pt x="17" y="39"/>
                  </a:cubicBezTo>
                  <a:cubicBezTo>
                    <a:pt x="16" y="39"/>
                    <a:pt x="15" y="40"/>
                    <a:pt x="14" y="40"/>
                  </a:cubicBezTo>
                  <a:cubicBezTo>
                    <a:pt x="12" y="40"/>
                    <a:pt x="11" y="39"/>
                    <a:pt x="9" y="39"/>
                  </a:cubicBezTo>
                  <a:cubicBezTo>
                    <a:pt x="7" y="38"/>
                    <a:pt x="6" y="38"/>
                    <a:pt x="5" y="37"/>
                  </a:cubicBezTo>
                  <a:cubicBezTo>
                    <a:pt x="3" y="36"/>
                    <a:pt x="2" y="34"/>
                    <a:pt x="2" y="33"/>
                  </a:cubicBezTo>
                  <a:cubicBezTo>
                    <a:pt x="1" y="31"/>
                    <a:pt x="0" y="29"/>
                    <a:pt x="0" y="27"/>
                  </a:cubicBezTo>
                  <a:cubicBezTo>
                    <a:pt x="0" y="24"/>
                    <a:pt x="1" y="23"/>
                    <a:pt x="2" y="21"/>
                  </a:cubicBezTo>
                  <a:cubicBezTo>
                    <a:pt x="2" y="20"/>
                    <a:pt x="3" y="18"/>
                    <a:pt x="5" y="17"/>
                  </a:cubicBezTo>
                  <a:cubicBezTo>
                    <a:pt x="6" y="16"/>
                    <a:pt x="8" y="15"/>
                    <a:pt x="10" y="15"/>
                  </a:cubicBezTo>
                  <a:cubicBezTo>
                    <a:pt x="12" y="14"/>
                    <a:pt x="14" y="14"/>
                    <a:pt x="16" y="14"/>
                  </a:cubicBezTo>
                  <a:cubicBezTo>
                    <a:pt x="18" y="14"/>
                    <a:pt x="19" y="14"/>
                    <a:pt x="21" y="15"/>
                  </a:cubicBezTo>
                  <a:cubicBezTo>
                    <a:pt x="22" y="15"/>
                    <a:pt x="23" y="15"/>
                    <a:pt x="24" y="16"/>
                  </a:cubicBezTo>
                  <a:cubicBezTo>
                    <a:pt x="24" y="13"/>
                    <a:pt x="24" y="13"/>
                    <a:pt x="24" y="13"/>
                  </a:cubicBezTo>
                  <a:cubicBezTo>
                    <a:pt x="24" y="11"/>
                    <a:pt x="24" y="9"/>
                    <a:pt x="22" y="8"/>
                  </a:cubicBezTo>
                  <a:cubicBezTo>
                    <a:pt x="21" y="7"/>
                    <a:pt x="19" y="6"/>
                    <a:pt x="17" y="6"/>
                  </a:cubicBezTo>
                  <a:cubicBezTo>
                    <a:pt x="15" y="6"/>
                    <a:pt x="13" y="6"/>
                    <a:pt x="12" y="7"/>
                  </a:cubicBezTo>
                  <a:cubicBezTo>
                    <a:pt x="10" y="7"/>
                    <a:pt x="9" y="8"/>
                    <a:pt x="7" y="9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6" y="2"/>
                    <a:pt x="8" y="1"/>
                    <a:pt x="10" y="0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19" y="0"/>
                    <a:pt x="21" y="0"/>
                    <a:pt x="23" y="0"/>
                  </a:cubicBezTo>
                  <a:cubicBezTo>
                    <a:pt x="25" y="1"/>
                    <a:pt x="26" y="2"/>
                    <a:pt x="28" y="3"/>
                  </a:cubicBezTo>
                  <a:cubicBezTo>
                    <a:pt x="29" y="4"/>
                    <a:pt x="30" y="5"/>
                    <a:pt x="31" y="7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2" y="39"/>
                    <a:pt x="32" y="39"/>
                    <a:pt x="32" y="39"/>
                  </a:cubicBezTo>
                  <a:lnTo>
                    <a:pt x="24" y="39"/>
                  </a:lnTo>
                  <a:close/>
                  <a:moveTo>
                    <a:pt x="24" y="22"/>
                  </a:moveTo>
                  <a:cubicBezTo>
                    <a:pt x="24" y="22"/>
                    <a:pt x="23" y="22"/>
                    <a:pt x="22" y="22"/>
                  </a:cubicBezTo>
                  <a:cubicBezTo>
                    <a:pt x="22" y="21"/>
                    <a:pt x="21" y="21"/>
                    <a:pt x="21" y="21"/>
                  </a:cubicBezTo>
                  <a:cubicBezTo>
                    <a:pt x="20" y="21"/>
                    <a:pt x="19" y="21"/>
                    <a:pt x="18" y="21"/>
                  </a:cubicBezTo>
                  <a:cubicBezTo>
                    <a:pt x="17" y="21"/>
                    <a:pt x="17" y="21"/>
                    <a:pt x="16" y="21"/>
                  </a:cubicBezTo>
                  <a:cubicBezTo>
                    <a:pt x="13" y="21"/>
                    <a:pt x="11" y="21"/>
                    <a:pt x="10" y="22"/>
                  </a:cubicBezTo>
                  <a:cubicBezTo>
                    <a:pt x="8" y="23"/>
                    <a:pt x="8" y="25"/>
                    <a:pt x="8" y="26"/>
                  </a:cubicBezTo>
                  <a:cubicBezTo>
                    <a:pt x="8" y="28"/>
                    <a:pt x="8" y="29"/>
                    <a:pt x="8" y="29"/>
                  </a:cubicBezTo>
                  <a:cubicBezTo>
                    <a:pt x="9" y="30"/>
                    <a:pt x="9" y="31"/>
                    <a:pt x="10" y="31"/>
                  </a:cubicBezTo>
                  <a:cubicBezTo>
                    <a:pt x="10" y="32"/>
                    <a:pt x="11" y="32"/>
                    <a:pt x="12" y="32"/>
                  </a:cubicBezTo>
                  <a:cubicBezTo>
                    <a:pt x="13" y="33"/>
                    <a:pt x="14" y="33"/>
                    <a:pt x="15" y="33"/>
                  </a:cubicBezTo>
                  <a:cubicBezTo>
                    <a:pt x="16" y="33"/>
                    <a:pt x="17" y="33"/>
                    <a:pt x="18" y="32"/>
                  </a:cubicBezTo>
                  <a:cubicBezTo>
                    <a:pt x="19" y="32"/>
                    <a:pt x="20" y="32"/>
                    <a:pt x="21" y="31"/>
                  </a:cubicBezTo>
                  <a:cubicBezTo>
                    <a:pt x="21" y="31"/>
                    <a:pt x="22" y="30"/>
                    <a:pt x="23" y="30"/>
                  </a:cubicBezTo>
                  <a:cubicBezTo>
                    <a:pt x="23" y="29"/>
                    <a:pt x="24" y="28"/>
                    <a:pt x="24" y="28"/>
                  </a:cubicBezTo>
                  <a:lnTo>
                    <a:pt x="24" y="2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05" name="Freeform 42">
              <a:extLst>
                <a:ext uri="{FF2B5EF4-FFF2-40B4-BE49-F238E27FC236}">
                  <a16:creationId xmlns:a16="http://schemas.microsoft.com/office/drawing/2014/main" id="{223989A0-E246-4806-AF7E-9D6C2B1DD48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77436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2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10 w 31"/>
                <a:gd name="T11" fmla="*/ 9 h 39"/>
                <a:gd name="T12" fmla="*/ 8 w 31"/>
                <a:gd name="T13" fmla="*/ 12 h 39"/>
                <a:gd name="T14" fmla="*/ 8 w 31"/>
                <a:gd name="T15" fmla="*/ 16 h 39"/>
                <a:gd name="T16" fmla="*/ 8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8 w 31"/>
                <a:gd name="T23" fmla="*/ 0 h 39"/>
                <a:gd name="T24" fmla="*/ 8 w 31"/>
                <a:gd name="T25" fmla="*/ 4 h 39"/>
                <a:gd name="T26" fmla="*/ 9 w 31"/>
                <a:gd name="T27" fmla="*/ 2 h 39"/>
                <a:gd name="T28" fmla="*/ 12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8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2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10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8" y="15"/>
                    <a:pt x="8" y="16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2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20" y="0"/>
                    <a:pt x="22" y="0"/>
                    <a:pt x="23" y="1"/>
                  </a:cubicBezTo>
                  <a:cubicBezTo>
                    <a:pt x="25" y="1"/>
                    <a:pt x="26" y="2"/>
                    <a:pt x="28" y="4"/>
                  </a:cubicBezTo>
                  <a:cubicBezTo>
                    <a:pt x="29" y="5"/>
                    <a:pt x="29" y="7"/>
                    <a:pt x="30" y="9"/>
                  </a:cubicBezTo>
                  <a:cubicBezTo>
                    <a:pt x="31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06" name="Freeform 43">
              <a:extLst>
                <a:ext uri="{FF2B5EF4-FFF2-40B4-BE49-F238E27FC236}">
                  <a16:creationId xmlns:a16="http://schemas.microsoft.com/office/drawing/2014/main" id="{5FED967A-F1ED-4489-A689-A9A49A2780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75084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0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3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6 w 29"/>
                <a:gd name="T55" fmla="*/ 24 h 40"/>
                <a:gd name="T56" fmla="*/ 13 w 29"/>
                <a:gd name="T57" fmla="*/ 22 h 40"/>
                <a:gd name="T58" fmla="*/ 7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1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2" y="6"/>
                    <a:pt x="11" y="7"/>
                    <a:pt x="10" y="7"/>
                  </a:cubicBezTo>
                  <a:cubicBezTo>
                    <a:pt x="9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1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8" y="25"/>
                    <a:pt x="18" y="24"/>
                    <a:pt x="16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7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2" y="15"/>
                    <a:pt x="2" y="14"/>
                  </a:cubicBezTo>
                  <a:cubicBezTo>
                    <a:pt x="2" y="13"/>
                    <a:pt x="1" y="12"/>
                    <a:pt x="1" y="10"/>
                  </a:cubicBezTo>
                  <a:cubicBezTo>
                    <a:pt x="1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07" name="Freeform 44">
              <a:extLst>
                <a:ext uri="{FF2B5EF4-FFF2-40B4-BE49-F238E27FC236}">
                  <a16:creationId xmlns:a16="http://schemas.microsoft.com/office/drawing/2014/main" id="{DA362954-FE74-40B7-AB98-CC8AC60FFC8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58782" y="6212575"/>
              <a:ext cx="122060" cy="99391"/>
            </a:xfrm>
            <a:custGeom>
              <a:avLst/>
              <a:gdLst>
                <a:gd name="T0" fmla="*/ 55 w 70"/>
                <a:gd name="T1" fmla="*/ 57 h 57"/>
                <a:gd name="T2" fmla="*/ 45 w 70"/>
                <a:gd name="T3" fmla="*/ 57 h 57"/>
                <a:gd name="T4" fmla="*/ 35 w 70"/>
                <a:gd name="T5" fmla="*/ 17 h 57"/>
                <a:gd name="T6" fmla="*/ 25 w 70"/>
                <a:gd name="T7" fmla="*/ 57 h 57"/>
                <a:gd name="T8" fmla="*/ 14 w 70"/>
                <a:gd name="T9" fmla="*/ 57 h 57"/>
                <a:gd name="T10" fmla="*/ 0 w 70"/>
                <a:gd name="T11" fmla="*/ 0 h 57"/>
                <a:gd name="T12" fmla="*/ 10 w 70"/>
                <a:gd name="T13" fmla="*/ 0 h 57"/>
                <a:gd name="T14" fmla="*/ 20 w 70"/>
                <a:gd name="T15" fmla="*/ 39 h 57"/>
                <a:gd name="T16" fmla="*/ 30 w 70"/>
                <a:gd name="T17" fmla="*/ 0 h 57"/>
                <a:gd name="T18" fmla="*/ 39 w 70"/>
                <a:gd name="T19" fmla="*/ 0 h 57"/>
                <a:gd name="T20" fmla="*/ 49 w 70"/>
                <a:gd name="T21" fmla="*/ 39 h 57"/>
                <a:gd name="T22" fmla="*/ 60 w 70"/>
                <a:gd name="T23" fmla="*/ 0 h 57"/>
                <a:gd name="T24" fmla="*/ 70 w 70"/>
                <a:gd name="T25" fmla="*/ 0 h 57"/>
                <a:gd name="T26" fmla="*/ 55 w 70"/>
                <a:gd name="T27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7">
                  <a:moveTo>
                    <a:pt x="55" y="57"/>
                  </a:moveTo>
                  <a:lnTo>
                    <a:pt x="45" y="57"/>
                  </a:lnTo>
                  <a:lnTo>
                    <a:pt x="35" y="17"/>
                  </a:lnTo>
                  <a:lnTo>
                    <a:pt x="25" y="57"/>
                  </a:lnTo>
                  <a:lnTo>
                    <a:pt x="14" y="57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0" y="39"/>
                  </a:lnTo>
                  <a:lnTo>
                    <a:pt x="30" y="0"/>
                  </a:lnTo>
                  <a:lnTo>
                    <a:pt x="39" y="0"/>
                  </a:lnTo>
                  <a:lnTo>
                    <a:pt x="49" y="39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08" name="Freeform 45">
              <a:extLst>
                <a:ext uri="{FF2B5EF4-FFF2-40B4-BE49-F238E27FC236}">
                  <a16:creationId xmlns:a16="http://schemas.microsoft.com/office/drawing/2014/main" id="{C1C7EF3F-CB28-4C69-901C-8F9F09C5B59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1913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09" name="Freeform 46">
              <a:extLst>
                <a:ext uri="{FF2B5EF4-FFF2-40B4-BE49-F238E27FC236}">
                  <a16:creationId xmlns:a16="http://schemas.microsoft.com/office/drawing/2014/main" id="{80D5AA14-D31C-42E8-B89F-2FCABF20400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95927" y="6212575"/>
              <a:ext cx="57543" cy="99391"/>
            </a:xfrm>
            <a:custGeom>
              <a:avLst/>
              <a:gdLst>
                <a:gd name="T0" fmla="*/ 21 w 23"/>
                <a:gd name="T1" fmla="*/ 8 h 39"/>
                <a:gd name="T2" fmla="*/ 18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6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0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10" name="Freeform 47">
              <a:extLst>
                <a:ext uri="{FF2B5EF4-FFF2-40B4-BE49-F238E27FC236}">
                  <a16:creationId xmlns:a16="http://schemas.microsoft.com/office/drawing/2014/main" id="{3894EB82-A456-47F8-BB06-FE894AF4B86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6494" y="6284068"/>
              <a:ext cx="29644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3 w 12"/>
                <a:gd name="T11" fmla="*/ 11 h 12"/>
                <a:gd name="T12" fmla="*/ 2 w 12"/>
                <a:gd name="T13" fmla="*/ 10 h 12"/>
                <a:gd name="T14" fmla="*/ 0 w 12"/>
                <a:gd name="T15" fmla="*/ 8 h 12"/>
                <a:gd name="T16" fmla="*/ 0 w 12"/>
                <a:gd name="T17" fmla="*/ 6 h 12"/>
                <a:gd name="T18" fmla="*/ 0 w 12"/>
                <a:gd name="T19" fmla="*/ 4 h 12"/>
                <a:gd name="T20" fmla="*/ 2 w 12"/>
                <a:gd name="T21" fmla="*/ 2 h 12"/>
                <a:gd name="T22" fmla="*/ 3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3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0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3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11" name="Freeform 48">
              <a:extLst>
                <a:ext uri="{FF2B5EF4-FFF2-40B4-BE49-F238E27FC236}">
                  <a16:creationId xmlns:a16="http://schemas.microsoft.com/office/drawing/2014/main" id="{A88F5C3F-FAE1-4A50-86D3-E9A1CAA89A9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388691"/>
              <a:ext cx="94161" cy="130778"/>
            </a:xfrm>
            <a:custGeom>
              <a:avLst/>
              <a:gdLst>
                <a:gd name="T0" fmla="*/ 32 w 54"/>
                <a:gd name="T1" fmla="*/ 12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2 h 75"/>
                <a:gd name="T8" fmla="*/ 0 w 54"/>
                <a:gd name="T9" fmla="*/ 12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2 h 75"/>
                <a:gd name="T16" fmla="*/ 32 w 54"/>
                <a:gd name="T17" fmla="*/ 12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2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2"/>
                  </a:lnTo>
                  <a:lnTo>
                    <a:pt x="0" y="12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2"/>
                  </a:lnTo>
                  <a:lnTo>
                    <a:pt x="32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12" name="Freeform 49">
              <a:extLst>
                <a:ext uri="{FF2B5EF4-FFF2-40B4-BE49-F238E27FC236}">
                  <a16:creationId xmlns:a16="http://schemas.microsoft.com/office/drawing/2014/main" id="{1EFCBDA7-FA42-4391-9872-95EB6DDEA68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383459"/>
              <a:ext cx="78468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9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1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7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7"/>
                    <a:pt x="9" y="17"/>
                  </a:cubicBezTo>
                  <a:cubicBezTo>
                    <a:pt x="10" y="16"/>
                    <a:pt x="10" y="16"/>
                    <a:pt x="11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13" name="Freeform 50">
              <a:extLst>
                <a:ext uri="{FF2B5EF4-FFF2-40B4-BE49-F238E27FC236}">
                  <a16:creationId xmlns:a16="http://schemas.microsoft.com/office/drawing/2014/main" id="{721D8C30-DB23-4A0B-8A74-BC467086477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418333"/>
              <a:ext cx="85443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7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3 w 33"/>
                <a:gd name="T73" fmla="*/ 8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9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2" y="32"/>
                    <a:pt x="23" y="32"/>
                    <a:pt x="23" y="32"/>
                  </a:cubicBezTo>
                  <a:cubicBezTo>
                    <a:pt x="24" y="31"/>
                    <a:pt x="25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1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5" y="13"/>
                  </a:cubicBezTo>
                  <a:cubicBezTo>
                    <a:pt x="24" y="12"/>
                    <a:pt x="24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14" name="Freeform 51">
              <a:extLst>
                <a:ext uri="{FF2B5EF4-FFF2-40B4-BE49-F238E27FC236}">
                  <a16:creationId xmlns:a16="http://schemas.microsoft.com/office/drawing/2014/main" id="{01AD00CA-8BC7-4B62-AC64-03851855A7A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383459"/>
              <a:ext cx="83698" cy="137753"/>
            </a:xfrm>
            <a:custGeom>
              <a:avLst/>
              <a:gdLst>
                <a:gd name="T0" fmla="*/ 33 w 33"/>
                <a:gd name="T1" fmla="*/ 35 h 54"/>
                <a:gd name="T2" fmla="*/ 31 w 33"/>
                <a:gd name="T3" fmla="*/ 43 h 54"/>
                <a:gd name="T4" fmla="*/ 28 w 33"/>
                <a:gd name="T5" fmla="*/ 49 h 54"/>
                <a:gd name="T6" fmla="*/ 23 w 33"/>
                <a:gd name="T7" fmla="*/ 53 h 54"/>
                <a:gd name="T8" fmla="*/ 17 w 33"/>
                <a:gd name="T9" fmla="*/ 54 h 54"/>
                <a:gd name="T10" fmla="*/ 12 w 33"/>
                <a:gd name="T11" fmla="*/ 53 h 54"/>
                <a:gd name="T12" fmla="*/ 8 w 33"/>
                <a:gd name="T13" fmla="*/ 50 h 54"/>
                <a:gd name="T14" fmla="*/ 8 w 33"/>
                <a:gd name="T15" fmla="*/ 53 h 54"/>
                <a:gd name="T16" fmla="*/ 0 w 33"/>
                <a:gd name="T17" fmla="*/ 53 h 54"/>
                <a:gd name="T18" fmla="*/ 0 w 33"/>
                <a:gd name="T19" fmla="*/ 4 h 54"/>
                <a:gd name="T20" fmla="*/ 8 w 33"/>
                <a:gd name="T21" fmla="*/ 0 h 54"/>
                <a:gd name="T22" fmla="*/ 8 w 33"/>
                <a:gd name="T23" fmla="*/ 19 h 54"/>
                <a:gd name="T24" fmla="*/ 10 w 33"/>
                <a:gd name="T25" fmla="*/ 17 h 54"/>
                <a:gd name="T26" fmla="*/ 12 w 33"/>
                <a:gd name="T27" fmla="*/ 16 h 54"/>
                <a:gd name="T28" fmla="*/ 14 w 33"/>
                <a:gd name="T29" fmla="*/ 14 h 54"/>
                <a:gd name="T30" fmla="*/ 18 w 33"/>
                <a:gd name="T31" fmla="*/ 14 h 54"/>
                <a:gd name="T32" fmla="*/ 24 w 33"/>
                <a:gd name="T33" fmla="*/ 15 h 54"/>
                <a:gd name="T34" fmla="*/ 28 w 33"/>
                <a:gd name="T35" fmla="*/ 19 h 54"/>
                <a:gd name="T36" fmla="*/ 31 w 33"/>
                <a:gd name="T37" fmla="*/ 25 h 54"/>
                <a:gd name="T38" fmla="*/ 33 w 33"/>
                <a:gd name="T39" fmla="*/ 35 h 54"/>
                <a:gd name="T40" fmla="*/ 25 w 33"/>
                <a:gd name="T41" fmla="*/ 35 h 54"/>
                <a:gd name="T42" fmla="*/ 23 w 33"/>
                <a:gd name="T43" fmla="*/ 24 h 54"/>
                <a:gd name="T44" fmla="*/ 16 w 33"/>
                <a:gd name="T45" fmla="*/ 21 h 54"/>
                <a:gd name="T46" fmla="*/ 14 w 33"/>
                <a:gd name="T47" fmla="*/ 21 h 54"/>
                <a:gd name="T48" fmla="*/ 11 w 33"/>
                <a:gd name="T49" fmla="*/ 23 h 54"/>
                <a:gd name="T50" fmla="*/ 9 w 33"/>
                <a:gd name="T51" fmla="*/ 24 h 54"/>
                <a:gd name="T52" fmla="*/ 8 w 33"/>
                <a:gd name="T53" fmla="*/ 26 h 54"/>
                <a:gd name="T54" fmla="*/ 8 w 33"/>
                <a:gd name="T55" fmla="*/ 42 h 54"/>
                <a:gd name="T56" fmla="*/ 9 w 33"/>
                <a:gd name="T57" fmla="*/ 44 h 54"/>
                <a:gd name="T58" fmla="*/ 11 w 33"/>
                <a:gd name="T59" fmla="*/ 45 h 54"/>
                <a:gd name="T60" fmla="*/ 14 w 33"/>
                <a:gd name="T61" fmla="*/ 47 h 54"/>
                <a:gd name="T62" fmla="*/ 17 w 33"/>
                <a:gd name="T63" fmla="*/ 47 h 54"/>
                <a:gd name="T64" fmla="*/ 23 w 33"/>
                <a:gd name="T65" fmla="*/ 44 h 54"/>
                <a:gd name="T66" fmla="*/ 25 w 33"/>
                <a:gd name="T67" fmla="*/ 35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4">
                  <a:moveTo>
                    <a:pt x="33" y="35"/>
                  </a:moveTo>
                  <a:cubicBezTo>
                    <a:pt x="33" y="38"/>
                    <a:pt x="32" y="41"/>
                    <a:pt x="31" y="43"/>
                  </a:cubicBezTo>
                  <a:cubicBezTo>
                    <a:pt x="30" y="46"/>
                    <a:pt x="29" y="48"/>
                    <a:pt x="28" y="49"/>
                  </a:cubicBezTo>
                  <a:cubicBezTo>
                    <a:pt x="27" y="51"/>
                    <a:pt x="25" y="52"/>
                    <a:pt x="23" y="53"/>
                  </a:cubicBezTo>
                  <a:cubicBezTo>
                    <a:pt x="21" y="54"/>
                    <a:pt x="19" y="54"/>
                    <a:pt x="17" y="54"/>
                  </a:cubicBezTo>
                  <a:cubicBezTo>
                    <a:pt x="16" y="54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7"/>
                    <a:pt x="10" y="17"/>
                  </a:cubicBezTo>
                  <a:cubicBezTo>
                    <a:pt x="11" y="16"/>
                    <a:pt x="11" y="16"/>
                    <a:pt x="12" y="16"/>
                  </a:cubicBezTo>
                  <a:cubicBezTo>
                    <a:pt x="13" y="15"/>
                    <a:pt x="13" y="15"/>
                    <a:pt x="14" y="14"/>
                  </a:cubicBezTo>
                  <a:cubicBezTo>
                    <a:pt x="15" y="14"/>
                    <a:pt x="16" y="14"/>
                    <a:pt x="18" y="14"/>
                  </a:cubicBezTo>
                  <a:cubicBezTo>
                    <a:pt x="20" y="14"/>
                    <a:pt x="22" y="14"/>
                    <a:pt x="24" y="15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30" y="21"/>
                    <a:pt x="31" y="23"/>
                    <a:pt x="31" y="25"/>
                  </a:cubicBezTo>
                  <a:cubicBezTo>
                    <a:pt x="32" y="28"/>
                    <a:pt x="33" y="31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0"/>
                    <a:pt x="24" y="27"/>
                    <a:pt x="23" y="24"/>
                  </a:cubicBezTo>
                  <a:cubicBezTo>
                    <a:pt x="21" y="22"/>
                    <a:pt x="19" y="21"/>
                    <a:pt x="16" y="21"/>
                  </a:cubicBezTo>
                  <a:cubicBezTo>
                    <a:pt x="15" y="21"/>
                    <a:pt x="15" y="21"/>
                    <a:pt x="14" y="21"/>
                  </a:cubicBezTo>
                  <a:cubicBezTo>
                    <a:pt x="13" y="22"/>
                    <a:pt x="12" y="22"/>
                    <a:pt x="11" y="23"/>
                  </a:cubicBezTo>
                  <a:cubicBezTo>
                    <a:pt x="11" y="23"/>
                    <a:pt x="10" y="24"/>
                    <a:pt x="9" y="24"/>
                  </a:cubicBezTo>
                  <a:cubicBezTo>
                    <a:pt x="9" y="25"/>
                    <a:pt x="8" y="25"/>
                    <a:pt x="8" y="26"/>
                  </a:cubicBezTo>
                  <a:cubicBezTo>
                    <a:pt x="8" y="42"/>
                    <a:pt x="8" y="42"/>
                    <a:pt x="8" y="42"/>
                  </a:cubicBezTo>
                  <a:cubicBezTo>
                    <a:pt x="8" y="43"/>
                    <a:pt x="9" y="43"/>
                    <a:pt x="9" y="44"/>
                  </a:cubicBezTo>
                  <a:cubicBezTo>
                    <a:pt x="10" y="44"/>
                    <a:pt x="11" y="45"/>
                    <a:pt x="11" y="45"/>
                  </a:cubicBezTo>
                  <a:cubicBezTo>
                    <a:pt x="12" y="46"/>
                    <a:pt x="13" y="46"/>
                    <a:pt x="14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9" y="47"/>
                    <a:pt x="21" y="46"/>
                    <a:pt x="23" y="44"/>
                  </a:cubicBezTo>
                  <a:cubicBezTo>
                    <a:pt x="24" y="42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15" name="Freeform 52">
              <a:extLst>
                <a:ext uri="{FF2B5EF4-FFF2-40B4-BE49-F238E27FC236}">
                  <a16:creationId xmlns:a16="http://schemas.microsoft.com/office/drawing/2014/main" id="{BC957590-E3D7-48BF-A1DF-73DCD767385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1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4" y="31"/>
                    <a:pt x="24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16" name="Freeform 53">
              <a:extLst>
                <a:ext uri="{FF2B5EF4-FFF2-40B4-BE49-F238E27FC236}">
                  <a16:creationId xmlns:a16="http://schemas.microsoft.com/office/drawing/2014/main" id="{9BC2125B-AF0E-4411-AFA7-3F79B873BFB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1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2" y="54"/>
                    <a:pt x="11" y="54"/>
                  </a:cubicBezTo>
                  <a:cubicBezTo>
                    <a:pt x="10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2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17" name="Freeform 54">
              <a:extLst>
                <a:ext uri="{FF2B5EF4-FFF2-40B4-BE49-F238E27FC236}">
                  <a16:creationId xmlns:a16="http://schemas.microsoft.com/office/drawing/2014/main" id="{1E5BE33C-9675-423A-802C-0A789DB1851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18" name="Freeform 55">
              <a:extLst>
                <a:ext uri="{FF2B5EF4-FFF2-40B4-BE49-F238E27FC236}">
                  <a16:creationId xmlns:a16="http://schemas.microsoft.com/office/drawing/2014/main" id="{FB04A8AC-9DA2-4FB3-985A-DD8E6439135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0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2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0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3" y="31"/>
                    <a:pt x="24" y="31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0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7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19" name="Freeform 56">
              <a:extLst>
                <a:ext uri="{FF2B5EF4-FFF2-40B4-BE49-F238E27FC236}">
                  <a16:creationId xmlns:a16="http://schemas.microsoft.com/office/drawing/2014/main" id="{F365BB87-C861-4F40-A844-477BAA1EAA5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418333"/>
              <a:ext cx="55799" cy="101135"/>
            </a:xfrm>
            <a:custGeom>
              <a:avLst/>
              <a:gdLst>
                <a:gd name="T0" fmla="*/ 20 w 22"/>
                <a:gd name="T1" fmla="*/ 9 h 39"/>
                <a:gd name="T2" fmla="*/ 18 w 22"/>
                <a:gd name="T3" fmla="*/ 8 h 39"/>
                <a:gd name="T4" fmla="*/ 15 w 22"/>
                <a:gd name="T5" fmla="*/ 7 h 39"/>
                <a:gd name="T6" fmla="*/ 9 w 22"/>
                <a:gd name="T7" fmla="*/ 10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1 h 39"/>
                <a:gd name="T16" fmla="*/ 7 w 22"/>
                <a:gd name="T17" fmla="*/ 1 h 39"/>
                <a:gd name="T18" fmla="*/ 7 w 22"/>
                <a:gd name="T19" fmla="*/ 5 h 39"/>
                <a:gd name="T20" fmla="*/ 9 w 22"/>
                <a:gd name="T21" fmla="*/ 3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1 h 39"/>
                <a:gd name="T30" fmla="*/ 22 w 22"/>
                <a:gd name="T31" fmla="*/ 2 h 39"/>
                <a:gd name="T32" fmla="*/ 20 w 22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7" y="8"/>
                    <a:pt x="16" y="7"/>
                    <a:pt x="15" y="7"/>
                  </a:cubicBezTo>
                  <a:cubicBezTo>
                    <a:pt x="12" y="7"/>
                    <a:pt x="10" y="8"/>
                    <a:pt x="9" y="10"/>
                  </a:cubicBezTo>
                  <a:cubicBezTo>
                    <a:pt x="8" y="12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8" y="4"/>
                    <a:pt x="8" y="3"/>
                    <a:pt x="9" y="3"/>
                  </a:cubicBezTo>
                  <a:cubicBezTo>
                    <a:pt x="9" y="2"/>
                    <a:pt x="10" y="2"/>
                    <a:pt x="11" y="1"/>
                  </a:cubicBezTo>
                  <a:cubicBezTo>
                    <a:pt x="11" y="1"/>
                    <a:pt x="12" y="1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1"/>
                  </a:cubicBezTo>
                  <a:cubicBezTo>
                    <a:pt x="21" y="1"/>
                    <a:pt x="22" y="1"/>
                    <a:pt x="22" y="2"/>
                  </a:cubicBezTo>
                  <a:lnTo>
                    <a:pt x="20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20" name="Freeform 57">
              <a:extLst>
                <a:ext uri="{FF2B5EF4-FFF2-40B4-BE49-F238E27FC236}">
                  <a16:creationId xmlns:a16="http://schemas.microsoft.com/office/drawing/2014/main" id="{8B7E2806-AAFA-45B5-B801-55C79A92779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21" name="Freeform 58">
              <a:extLst>
                <a:ext uri="{FF2B5EF4-FFF2-40B4-BE49-F238E27FC236}">
                  <a16:creationId xmlns:a16="http://schemas.microsoft.com/office/drawing/2014/main" id="{7A49B80F-B4C0-4F31-9238-8123D3E20D1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383459"/>
              <a:ext cx="80211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10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2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8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7"/>
                    <a:pt x="9" y="17"/>
                  </a:cubicBezTo>
                  <a:cubicBezTo>
                    <a:pt x="10" y="16"/>
                    <a:pt x="11" y="16"/>
                    <a:pt x="12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22" name="Freeform 59">
              <a:extLst>
                <a:ext uri="{FF2B5EF4-FFF2-40B4-BE49-F238E27FC236}">
                  <a16:creationId xmlns:a16="http://schemas.microsoft.com/office/drawing/2014/main" id="{9C60C45F-865F-4118-A4B0-174C696B472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8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2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6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1 w 33"/>
                <a:gd name="T69" fmla="*/ 8 h 40"/>
                <a:gd name="T70" fmla="*/ 17 w 33"/>
                <a:gd name="T71" fmla="*/ 7 h 40"/>
                <a:gd name="T72" fmla="*/ 13 w 33"/>
                <a:gd name="T73" fmla="*/ 8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6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10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3" y="32"/>
                    <a:pt x="23" y="32"/>
                    <a:pt x="24" y="32"/>
                  </a:cubicBezTo>
                  <a:cubicBezTo>
                    <a:pt x="24" y="31"/>
                    <a:pt x="25" y="31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7" y="38"/>
                    <a:pt x="26" y="38"/>
                    <a:pt x="25" y="39"/>
                  </a:cubicBezTo>
                  <a:cubicBezTo>
                    <a:pt x="24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4" y="40"/>
                    <a:pt x="12" y="39"/>
                  </a:cubicBezTo>
                  <a:cubicBezTo>
                    <a:pt x="11" y="39"/>
                    <a:pt x="10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4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5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6" y="17"/>
                  </a:moveTo>
                  <a:cubicBezTo>
                    <a:pt x="26" y="15"/>
                    <a:pt x="25" y="14"/>
                    <a:pt x="25" y="13"/>
                  </a:cubicBezTo>
                  <a:cubicBezTo>
                    <a:pt x="25" y="12"/>
                    <a:pt x="24" y="11"/>
                    <a:pt x="23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20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6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23" name="Freeform 60">
              <a:extLst>
                <a:ext uri="{FF2B5EF4-FFF2-40B4-BE49-F238E27FC236}">
                  <a16:creationId xmlns:a16="http://schemas.microsoft.com/office/drawing/2014/main" id="{15FBF980-B96C-472B-A46B-A731CA164E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7435" y="6421821"/>
              <a:ext cx="122060" cy="97648"/>
            </a:xfrm>
            <a:custGeom>
              <a:avLst/>
              <a:gdLst>
                <a:gd name="T0" fmla="*/ 56 w 70"/>
                <a:gd name="T1" fmla="*/ 56 h 56"/>
                <a:gd name="T2" fmla="*/ 46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5 w 70"/>
                <a:gd name="T9" fmla="*/ 56 h 56"/>
                <a:gd name="T10" fmla="*/ 0 w 70"/>
                <a:gd name="T11" fmla="*/ 0 h 56"/>
                <a:gd name="T12" fmla="*/ 10 w 70"/>
                <a:gd name="T13" fmla="*/ 0 h 56"/>
                <a:gd name="T14" fmla="*/ 21 w 70"/>
                <a:gd name="T15" fmla="*/ 38 h 56"/>
                <a:gd name="T16" fmla="*/ 31 w 70"/>
                <a:gd name="T17" fmla="*/ 0 h 56"/>
                <a:gd name="T18" fmla="*/ 40 w 70"/>
                <a:gd name="T19" fmla="*/ 0 h 56"/>
                <a:gd name="T20" fmla="*/ 50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6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6" y="56"/>
                  </a:moveTo>
                  <a:lnTo>
                    <a:pt x="46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5" y="56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1" y="38"/>
                  </a:lnTo>
                  <a:lnTo>
                    <a:pt x="31" y="0"/>
                  </a:lnTo>
                  <a:lnTo>
                    <a:pt x="40" y="0"/>
                  </a:lnTo>
                  <a:lnTo>
                    <a:pt x="50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6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24" name="Freeform 61">
              <a:extLst>
                <a:ext uri="{FF2B5EF4-FFF2-40B4-BE49-F238E27FC236}">
                  <a16:creationId xmlns:a16="http://schemas.microsoft.com/office/drawing/2014/main" id="{64F1DD18-05EE-4F9F-9E6B-E03C4C500F2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859957" y="6418333"/>
              <a:ext cx="87186" cy="102879"/>
            </a:xfrm>
            <a:custGeom>
              <a:avLst/>
              <a:gdLst>
                <a:gd name="T0" fmla="*/ 34 w 34"/>
                <a:gd name="T1" fmla="*/ 20 h 40"/>
                <a:gd name="T2" fmla="*/ 33 w 34"/>
                <a:gd name="T3" fmla="*/ 28 h 40"/>
                <a:gd name="T4" fmla="*/ 29 w 34"/>
                <a:gd name="T5" fmla="*/ 35 h 40"/>
                <a:gd name="T6" fmla="*/ 24 w 34"/>
                <a:gd name="T7" fmla="*/ 39 h 40"/>
                <a:gd name="T8" fmla="*/ 17 w 34"/>
                <a:gd name="T9" fmla="*/ 40 h 40"/>
                <a:gd name="T10" fmla="*/ 10 w 34"/>
                <a:gd name="T11" fmla="*/ 39 h 40"/>
                <a:gd name="T12" fmla="*/ 5 w 34"/>
                <a:gd name="T13" fmla="*/ 35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2 h 40"/>
                <a:gd name="T20" fmla="*/ 5 w 34"/>
                <a:gd name="T21" fmla="*/ 5 h 40"/>
                <a:gd name="T22" fmla="*/ 11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2 h 40"/>
                <a:gd name="T32" fmla="*/ 34 w 34"/>
                <a:gd name="T33" fmla="*/ 20 h 40"/>
                <a:gd name="T34" fmla="*/ 27 w 34"/>
                <a:gd name="T35" fmla="*/ 20 h 40"/>
                <a:gd name="T36" fmla="*/ 26 w 34"/>
                <a:gd name="T37" fmla="*/ 15 h 40"/>
                <a:gd name="T38" fmla="*/ 24 w 34"/>
                <a:gd name="T39" fmla="*/ 11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1 h 40"/>
                <a:gd name="T48" fmla="*/ 8 w 34"/>
                <a:gd name="T49" fmla="*/ 15 h 40"/>
                <a:gd name="T50" fmla="*/ 8 w 34"/>
                <a:gd name="T51" fmla="*/ 20 h 40"/>
                <a:gd name="T52" fmla="*/ 8 w 34"/>
                <a:gd name="T53" fmla="*/ 26 h 40"/>
                <a:gd name="T54" fmla="*/ 10 w 34"/>
                <a:gd name="T55" fmla="*/ 30 h 40"/>
                <a:gd name="T56" fmla="*/ 13 w 34"/>
                <a:gd name="T57" fmla="*/ 32 h 40"/>
                <a:gd name="T58" fmla="*/ 17 w 34"/>
                <a:gd name="T59" fmla="*/ 33 h 40"/>
                <a:gd name="T60" fmla="*/ 21 w 34"/>
                <a:gd name="T61" fmla="*/ 32 h 40"/>
                <a:gd name="T62" fmla="*/ 24 w 34"/>
                <a:gd name="T63" fmla="*/ 29 h 40"/>
                <a:gd name="T64" fmla="*/ 26 w 34"/>
                <a:gd name="T65" fmla="*/ 25 h 40"/>
                <a:gd name="T66" fmla="*/ 27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20"/>
                  </a:moveTo>
                  <a:cubicBezTo>
                    <a:pt x="34" y="23"/>
                    <a:pt x="34" y="26"/>
                    <a:pt x="33" y="28"/>
                  </a:cubicBezTo>
                  <a:cubicBezTo>
                    <a:pt x="32" y="31"/>
                    <a:pt x="31" y="33"/>
                    <a:pt x="29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2" y="40"/>
                    <a:pt x="10" y="39"/>
                  </a:cubicBezTo>
                  <a:cubicBezTo>
                    <a:pt x="8" y="38"/>
                    <a:pt x="6" y="36"/>
                    <a:pt x="5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1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7" y="4"/>
                    <a:pt x="8" y="2"/>
                    <a:pt x="11" y="1"/>
                  </a:cubicBezTo>
                  <a:cubicBezTo>
                    <a:pt x="13" y="1"/>
                    <a:pt x="15" y="0"/>
                    <a:pt x="17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4" y="17"/>
                    <a:pt x="34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3" y="10"/>
                    <a:pt x="22" y="9"/>
                    <a:pt x="21" y="8"/>
                  </a:cubicBezTo>
                  <a:cubicBezTo>
                    <a:pt x="20" y="8"/>
                    <a:pt x="18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9" y="12"/>
                    <a:pt x="9" y="13"/>
                    <a:pt x="8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8" y="26"/>
                  </a:cubicBezTo>
                  <a:cubicBezTo>
                    <a:pt x="9" y="27"/>
                    <a:pt x="10" y="28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25" name="Freeform 62">
              <a:extLst>
                <a:ext uri="{FF2B5EF4-FFF2-40B4-BE49-F238E27FC236}">
                  <a16:creationId xmlns:a16="http://schemas.microsoft.com/office/drawing/2014/main" id="{6051CC00-BFF2-4334-9855-62AD588546F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8067" y="6418333"/>
              <a:ext cx="57543" cy="101135"/>
            </a:xfrm>
            <a:custGeom>
              <a:avLst/>
              <a:gdLst>
                <a:gd name="T0" fmla="*/ 21 w 23"/>
                <a:gd name="T1" fmla="*/ 9 h 39"/>
                <a:gd name="T2" fmla="*/ 18 w 23"/>
                <a:gd name="T3" fmla="*/ 8 h 39"/>
                <a:gd name="T4" fmla="*/ 15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9 w 23"/>
                <a:gd name="T21" fmla="*/ 3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8" y="8"/>
                    <a:pt x="17" y="7"/>
                    <a:pt x="15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8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9" y="3"/>
                  </a:cubicBezTo>
                  <a:cubicBezTo>
                    <a:pt x="10" y="2"/>
                    <a:pt x="11" y="2"/>
                    <a:pt x="11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1"/>
                  </a:cubicBezTo>
                  <a:cubicBezTo>
                    <a:pt x="21" y="1"/>
                    <a:pt x="22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26" name="Freeform 63">
              <a:extLst>
                <a:ext uri="{FF2B5EF4-FFF2-40B4-BE49-F238E27FC236}">
                  <a16:creationId xmlns:a16="http://schemas.microsoft.com/office/drawing/2014/main" id="{905DD261-B224-46ED-8CEE-E8D180BA4B7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3046" y="6383459"/>
              <a:ext cx="19181" cy="136010"/>
            </a:xfrm>
            <a:custGeom>
              <a:avLst/>
              <a:gdLst>
                <a:gd name="T0" fmla="*/ 0 w 11"/>
                <a:gd name="T1" fmla="*/ 78 h 78"/>
                <a:gd name="T2" fmla="*/ 0 w 11"/>
                <a:gd name="T3" fmla="*/ 6 h 78"/>
                <a:gd name="T4" fmla="*/ 11 w 11"/>
                <a:gd name="T5" fmla="*/ 0 h 78"/>
                <a:gd name="T6" fmla="*/ 11 w 11"/>
                <a:gd name="T7" fmla="*/ 78 h 78"/>
                <a:gd name="T8" fmla="*/ 0 w 11"/>
                <a:gd name="T9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78">
                  <a:moveTo>
                    <a:pt x="0" y="78"/>
                  </a:moveTo>
                  <a:lnTo>
                    <a:pt x="0" y="6"/>
                  </a:lnTo>
                  <a:lnTo>
                    <a:pt x="11" y="0"/>
                  </a:lnTo>
                  <a:lnTo>
                    <a:pt x="11" y="78"/>
                  </a:lnTo>
                  <a:lnTo>
                    <a:pt x="0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27" name="Freeform 64">
              <a:extLst>
                <a:ext uri="{FF2B5EF4-FFF2-40B4-BE49-F238E27FC236}">
                  <a16:creationId xmlns:a16="http://schemas.microsoft.com/office/drawing/2014/main" id="{A23129DF-0296-4CA9-9723-124682F0A70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084896" y="6383459"/>
              <a:ext cx="80211" cy="137753"/>
            </a:xfrm>
            <a:custGeom>
              <a:avLst/>
              <a:gdLst>
                <a:gd name="T0" fmla="*/ 24 w 32"/>
                <a:gd name="T1" fmla="*/ 53 h 54"/>
                <a:gd name="T2" fmla="*/ 24 w 32"/>
                <a:gd name="T3" fmla="*/ 50 h 54"/>
                <a:gd name="T4" fmla="*/ 22 w 32"/>
                <a:gd name="T5" fmla="*/ 51 h 54"/>
                <a:gd name="T6" fmla="*/ 20 w 32"/>
                <a:gd name="T7" fmla="*/ 53 h 54"/>
                <a:gd name="T8" fmla="*/ 17 w 32"/>
                <a:gd name="T9" fmla="*/ 54 h 54"/>
                <a:gd name="T10" fmla="*/ 14 w 32"/>
                <a:gd name="T11" fmla="*/ 54 h 54"/>
                <a:gd name="T12" fmla="*/ 9 w 32"/>
                <a:gd name="T13" fmla="*/ 53 h 54"/>
                <a:gd name="T14" fmla="*/ 4 w 32"/>
                <a:gd name="T15" fmla="*/ 49 h 54"/>
                <a:gd name="T16" fmla="*/ 1 w 32"/>
                <a:gd name="T17" fmla="*/ 43 h 54"/>
                <a:gd name="T18" fmla="*/ 0 w 32"/>
                <a:gd name="T19" fmla="*/ 33 h 54"/>
                <a:gd name="T20" fmla="*/ 1 w 32"/>
                <a:gd name="T21" fmla="*/ 25 h 54"/>
                <a:gd name="T22" fmla="*/ 4 w 32"/>
                <a:gd name="T23" fmla="*/ 19 h 54"/>
                <a:gd name="T24" fmla="*/ 9 w 32"/>
                <a:gd name="T25" fmla="*/ 15 h 54"/>
                <a:gd name="T26" fmla="*/ 15 w 32"/>
                <a:gd name="T27" fmla="*/ 14 h 54"/>
                <a:gd name="T28" fmla="*/ 18 w 32"/>
                <a:gd name="T29" fmla="*/ 14 h 54"/>
                <a:gd name="T30" fmla="*/ 20 w 32"/>
                <a:gd name="T31" fmla="*/ 15 h 54"/>
                <a:gd name="T32" fmla="*/ 22 w 32"/>
                <a:gd name="T33" fmla="*/ 17 h 54"/>
                <a:gd name="T34" fmla="*/ 24 w 32"/>
                <a:gd name="T35" fmla="*/ 18 h 54"/>
                <a:gd name="T36" fmla="*/ 24 w 32"/>
                <a:gd name="T37" fmla="*/ 4 h 54"/>
                <a:gd name="T38" fmla="*/ 32 w 32"/>
                <a:gd name="T39" fmla="*/ 0 h 54"/>
                <a:gd name="T40" fmla="*/ 32 w 32"/>
                <a:gd name="T41" fmla="*/ 53 h 54"/>
                <a:gd name="T42" fmla="*/ 24 w 32"/>
                <a:gd name="T43" fmla="*/ 53 h 54"/>
                <a:gd name="T44" fmla="*/ 24 w 32"/>
                <a:gd name="T45" fmla="*/ 26 h 54"/>
                <a:gd name="T46" fmla="*/ 23 w 32"/>
                <a:gd name="T47" fmla="*/ 24 h 54"/>
                <a:gd name="T48" fmla="*/ 21 w 32"/>
                <a:gd name="T49" fmla="*/ 23 h 54"/>
                <a:gd name="T50" fmla="*/ 18 w 32"/>
                <a:gd name="T51" fmla="*/ 22 h 54"/>
                <a:gd name="T52" fmla="*/ 15 w 32"/>
                <a:gd name="T53" fmla="*/ 21 h 54"/>
                <a:gd name="T54" fmla="*/ 9 w 32"/>
                <a:gd name="T55" fmla="*/ 24 h 54"/>
                <a:gd name="T56" fmla="*/ 7 w 32"/>
                <a:gd name="T57" fmla="*/ 33 h 54"/>
                <a:gd name="T58" fmla="*/ 8 w 32"/>
                <a:gd name="T59" fmla="*/ 39 h 54"/>
                <a:gd name="T60" fmla="*/ 9 w 32"/>
                <a:gd name="T61" fmla="*/ 44 h 54"/>
                <a:gd name="T62" fmla="*/ 12 w 32"/>
                <a:gd name="T63" fmla="*/ 46 h 54"/>
                <a:gd name="T64" fmla="*/ 16 w 32"/>
                <a:gd name="T65" fmla="*/ 47 h 54"/>
                <a:gd name="T66" fmla="*/ 18 w 32"/>
                <a:gd name="T67" fmla="*/ 47 h 54"/>
                <a:gd name="T68" fmla="*/ 21 w 32"/>
                <a:gd name="T69" fmla="*/ 46 h 54"/>
                <a:gd name="T70" fmla="*/ 23 w 32"/>
                <a:gd name="T71" fmla="*/ 44 h 54"/>
                <a:gd name="T72" fmla="*/ 24 w 32"/>
                <a:gd name="T73" fmla="*/ 42 h 54"/>
                <a:gd name="T74" fmla="*/ 24 w 32"/>
                <a:gd name="T75" fmla="*/ 2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2" h="54">
                  <a:moveTo>
                    <a:pt x="24" y="53"/>
                  </a:moveTo>
                  <a:cubicBezTo>
                    <a:pt x="24" y="50"/>
                    <a:pt x="24" y="50"/>
                    <a:pt x="24" y="50"/>
                  </a:cubicBezTo>
                  <a:cubicBezTo>
                    <a:pt x="24" y="50"/>
                    <a:pt x="23" y="51"/>
                    <a:pt x="22" y="51"/>
                  </a:cubicBezTo>
                  <a:cubicBezTo>
                    <a:pt x="21" y="52"/>
                    <a:pt x="21" y="52"/>
                    <a:pt x="20" y="53"/>
                  </a:cubicBezTo>
                  <a:cubicBezTo>
                    <a:pt x="19" y="53"/>
                    <a:pt x="18" y="54"/>
                    <a:pt x="17" y="54"/>
                  </a:cubicBezTo>
                  <a:cubicBezTo>
                    <a:pt x="16" y="54"/>
                    <a:pt x="15" y="54"/>
                    <a:pt x="14" y="54"/>
                  </a:cubicBezTo>
                  <a:cubicBezTo>
                    <a:pt x="12" y="54"/>
                    <a:pt x="10" y="54"/>
                    <a:pt x="9" y="53"/>
                  </a:cubicBezTo>
                  <a:cubicBezTo>
                    <a:pt x="7" y="52"/>
                    <a:pt x="5" y="51"/>
                    <a:pt x="4" y="49"/>
                  </a:cubicBezTo>
                  <a:cubicBezTo>
                    <a:pt x="3" y="48"/>
                    <a:pt x="1" y="45"/>
                    <a:pt x="1" y="43"/>
                  </a:cubicBezTo>
                  <a:cubicBezTo>
                    <a:pt x="0" y="40"/>
                    <a:pt x="0" y="37"/>
                    <a:pt x="0" y="33"/>
                  </a:cubicBezTo>
                  <a:cubicBezTo>
                    <a:pt x="0" y="30"/>
                    <a:pt x="0" y="27"/>
                    <a:pt x="1" y="25"/>
                  </a:cubicBezTo>
                  <a:cubicBezTo>
                    <a:pt x="2" y="22"/>
                    <a:pt x="3" y="20"/>
                    <a:pt x="4" y="19"/>
                  </a:cubicBezTo>
                  <a:cubicBezTo>
                    <a:pt x="6" y="17"/>
                    <a:pt x="7" y="16"/>
                    <a:pt x="9" y="15"/>
                  </a:cubicBezTo>
                  <a:cubicBezTo>
                    <a:pt x="11" y="14"/>
                    <a:pt x="13" y="14"/>
                    <a:pt x="15" y="14"/>
                  </a:cubicBezTo>
                  <a:cubicBezTo>
                    <a:pt x="16" y="14"/>
                    <a:pt x="17" y="14"/>
                    <a:pt x="18" y="14"/>
                  </a:cubicBezTo>
                  <a:cubicBezTo>
                    <a:pt x="18" y="15"/>
                    <a:pt x="19" y="15"/>
                    <a:pt x="20" y="15"/>
                  </a:cubicBezTo>
                  <a:cubicBezTo>
                    <a:pt x="21" y="16"/>
                    <a:pt x="22" y="16"/>
                    <a:pt x="22" y="17"/>
                  </a:cubicBezTo>
                  <a:cubicBezTo>
                    <a:pt x="23" y="17"/>
                    <a:pt x="24" y="18"/>
                    <a:pt x="24" y="18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53"/>
                    <a:pt x="32" y="53"/>
                    <a:pt x="32" y="53"/>
                  </a:cubicBezTo>
                  <a:lnTo>
                    <a:pt x="24" y="53"/>
                  </a:lnTo>
                  <a:close/>
                  <a:moveTo>
                    <a:pt x="24" y="26"/>
                  </a:moveTo>
                  <a:cubicBezTo>
                    <a:pt x="24" y="26"/>
                    <a:pt x="23" y="25"/>
                    <a:pt x="23" y="24"/>
                  </a:cubicBezTo>
                  <a:cubicBezTo>
                    <a:pt x="22" y="24"/>
                    <a:pt x="22" y="23"/>
                    <a:pt x="21" y="23"/>
                  </a:cubicBezTo>
                  <a:cubicBezTo>
                    <a:pt x="20" y="22"/>
                    <a:pt x="19" y="22"/>
                    <a:pt x="18" y="22"/>
                  </a:cubicBezTo>
                  <a:cubicBezTo>
                    <a:pt x="17" y="21"/>
                    <a:pt x="16" y="21"/>
                    <a:pt x="15" y="21"/>
                  </a:cubicBezTo>
                  <a:cubicBezTo>
                    <a:pt x="13" y="21"/>
                    <a:pt x="11" y="22"/>
                    <a:pt x="9" y="24"/>
                  </a:cubicBezTo>
                  <a:cubicBezTo>
                    <a:pt x="8" y="26"/>
                    <a:pt x="7" y="29"/>
                    <a:pt x="7" y="33"/>
                  </a:cubicBezTo>
                  <a:cubicBezTo>
                    <a:pt x="7" y="36"/>
                    <a:pt x="7" y="38"/>
                    <a:pt x="8" y="39"/>
                  </a:cubicBezTo>
                  <a:cubicBezTo>
                    <a:pt x="8" y="41"/>
                    <a:pt x="9" y="43"/>
                    <a:pt x="9" y="44"/>
                  </a:cubicBezTo>
                  <a:cubicBezTo>
                    <a:pt x="10" y="45"/>
                    <a:pt x="11" y="46"/>
                    <a:pt x="12" y="46"/>
                  </a:cubicBezTo>
                  <a:cubicBezTo>
                    <a:pt x="13" y="47"/>
                    <a:pt x="14" y="47"/>
                    <a:pt x="16" y="47"/>
                  </a:cubicBezTo>
                  <a:cubicBezTo>
                    <a:pt x="17" y="47"/>
                    <a:pt x="18" y="47"/>
                    <a:pt x="18" y="47"/>
                  </a:cubicBezTo>
                  <a:cubicBezTo>
                    <a:pt x="19" y="46"/>
                    <a:pt x="20" y="46"/>
                    <a:pt x="21" y="46"/>
                  </a:cubicBezTo>
                  <a:cubicBezTo>
                    <a:pt x="21" y="45"/>
                    <a:pt x="22" y="45"/>
                    <a:pt x="23" y="44"/>
                  </a:cubicBezTo>
                  <a:cubicBezTo>
                    <a:pt x="23" y="43"/>
                    <a:pt x="24" y="43"/>
                    <a:pt x="24" y="42"/>
                  </a:cubicBezTo>
                  <a:lnTo>
                    <a:pt x="24" y="2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28" name="Freeform 65">
              <a:extLst>
                <a:ext uri="{FF2B5EF4-FFF2-40B4-BE49-F238E27FC236}">
                  <a16:creationId xmlns:a16="http://schemas.microsoft.com/office/drawing/2014/main" id="{A2A2BF8E-DA3A-4AC0-B7EB-7CAABFC9E69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29624" y="6421821"/>
              <a:ext cx="122060" cy="97648"/>
            </a:xfrm>
            <a:custGeom>
              <a:avLst/>
              <a:gdLst>
                <a:gd name="T0" fmla="*/ 55 w 70"/>
                <a:gd name="T1" fmla="*/ 56 h 56"/>
                <a:gd name="T2" fmla="*/ 45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6 w 70"/>
                <a:gd name="T9" fmla="*/ 56 h 56"/>
                <a:gd name="T10" fmla="*/ 0 w 70"/>
                <a:gd name="T11" fmla="*/ 0 h 56"/>
                <a:gd name="T12" fmla="*/ 12 w 70"/>
                <a:gd name="T13" fmla="*/ 0 h 56"/>
                <a:gd name="T14" fmla="*/ 20 w 70"/>
                <a:gd name="T15" fmla="*/ 38 h 56"/>
                <a:gd name="T16" fmla="*/ 31 w 70"/>
                <a:gd name="T17" fmla="*/ 0 h 56"/>
                <a:gd name="T18" fmla="*/ 39 w 70"/>
                <a:gd name="T19" fmla="*/ 0 h 56"/>
                <a:gd name="T20" fmla="*/ 51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5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5" y="56"/>
                  </a:moveTo>
                  <a:lnTo>
                    <a:pt x="45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6" y="56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0" y="38"/>
                  </a:lnTo>
                  <a:lnTo>
                    <a:pt x="31" y="0"/>
                  </a:lnTo>
                  <a:lnTo>
                    <a:pt x="39" y="0"/>
                  </a:lnTo>
                  <a:lnTo>
                    <a:pt x="51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29" name="Freeform 66">
              <a:extLst>
                <a:ext uri="{FF2B5EF4-FFF2-40B4-BE49-F238E27FC236}">
                  <a16:creationId xmlns:a16="http://schemas.microsoft.com/office/drawing/2014/main" id="{BEBFC1A4-92B9-418F-A0A9-2E210A37BCF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62147" y="6418333"/>
              <a:ext cx="88930" cy="102879"/>
            </a:xfrm>
            <a:custGeom>
              <a:avLst/>
              <a:gdLst>
                <a:gd name="T0" fmla="*/ 35 w 35"/>
                <a:gd name="T1" fmla="*/ 20 h 40"/>
                <a:gd name="T2" fmla="*/ 33 w 35"/>
                <a:gd name="T3" fmla="*/ 28 h 40"/>
                <a:gd name="T4" fmla="*/ 30 w 35"/>
                <a:gd name="T5" fmla="*/ 35 h 40"/>
                <a:gd name="T6" fmla="*/ 24 w 35"/>
                <a:gd name="T7" fmla="*/ 39 h 40"/>
                <a:gd name="T8" fmla="*/ 17 w 35"/>
                <a:gd name="T9" fmla="*/ 40 h 40"/>
                <a:gd name="T10" fmla="*/ 11 w 35"/>
                <a:gd name="T11" fmla="*/ 39 h 40"/>
                <a:gd name="T12" fmla="*/ 5 w 35"/>
                <a:gd name="T13" fmla="*/ 35 h 40"/>
                <a:gd name="T14" fmla="*/ 2 w 35"/>
                <a:gd name="T15" fmla="*/ 28 h 40"/>
                <a:gd name="T16" fmla="*/ 0 w 35"/>
                <a:gd name="T17" fmla="*/ 20 h 40"/>
                <a:gd name="T18" fmla="*/ 2 w 35"/>
                <a:gd name="T19" fmla="*/ 12 h 40"/>
                <a:gd name="T20" fmla="*/ 5 w 35"/>
                <a:gd name="T21" fmla="*/ 5 h 40"/>
                <a:gd name="T22" fmla="*/ 11 w 35"/>
                <a:gd name="T23" fmla="*/ 1 h 40"/>
                <a:gd name="T24" fmla="*/ 18 w 35"/>
                <a:gd name="T25" fmla="*/ 0 h 40"/>
                <a:gd name="T26" fmla="*/ 24 w 35"/>
                <a:gd name="T27" fmla="*/ 1 h 40"/>
                <a:gd name="T28" fmla="*/ 30 w 35"/>
                <a:gd name="T29" fmla="*/ 5 h 40"/>
                <a:gd name="T30" fmla="*/ 33 w 35"/>
                <a:gd name="T31" fmla="*/ 12 h 40"/>
                <a:gd name="T32" fmla="*/ 35 w 35"/>
                <a:gd name="T33" fmla="*/ 20 h 40"/>
                <a:gd name="T34" fmla="*/ 27 w 35"/>
                <a:gd name="T35" fmla="*/ 20 h 40"/>
                <a:gd name="T36" fmla="*/ 26 w 35"/>
                <a:gd name="T37" fmla="*/ 15 h 40"/>
                <a:gd name="T38" fmla="*/ 24 w 35"/>
                <a:gd name="T39" fmla="*/ 11 h 40"/>
                <a:gd name="T40" fmla="*/ 21 w 35"/>
                <a:gd name="T41" fmla="*/ 8 h 40"/>
                <a:gd name="T42" fmla="*/ 17 w 35"/>
                <a:gd name="T43" fmla="*/ 7 h 40"/>
                <a:gd name="T44" fmla="*/ 13 w 35"/>
                <a:gd name="T45" fmla="*/ 8 h 40"/>
                <a:gd name="T46" fmla="*/ 10 w 35"/>
                <a:gd name="T47" fmla="*/ 11 h 40"/>
                <a:gd name="T48" fmla="*/ 9 w 35"/>
                <a:gd name="T49" fmla="*/ 15 h 40"/>
                <a:gd name="T50" fmla="*/ 8 w 35"/>
                <a:gd name="T51" fmla="*/ 20 h 40"/>
                <a:gd name="T52" fmla="*/ 9 w 35"/>
                <a:gd name="T53" fmla="*/ 26 h 40"/>
                <a:gd name="T54" fmla="*/ 11 w 35"/>
                <a:gd name="T55" fmla="*/ 30 h 40"/>
                <a:gd name="T56" fmla="*/ 14 w 35"/>
                <a:gd name="T57" fmla="*/ 32 h 40"/>
                <a:gd name="T58" fmla="*/ 18 w 35"/>
                <a:gd name="T59" fmla="*/ 33 h 40"/>
                <a:gd name="T60" fmla="*/ 21 w 35"/>
                <a:gd name="T61" fmla="*/ 32 h 40"/>
                <a:gd name="T62" fmla="*/ 24 w 35"/>
                <a:gd name="T63" fmla="*/ 29 h 40"/>
                <a:gd name="T64" fmla="*/ 26 w 35"/>
                <a:gd name="T65" fmla="*/ 25 h 40"/>
                <a:gd name="T66" fmla="*/ 27 w 35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5" h="40">
                  <a:moveTo>
                    <a:pt x="35" y="20"/>
                  </a:moveTo>
                  <a:cubicBezTo>
                    <a:pt x="35" y="23"/>
                    <a:pt x="34" y="26"/>
                    <a:pt x="33" y="28"/>
                  </a:cubicBezTo>
                  <a:cubicBezTo>
                    <a:pt x="32" y="31"/>
                    <a:pt x="31" y="33"/>
                    <a:pt x="30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3" y="40"/>
                    <a:pt x="11" y="39"/>
                  </a:cubicBezTo>
                  <a:cubicBezTo>
                    <a:pt x="8" y="38"/>
                    <a:pt x="7" y="36"/>
                    <a:pt x="5" y="35"/>
                  </a:cubicBezTo>
                  <a:cubicBezTo>
                    <a:pt x="4" y="33"/>
                    <a:pt x="2" y="31"/>
                    <a:pt x="2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3" y="9"/>
                    <a:pt x="4" y="7"/>
                    <a:pt x="5" y="5"/>
                  </a:cubicBezTo>
                  <a:cubicBezTo>
                    <a:pt x="7" y="4"/>
                    <a:pt x="9" y="2"/>
                    <a:pt x="11" y="1"/>
                  </a:cubicBezTo>
                  <a:cubicBezTo>
                    <a:pt x="13" y="1"/>
                    <a:pt x="15" y="0"/>
                    <a:pt x="18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30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5" y="17"/>
                    <a:pt x="35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4" y="10"/>
                    <a:pt x="23" y="9"/>
                    <a:pt x="21" y="8"/>
                  </a:cubicBezTo>
                  <a:cubicBezTo>
                    <a:pt x="20" y="8"/>
                    <a:pt x="19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10" y="12"/>
                    <a:pt x="9" y="13"/>
                    <a:pt x="9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9" y="26"/>
                  </a:cubicBezTo>
                  <a:cubicBezTo>
                    <a:pt x="9" y="27"/>
                    <a:pt x="10" y="28"/>
                    <a:pt x="11" y="30"/>
                  </a:cubicBezTo>
                  <a:cubicBezTo>
                    <a:pt x="11" y="31"/>
                    <a:pt x="12" y="32"/>
                    <a:pt x="14" y="32"/>
                  </a:cubicBezTo>
                  <a:cubicBezTo>
                    <a:pt x="15" y="33"/>
                    <a:pt x="16" y="33"/>
                    <a:pt x="18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3" y="31"/>
                    <a:pt x="24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30" name="Freeform 67">
              <a:extLst>
                <a:ext uri="{FF2B5EF4-FFF2-40B4-BE49-F238E27FC236}">
                  <a16:creationId xmlns:a16="http://schemas.microsoft.com/office/drawing/2014/main" id="{A28B9FD0-8354-4DD6-856A-157C5F8768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68514" y="6418333"/>
              <a:ext cx="59286" cy="101135"/>
            </a:xfrm>
            <a:custGeom>
              <a:avLst/>
              <a:gdLst>
                <a:gd name="T0" fmla="*/ 21 w 23"/>
                <a:gd name="T1" fmla="*/ 9 h 39"/>
                <a:gd name="T2" fmla="*/ 19 w 23"/>
                <a:gd name="T3" fmla="*/ 8 h 39"/>
                <a:gd name="T4" fmla="*/ 16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10 w 23"/>
                <a:gd name="T21" fmla="*/ 3 h 39"/>
                <a:gd name="T22" fmla="*/ 12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1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20" y="8"/>
                    <a:pt x="19" y="8"/>
                  </a:cubicBezTo>
                  <a:cubicBezTo>
                    <a:pt x="18" y="8"/>
                    <a:pt x="17" y="7"/>
                    <a:pt x="16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9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10" y="3"/>
                  </a:cubicBezTo>
                  <a:cubicBezTo>
                    <a:pt x="10" y="2"/>
                    <a:pt x="11" y="2"/>
                    <a:pt x="12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20" y="0"/>
                    <a:pt x="21" y="1"/>
                  </a:cubicBezTo>
                  <a:cubicBezTo>
                    <a:pt x="22" y="1"/>
                    <a:pt x="23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31" name="Freeform 68">
              <a:extLst>
                <a:ext uri="{FF2B5EF4-FFF2-40B4-BE49-F238E27FC236}">
                  <a16:creationId xmlns:a16="http://schemas.microsoft.com/office/drawing/2014/main" id="{83D3DEEE-A610-48BE-BADD-6BA188B5B86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5237" y="6383459"/>
              <a:ext cx="76723" cy="136010"/>
            </a:xfrm>
            <a:custGeom>
              <a:avLst/>
              <a:gdLst>
                <a:gd name="T0" fmla="*/ 31 w 44"/>
                <a:gd name="T1" fmla="*/ 78 h 78"/>
                <a:gd name="T2" fmla="*/ 19 w 44"/>
                <a:gd name="T3" fmla="*/ 50 h 78"/>
                <a:gd name="T4" fmla="*/ 10 w 44"/>
                <a:gd name="T5" fmla="*/ 61 h 78"/>
                <a:gd name="T6" fmla="*/ 10 w 44"/>
                <a:gd name="T7" fmla="*/ 78 h 78"/>
                <a:gd name="T8" fmla="*/ 0 w 44"/>
                <a:gd name="T9" fmla="*/ 78 h 78"/>
                <a:gd name="T10" fmla="*/ 0 w 44"/>
                <a:gd name="T11" fmla="*/ 6 h 78"/>
                <a:gd name="T12" fmla="*/ 10 w 44"/>
                <a:gd name="T13" fmla="*/ 0 h 78"/>
                <a:gd name="T14" fmla="*/ 10 w 44"/>
                <a:gd name="T15" fmla="*/ 47 h 78"/>
                <a:gd name="T16" fmla="*/ 28 w 44"/>
                <a:gd name="T17" fmla="*/ 22 h 78"/>
                <a:gd name="T18" fmla="*/ 41 w 44"/>
                <a:gd name="T19" fmla="*/ 22 h 78"/>
                <a:gd name="T20" fmla="*/ 26 w 44"/>
                <a:gd name="T21" fmla="*/ 41 h 78"/>
                <a:gd name="T22" fmla="*/ 44 w 44"/>
                <a:gd name="T23" fmla="*/ 78 h 78"/>
                <a:gd name="T24" fmla="*/ 31 w 44"/>
                <a:gd name="T25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4" h="78">
                  <a:moveTo>
                    <a:pt x="31" y="78"/>
                  </a:moveTo>
                  <a:lnTo>
                    <a:pt x="19" y="50"/>
                  </a:lnTo>
                  <a:lnTo>
                    <a:pt x="10" y="61"/>
                  </a:lnTo>
                  <a:lnTo>
                    <a:pt x="10" y="78"/>
                  </a:lnTo>
                  <a:lnTo>
                    <a:pt x="0" y="78"/>
                  </a:lnTo>
                  <a:lnTo>
                    <a:pt x="0" y="6"/>
                  </a:lnTo>
                  <a:lnTo>
                    <a:pt x="10" y="0"/>
                  </a:lnTo>
                  <a:lnTo>
                    <a:pt x="10" y="47"/>
                  </a:lnTo>
                  <a:lnTo>
                    <a:pt x="28" y="22"/>
                  </a:lnTo>
                  <a:lnTo>
                    <a:pt x="41" y="22"/>
                  </a:lnTo>
                  <a:lnTo>
                    <a:pt x="26" y="41"/>
                  </a:lnTo>
                  <a:lnTo>
                    <a:pt x="44" y="78"/>
                  </a:lnTo>
                  <a:lnTo>
                    <a:pt x="31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32" name="Freeform 69">
              <a:extLst>
                <a:ext uri="{FF2B5EF4-FFF2-40B4-BE49-F238E27FC236}">
                  <a16:creationId xmlns:a16="http://schemas.microsoft.com/office/drawing/2014/main" id="{463C7ADB-C654-4D24-9055-0B6003A770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28936" y="6418333"/>
              <a:ext cx="74980" cy="102879"/>
            </a:xfrm>
            <a:custGeom>
              <a:avLst/>
              <a:gdLst>
                <a:gd name="T0" fmla="*/ 28 w 29"/>
                <a:gd name="T1" fmla="*/ 4 h 40"/>
                <a:gd name="T2" fmla="*/ 25 w 29"/>
                <a:gd name="T3" fmla="*/ 10 h 40"/>
                <a:gd name="T4" fmla="*/ 20 w 29"/>
                <a:gd name="T5" fmla="*/ 8 h 40"/>
                <a:gd name="T6" fmla="*/ 15 w 29"/>
                <a:gd name="T7" fmla="*/ 7 h 40"/>
                <a:gd name="T8" fmla="*/ 11 w 29"/>
                <a:gd name="T9" fmla="*/ 8 h 40"/>
                <a:gd name="T10" fmla="*/ 9 w 29"/>
                <a:gd name="T11" fmla="*/ 10 h 40"/>
                <a:gd name="T12" fmla="*/ 10 w 29"/>
                <a:gd name="T13" fmla="*/ 12 h 40"/>
                <a:gd name="T14" fmla="*/ 11 w 29"/>
                <a:gd name="T15" fmla="*/ 13 h 40"/>
                <a:gd name="T16" fmla="*/ 13 w 29"/>
                <a:gd name="T17" fmla="*/ 14 h 40"/>
                <a:gd name="T18" fmla="*/ 17 w 29"/>
                <a:gd name="T19" fmla="*/ 16 h 40"/>
                <a:gd name="T20" fmla="*/ 22 w 29"/>
                <a:gd name="T21" fmla="*/ 18 h 40"/>
                <a:gd name="T22" fmla="*/ 26 w 29"/>
                <a:gd name="T23" fmla="*/ 21 h 40"/>
                <a:gd name="T24" fmla="*/ 29 w 29"/>
                <a:gd name="T25" fmla="*/ 24 h 40"/>
                <a:gd name="T26" fmla="*/ 29 w 29"/>
                <a:gd name="T27" fmla="*/ 29 h 40"/>
                <a:gd name="T28" fmla="*/ 28 w 29"/>
                <a:gd name="T29" fmla="*/ 34 h 40"/>
                <a:gd name="T30" fmla="*/ 25 w 29"/>
                <a:gd name="T31" fmla="*/ 38 h 40"/>
                <a:gd name="T32" fmla="*/ 21 w 29"/>
                <a:gd name="T33" fmla="*/ 40 h 40"/>
                <a:gd name="T34" fmla="*/ 15 w 29"/>
                <a:gd name="T35" fmla="*/ 40 h 40"/>
                <a:gd name="T36" fmla="*/ 7 w 29"/>
                <a:gd name="T37" fmla="*/ 39 h 40"/>
                <a:gd name="T38" fmla="*/ 0 w 29"/>
                <a:gd name="T39" fmla="*/ 35 h 40"/>
                <a:gd name="T40" fmla="*/ 4 w 29"/>
                <a:gd name="T41" fmla="*/ 30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20 w 29"/>
                <a:gd name="T53" fmla="*/ 26 h 40"/>
                <a:gd name="T54" fmla="*/ 17 w 29"/>
                <a:gd name="T55" fmla="*/ 24 h 40"/>
                <a:gd name="T56" fmla="*/ 13 w 29"/>
                <a:gd name="T57" fmla="*/ 23 h 40"/>
                <a:gd name="T58" fmla="*/ 8 w 29"/>
                <a:gd name="T59" fmla="*/ 20 h 40"/>
                <a:gd name="T60" fmla="*/ 4 w 29"/>
                <a:gd name="T61" fmla="*/ 18 h 40"/>
                <a:gd name="T62" fmla="*/ 2 w 29"/>
                <a:gd name="T63" fmla="*/ 15 h 40"/>
                <a:gd name="T64" fmla="*/ 2 w 29"/>
                <a:gd name="T65" fmla="*/ 11 h 40"/>
                <a:gd name="T66" fmla="*/ 3 w 29"/>
                <a:gd name="T67" fmla="*/ 6 h 40"/>
                <a:gd name="T68" fmla="*/ 6 w 29"/>
                <a:gd name="T69" fmla="*/ 3 h 40"/>
                <a:gd name="T70" fmla="*/ 10 w 29"/>
                <a:gd name="T71" fmla="*/ 1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5" y="10"/>
                    <a:pt x="25" y="10"/>
                    <a:pt x="25" y="10"/>
                  </a:cubicBezTo>
                  <a:cubicBezTo>
                    <a:pt x="23" y="9"/>
                    <a:pt x="22" y="8"/>
                    <a:pt x="20" y="8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2" y="7"/>
                    <a:pt x="11" y="8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1"/>
                    <a:pt x="10" y="11"/>
                    <a:pt x="10" y="12"/>
                  </a:cubicBezTo>
                  <a:cubicBezTo>
                    <a:pt x="10" y="12"/>
                    <a:pt x="10" y="13"/>
                    <a:pt x="11" y="13"/>
                  </a:cubicBezTo>
                  <a:cubicBezTo>
                    <a:pt x="11" y="13"/>
                    <a:pt x="12" y="14"/>
                    <a:pt x="13" y="14"/>
                  </a:cubicBezTo>
                  <a:cubicBezTo>
                    <a:pt x="14" y="15"/>
                    <a:pt x="15" y="15"/>
                    <a:pt x="17" y="16"/>
                  </a:cubicBezTo>
                  <a:cubicBezTo>
                    <a:pt x="19" y="17"/>
                    <a:pt x="21" y="18"/>
                    <a:pt x="22" y="18"/>
                  </a:cubicBezTo>
                  <a:cubicBezTo>
                    <a:pt x="24" y="19"/>
                    <a:pt x="25" y="20"/>
                    <a:pt x="26" y="21"/>
                  </a:cubicBezTo>
                  <a:cubicBezTo>
                    <a:pt x="27" y="22"/>
                    <a:pt x="28" y="23"/>
                    <a:pt x="29" y="24"/>
                  </a:cubicBezTo>
                  <a:cubicBezTo>
                    <a:pt x="29" y="25"/>
                    <a:pt x="29" y="27"/>
                    <a:pt x="29" y="29"/>
                  </a:cubicBezTo>
                  <a:cubicBezTo>
                    <a:pt x="29" y="31"/>
                    <a:pt x="29" y="33"/>
                    <a:pt x="28" y="34"/>
                  </a:cubicBezTo>
                  <a:cubicBezTo>
                    <a:pt x="28" y="36"/>
                    <a:pt x="26" y="37"/>
                    <a:pt x="25" y="38"/>
                  </a:cubicBezTo>
                  <a:cubicBezTo>
                    <a:pt x="24" y="39"/>
                    <a:pt x="22" y="39"/>
                    <a:pt x="21" y="40"/>
                  </a:cubicBezTo>
                  <a:cubicBezTo>
                    <a:pt x="19" y="40"/>
                    <a:pt x="17" y="40"/>
                    <a:pt x="15" y="40"/>
                  </a:cubicBezTo>
                  <a:cubicBezTo>
                    <a:pt x="13" y="40"/>
                    <a:pt x="10" y="40"/>
                    <a:pt x="7" y="39"/>
                  </a:cubicBezTo>
                  <a:cubicBezTo>
                    <a:pt x="5" y="38"/>
                    <a:pt x="2" y="37"/>
                    <a:pt x="0" y="35"/>
                  </a:cubicBezTo>
                  <a:cubicBezTo>
                    <a:pt x="4" y="30"/>
                    <a:pt x="4" y="30"/>
                    <a:pt x="4" y="30"/>
                  </a:cubicBezTo>
                  <a:cubicBezTo>
                    <a:pt x="6" y="31"/>
                    <a:pt x="7" y="32"/>
                    <a:pt x="9" y="32"/>
                  </a:cubicBezTo>
                  <a:cubicBezTo>
                    <a:pt x="11" y="33"/>
                    <a:pt x="13" y="33"/>
                    <a:pt x="15" y="33"/>
                  </a:cubicBezTo>
                  <a:cubicBezTo>
                    <a:pt x="17" y="33"/>
                    <a:pt x="19" y="33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8"/>
                    <a:pt x="21" y="27"/>
                  </a:cubicBezTo>
                  <a:cubicBezTo>
                    <a:pt x="21" y="27"/>
                    <a:pt x="20" y="26"/>
                    <a:pt x="20" y="26"/>
                  </a:cubicBezTo>
                  <a:cubicBezTo>
                    <a:pt x="19" y="25"/>
                    <a:pt x="18" y="25"/>
                    <a:pt x="17" y="24"/>
                  </a:cubicBezTo>
                  <a:cubicBezTo>
                    <a:pt x="16" y="24"/>
                    <a:pt x="15" y="23"/>
                    <a:pt x="13" y="23"/>
                  </a:cubicBezTo>
                  <a:cubicBezTo>
                    <a:pt x="11" y="22"/>
                    <a:pt x="9" y="21"/>
                    <a:pt x="8" y="20"/>
                  </a:cubicBezTo>
                  <a:cubicBezTo>
                    <a:pt x="6" y="19"/>
                    <a:pt x="5" y="19"/>
                    <a:pt x="4" y="18"/>
                  </a:cubicBezTo>
                  <a:cubicBezTo>
                    <a:pt x="3" y="17"/>
                    <a:pt x="3" y="16"/>
                    <a:pt x="2" y="15"/>
                  </a:cubicBezTo>
                  <a:cubicBezTo>
                    <a:pt x="2" y="13"/>
                    <a:pt x="2" y="12"/>
                    <a:pt x="2" y="11"/>
                  </a:cubicBezTo>
                  <a:cubicBezTo>
                    <a:pt x="2" y="9"/>
                    <a:pt x="2" y="7"/>
                    <a:pt x="3" y="6"/>
                  </a:cubicBezTo>
                  <a:cubicBezTo>
                    <a:pt x="3" y="5"/>
                    <a:pt x="4" y="4"/>
                    <a:pt x="6" y="3"/>
                  </a:cubicBezTo>
                  <a:cubicBezTo>
                    <a:pt x="7" y="2"/>
                    <a:pt x="8" y="1"/>
                    <a:pt x="10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20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33" name="Freeform 70">
              <a:extLst>
                <a:ext uri="{FF2B5EF4-FFF2-40B4-BE49-F238E27FC236}">
                  <a16:creationId xmlns:a16="http://schemas.microsoft.com/office/drawing/2014/main" id="{40CF3793-E792-4DB3-8064-4B43F4706A3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23096" y="6489826"/>
              <a:ext cx="27899" cy="31387"/>
            </a:xfrm>
            <a:custGeom>
              <a:avLst/>
              <a:gdLst>
                <a:gd name="T0" fmla="*/ 11 w 11"/>
                <a:gd name="T1" fmla="*/ 6 h 12"/>
                <a:gd name="T2" fmla="*/ 11 w 11"/>
                <a:gd name="T3" fmla="*/ 9 h 12"/>
                <a:gd name="T4" fmla="*/ 10 w 11"/>
                <a:gd name="T5" fmla="*/ 10 h 12"/>
                <a:gd name="T6" fmla="*/ 8 w 11"/>
                <a:gd name="T7" fmla="*/ 12 h 12"/>
                <a:gd name="T8" fmla="*/ 6 w 11"/>
                <a:gd name="T9" fmla="*/ 12 h 12"/>
                <a:gd name="T10" fmla="*/ 3 w 11"/>
                <a:gd name="T11" fmla="*/ 12 h 12"/>
                <a:gd name="T12" fmla="*/ 1 w 11"/>
                <a:gd name="T13" fmla="*/ 10 h 12"/>
                <a:gd name="T14" fmla="*/ 0 w 11"/>
                <a:gd name="T15" fmla="*/ 9 h 12"/>
                <a:gd name="T16" fmla="*/ 0 w 11"/>
                <a:gd name="T17" fmla="*/ 6 h 12"/>
                <a:gd name="T18" fmla="*/ 0 w 11"/>
                <a:gd name="T19" fmla="*/ 4 h 12"/>
                <a:gd name="T20" fmla="*/ 1 w 11"/>
                <a:gd name="T21" fmla="*/ 2 h 12"/>
                <a:gd name="T22" fmla="*/ 3 w 11"/>
                <a:gd name="T23" fmla="*/ 1 h 12"/>
                <a:gd name="T24" fmla="*/ 6 w 11"/>
                <a:gd name="T25" fmla="*/ 0 h 12"/>
                <a:gd name="T26" fmla="*/ 8 w 11"/>
                <a:gd name="T27" fmla="*/ 1 h 12"/>
                <a:gd name="T28" fmla="*/ 10 w 11"/>
                <a:gd name="T29" fmla="*/ 2 h 12"/>
                <a:gd name="T30" fmla="*/ 11 w 11"/>
                <a:gd name="T31" fmla="*/ 4 h 12"/>
                <a:gd name="T32" fmla="*/ 11 w 11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" h="12">
                  <a:moveTo>
                    <a:pt x="11" y="6"/>
                  </a:moveTo>
                  <a:cubicBezTo>
                    <a:pt x="11" y="7"/>
                    <a:pt x="11" y="8"/>
                    <a:pt x="11" y="9"/>
                  </a:cubicBezTo>
                  <a:cubicBezTo>
                    <a:pt x="11" y="9"/>
                    <a:pt x="10" y="10"/>
                    <a:pt x="10" y="10"/>
                  </a:cubicBezTo>
                  <a:cubicBezTo>
                    <a:pt x="9" y="11"/>
                    <a:pt x="9" y="11"/>
                    <a:pt x="8" y="12"/>
                  </a:cubicBezTo>
                  <a:cubicBezTo>
                    <a:pt x="7" y="12"/>
                    <a:pt x="6" y="12"/>
                    <a:pt x="6" y="12"/>
                  </a:cubicBezTo>
                  <a:cubicBezTo>
                    <a:pt x="5" y="12"/>
                    <a:pt x="4" y="12"/>
                    <a:pt x="3" y="12"/>
                  </a:cubicBezTo>
                  <a:cubicBezTo>
                    <a:pt x="3" y="11"/>
                    <a:pt x="2" y="11"/>
                    <a:pt x="1" y="10"/>
                  </a:cubicBezTo>
                  <a:cubicBezTo>
                    <a:pt x="1" y="10"/>
                    <a:pt x="1" y="9"/>
                    <a:pt x="0" y="9"/>
                  </a:cubicBezTo>
                  <a:cubicBezTo>
                    <a:pt x="0" y="8"/>
                    <a:pt x="0" y="7"/>
                    <a:pt x="0" y="6"/>
                  </a:cubicBezTo>
                  <a:cubicBezTo>
                    <a:pt x="0" y="6"/>
                    <a:pt x="0" y="5"/>
                    <a:pt x="0" y="4"/>
                  </a:cubicBezTo>
                  <a:cubicBezTo>
                    <a:pt x="1" y="3"/>
                    <a:pt x="1" y="3"/>
                    <a:pt x="1" y="2"/>
                  </a:cubicBezTo>
                  <a:cubicBezTo>
                    <a:pt x="2" y="2"/>
                    <a:pt x="3" y="1"/>
                    <a:pt x="3" y="1"/>
                  </a:cubicBezTo>
                  <a:cubicBezTo>
                    <a:pt x="4" y="1"/>
                    <a:pt x="5" y="0"/>
                    <a:pt x="6" y="0"/>
                  </a:cubicBezTo>
                  <a:cubicBezTo>
                    <a:pt x="6" y="0"/>
                    <a:pt x="7" y="1"/>
                    <a:pt x="8" y="1"/>
                  </a:cubicBezTo>
                  <a:cubicBezTo>
                    <a:pt x="9" y="1"/>
                    <a:pt x="9" y="2"/>
                    <a:pt x="10" y="2"/>
                  </a:cubicBezTo>
                  <a:cubicBezTo>
                    <a:pt x="10" y="3"/>
                    <a:pt x="11" y="3"/>
                    <a:pt x="11" y="4"/>
                  </a:cubicBezTo>
                  <a:cubicBezTo>
                    <a:pt x="11" y="5"/>
                    <a:pt x="11" y="6"/>
                    <a:pt x="11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</p:grpSp>
      <p:sp>
        <p:nvSpPr>
          <p:cNvPr id="18" name="Title 1"/>
          <p:cNvSpPr>
            <a:spLocks noGrp="1"/>
          </p:cNvSpPr>
          <p:nvPr userDrawn="1">
            <p:ph type="ctrTitle"/>
          </p:nvPr>
        </p:nvSpPr>
        <p:spPr>
          <a:xfrm>
            <a:off x="944388" y="2158329"/>
            <a:ext cx="4781392" cy="860400"/>
          </a:xfrm>
          <a:prstGeom prst="rect">
            <a:avLst/>
          </a:prstGeom>
        </p:spPr>
        <p:txBody>
          <a:bodyPr/>
          <a:lstStyle>
            <a:lvl1pPr>
              <a:defRPr sz="2998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9" name="Subtitle 2"/>
          <p:cNvSpPr>
            <a:spLocks noGrp="1"/>
          </p:cNvSpPr>
          <p:nvPr userDrawn="1">
            <p:ph type="subTitle" idx="1"/>
          </p:nvPr>
        </p:nvSpPr>
        <p:spPr>
          <a:xfrm>
            <a:off x="944580" y="3200329"/>
            <a:ext cx="4805525" cy="64574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998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  <a:lvl2pPr marL="0" indent="0" algn="l">
              <a:buNone/>
              <a:defRPr sz="1598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9134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2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69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37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04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72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3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3" name="Freeform: Shape 2">
            <a:extLst>
              <a:ext uri="{FF2B5EF4-FFF2-40B4-BE49-F238E27FC236}">
                <a16:creationId xmlns:a16="http://schemas.microsoft.com/office/drawing/2014/main" id="{44A731D0-020D-4D8E-955D-2354AF0FE452}"/>
              </a:ext>
            </a:extLst>
          </p:cNvPr>
          <p:cNvSpPr/>
          <p:nvPr userDrawn="1"/>
        </p:nvSpPr>
        <p:spPr>
          <a:xfrm>
            <a:off x="489113" y="723658"/>
            <a:ext cx="5677988" cy="3452894"/>
          </a:xfrm>
          <a:custGeom>
            <a:avLst/>
            <a:gdLst>
              <a:gd name="connsiteX0" fmla="*/ 8749 w 5680945"/>
              <a:gd name="connsiteY0" fmla="*/ 1021520 h 3452894"/>
              <a:gd name="connsiteX1" fmla="*/ 8749 w 5680945"/>
              <a:gd name="connsiteY1" fmla="*/ 3164181 h 3452894"/>
              <a:gd name="connsiteX2" fmla="*/ 151414 w 5680945"/>
              <a:gd name="connsiteY2" fmla="*/ 3164181 h 3452894"/>
              <a:gd name="connsiteX3" fmla="*/ 151414 w 5680945"/>
              <a:gd name="connsiteY3" fmla="*/ 1140155 h 3452894"/>
              <a:gd name="connsiteX4" fmla="*/ 5534897 w 5680945"/>
              <a:gd name="connsiteY4" fmla="*/ 179294 h 3452894"/>
              <a:gd name="connsiteX5" fmla="*/ 5534897 w 5680945"/>
              <a:gd name="connsiteY5" fmla="*/ 3306846 h 3452894"/>
              <a:gd name="connsiteX6" fmla="*/ 864624 w 5680945"/>
              <a:gd name="connsiteY6" fmla="*/ 3306846 h 3452894"/>
              <a:gd name="connsiteX7" fmla="*/ 864624 w 5680945"/>
              <a:gd name="connsiteY7" fmla="*/ 3449395 h 3452894"/>
              <a:gd name="connsiteX8" fmla="*/ 5677562 w 5680945"/>
              <a:gd name="connsiteY8" fmla="*/ 3449395 h 3452894"/>
              <a:gd name="connsiteX9" fmla="*/ 5677562 w 5680945"/>
              <a:gd name="connsiteY9" fmla="*/ 8749 h 3452894"/>
              <a:gd name="connsiteX10" fmla="*/ 8749 w 5680945"/>
              <a:gd name="connsiteY10" fmla="*/ 1021520 h 34528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5680945" h="3452894">
                <a:moveTo>
                  <a:pt x="8749" y="1021520"/>
                </a:moveTo>
                <a:lnTo>
                  <a:pt x="8749" y="3164181"/>
                </a:lnTo>
                <a:lnTo>
                  <a:pt x="151414" y="3164181"/>
                </a:lnTo>
                <a:lnTo>
                  <a:pt x="151414" y="1140155"/>
                </a:lnTo>
                <a:lnTo>
                  <a:pt x="5534897" y="179294"/>
                </a:lnTo>
                <a:lnTo>
                  <a:pt x="5534897" y="3306846"/>
                </a:lnTo>
                <a:lnTo>
                  <a:pt x="864624" y="3306846"/>
                </a:lnTo>
                <a:lnTo>
                  <a:pt x="864624" y="3449395"/>
                </a:lnTo>
                <a:lnTo>
                  <a:pt x="5677562" y="3449395"/>
                </a:lnTo>
                <a:lnTo>
                  <a:pt x="5677562" y="8749"/>
                </a:lnTo>
                <a:lnTo>
                  <a:pt x="8749" y="1021520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 sz="1798" dirty="0"/>
          </a:p>
        </p:txBody>
      </p:sp>
      <p:sp>
        <p:nvSpPr>
          <p:cNvPr id="4" name="Freeform: Shape 3">
            <a:extLst>
              <a:ext uri="{FF2B5EF4-FFF2-40B4-BE49-F238E27FC236}">
                <a16:creationId xmlns:a16="http://schemas.microsoft.com/office/drawing/2014/main" id="{15324C54-B75E-4AC0-90C2-FA558C7716F7}"/>
              </a:ext>
            </a:extLst>
          </p:cNvPr>
          <p:cNvSpPr/>
          <p:nvPr/>
        </p:nvSpPr>
        <p:spPr>
          <a:xfrm>
            <a:off x="489113" y="4021758"/>
            <a:ext cx="151568" cy="151647"/>
          </a:xfrm>
          <a:custGeom>
            <a:avLst/>
            <a:gdLst>
              <a:gd name="connsiteX0" fmla="*/ 8749 w 151647"/>
              <a:gd name="connsiteY0" fmla="*/ 8749 h 151647"/>
              <a:gd name="connsiteX1" fmla="*/ 151414 w 151647"/>
              <a:gd name="connsiteY1" fmla="*/ 8749 h 151647"/>
              <a:gd name="connsiteX2" fmla="*/ 151414 w 151647"/>
              <a:gd name="connsiteY2" fmla="*/ 151414 h 151647"/>
              <a:gd name="connsiteX3" fmla="*/ 8749 w 151647"/>
              <a:gd name="connsiteY3" fmla="*/ 151414 h 151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647" h="151647">
                <a:moveTo>
                  <a:pt x="8749" y="8749"/>
                </a:moveTo>
                <a:lnTo>
                  <a:pt x="151414" y="8749"/>
                </a:lnTo>
                <a:lnTo>
                  <a:pt x="151414" y="151414"/>
                </a:lnTo>
                <a:lnTo>
                  <a:pt x="8749" y="151414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 sz="1798" dirty="0"/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CAA95478-C099-485F-AD95-A617656C6C7C}"/>
              </a:ext>
            </a:extLst>
          </p:cNvPr>
          <p:cNvSpPr/>
          <p:nvPr/>
        </p:nvSpPr>
        <p:spPr>
          <a:xfrm>
            <a:off x="774294" y="4021758"/>
            <a:ext cx="151568" cy="151647"/>
          </a:xfrm>
          <a:custGeom>
            <a:avLst/>
            <a:gdLst>
              <a:gd name="connsiteX0" fmla="*/ 8749 w 151647"/>
              <a:gd name="connsiteY0" fmla="*/ 8749 h 151647"/>
              <a:gd name="connsiteX1" fmla="*/ 151414 w 151647"/>
              <a:gd name="connsiteY1" fmla="*/ 8749 h 151647"/>
              <a:gd name="connsiteX2" fmla="*/ 151414 w 151647"/>
              <a:gd name="connsiteY2" fmla="*/ 151414 h 151647"/>
              <a:gd name="connsiteX3" fmla="*/ 8749 w 151647"/>
              <a:gd name="connsiteY3" fmla="*/ 151414 h 151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647" h="151647">
                <a:moveTo>
                  <a:pt x="8749" y="8749"/>
                </a:moveTo>
                <a:lnTo>
                  <a:pt x="151414" y="8749"/>
                </a:lnTo>
                <a:lnTo>
                  <a:pt x="151414" y="151414"/>
                </a:lnTo>
                <a:lnTo>
                  <a:pt x="8749" y="151414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 sz="1798" dirty="0"/>
          </a:p>
        </p:txBody>
      </p: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D65680A1-86D1-44C2-AA38-0DF5735F1F26}"/>
              </a:ext>
            </a:extLst>
          </p:cNvPr>
          <p:cNvSpPr/>
          <p:nvPr/>
        </p:nvSpPr>
        <p:spPr>
          <a:xfrm>
            <a:off x="1059360" y="4021758"/>
            <a:ext cx="151568" cy="151647"/>
          </a:xfrm>
          <a:custGeom>
            <a:avLst/>
            <a:gdLst>
              <a:gd name="connsiteX0" fmla="*/ 8749 w 151647"/>
              <a:gd name="connsiteY0" fmla="*/ 8749 h 151647"/>
              <a:gd name="connsiteX1" fmla="*/ 151414 w 151647"/>
              <a:gd name="connsiteY1" fmla="*/ 8749 h 151647"/>
              <a:gd name="connsiteX2" fmla="*/ 151414 w 151647"/>
              <a:gd name="connsiteY2" fmla="*/ 151414 h 151647"/>
              <a:gd name="connsiteX3" fmla="*/ 8749 w 151647"/>
              <a:gd name="connsiteY3" fmla="*/ 151414 h 151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647" h="151647">
                <a:moveTo>
                  <a:pt x="8749" y="8749"/>
                </a:moveTo>
                <a:lnTo>
                  <a:pt x="151414" y="8749"/>
                </a:lnTo>
                <a:lnTo>
                  <a:pt x="151414" y="151414"/>
                </a:lnTo>
                <a:lnTo>
                  <a:pt x="8749" y="151414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 sz="1798" dirty="0"/>
          </a:p>
        </p:txBody>
      </p:sp>
      <p:grpSp>
        <p:nvGrpSpPr>
          <p:cNvPr id="104" name="Group 4">
            <a:extLst>
              <a:ext uri="{FF2B5EF4-FFF2-40B4-BE49-F238E27FC236}">
                <a16:creationId xmlns:a16="http://schemas.microsoft.com/office/drawing/2014/main" id="{89402076-F24D-44C5-B8A7-1127F9C4B9B7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59392" y="4960938"/>
            <a:ext cx="1224912" cy="1435100"/>
            <a:chOff x="6529" y="3125"/>
            <a:chExt cx="772" cy="904"/>
          </a:xfrm>
        </p:grpSpPr>
        <p:sp>
          <p:nvSpPr>
            <p:cNvPr id="105" name="Freeform 5">
              <a:extLst>
                <a:ext uri="{FF2B5EF4-FFF2-40B4-BE49-F238E27FC236}">
                  <a16:creationId xmlns:a16="http://schemas.microsoft.com/office/drawing/2014/main" id="{A239DDBF-0740-4B20-9CF3-A05C2A0BF5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/>
            </a:p>
          </p:txBody>
        </p:sp>
        <p:sp>
          <p:nvSpPr>
            <p:cNvPr id="106" name="Freeform 6">
              <a:extLst>
                <a:ext uri="{FF2B5EF4-FFF2-40B4-BE49-F238E27FC236}">
                  <a16:creationId xmlns:a16="http://schemas.microsoft.com/office/drawing/2014/main" id="{380EECCA-3396-425E-AB04-F11ABB1B509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/>
            </a:p>
          </p:txBody>
        </p:sp>
      </p:grpSp>
    </p:spTree>
    <p:extLst>
      <p:ext uri="{BB962C8B-B14F-4D97-AF65-F5344CB8AC3E}">
        <p14:creationId xmlns:p14="http://schemas.microsoft.com/office/powerpoint/2010/main" val="377251508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697C43D-4F1B-43DA-A0C6-DA6B6708E16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2616" y="2851522"/>
            <a:ext cx="4445485" cy="1202318"/>
          </a:xfrm>
        </p:spPr>
        <p:txBody>
          <a:bodyPr vert="horz" lIns="0" tIns="0" rIns="0" bIns="0" rtlCol="0" anchor="ctr" anchorCtr="0">
            <a:noAutofit/>
          </a:bodyPr>
          <a:lstStyle>
            <a:lvl1pPr marL="0" indent="0">
              <a:buNone/>
              <a:defRPr kumimoji="0" lang="en-IN" sz="3598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 panose="02000506000000020004" pitchFamily="2" charset="0"/>
                <a:ea typeface="+mj-ea"/>
                <a:cs typeface="+mj-cs"/>
              </a:defRPr>
            </a:lvl1pPr>
          </a:lstStyle>
          <a:p>
            <a:pPr marL="356438" marR="0" lvl="0" indent="-356438" defTabSz="1007383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</a:pPr>
            <a:r>
              <a:rPr lang="en-US" dirty="0"/>
              <a:t>Chapter Title</a:t>
            </a:r>
            <a:endParaRPr lang="en-IN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8C87A56-4269-4E89-A9DC-9C8F44424A9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BBFBFE83-FB75-47BB-81F0-F0FF13E5BA5A}" type="datetime3">
              <a:rPr lang="en-US" smtClean="0"/>
              <a:t>5 August 2022</a:t>
            </a:fld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0FA45C8-6E1A-407F-B671-050EFF08143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IN"/>
              <a:t>Presentation title</a:t>
            </a:r>
            <a:endParaRPr lang="en-IN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1A593FC-3F10-4238-9F6D-C447302109D8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398719332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pproved question tall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9F0DE042-7748-4A4D-98C5-C92ADB5B92A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1"/>
            <a:ext cx="12192000" cy="6858001"/>
          </a:xfrm>
          <a:prstGeom prst="rect">
            <a:avLst/>
          </a:prstGeom>
        </p:spPr>
      </p:pic>
      <p:pic>
        <p:nvPicPr>
          <p:cNvPr id="85" name="Graphic 84">
            <a:extLst>
              <a:ext uri="{FF2B5EF4-FFF2-40B4-BE49-F238E27FC236}">
                <a16:creationId xmlns:a16="http://schemas.microsoft.com/office/drawing/2014/main" id="{819BCB30-E1AA-4383-BEF0-0BE30C6425D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89111" y="869579"/>
            <a:ext cx="4845500" cy="3933825"/>
          </a:xfrm>
          <a:prstGeom prst="rect">
            <a:avLst/>
          </a:prstGeom>
        </p:spPr>
      </p:pic>
      <p:grpSp>
        <p:nvGrpSpPr>
          <p:cNvPr id="186" name="Group 185">
            <a:extLst>
              <a:ext uri="{FF2B5EF4-FFF2-40B4-BE49-F238E27FC236}">
                <a16:creationId xmlns:a16="http://schemas.microsoft.com/office/drawing/2014/main" id="{9CDE954B-B280-441B-9B2D-3DC58AAE3926}"/>
              </a:ext>
            </a:extLst>
          </p:cNvPr>
          <p:cNvGrpSpPr/>
          <p:nvPr userDrawn="1"/>
        </p:nvGrpSpPr>
        <p:grpSpPr>
          <a:xfrm>
            <a:off x="497856" y="5826615"/>
            <a:ext cx="3876004" cy="570195"/>
            <a:chOff x="498115" y="5951018"/>
            <a:chExt cx="3878023" cy="570195"/>
          </a:xfrm>
        </p:grpSpPr>
        <p:sp>
          <p:nvSpPr>
            <p:cNvPr id="187" name="Rectangle 186">
              <a:extLst>
                <a:ext uri="{FF2B5EF4-FFF2-40B4-BE49-F238E27FC236}">
                  <a16:creationId xmlns:a16="http://schemas.microsoft.com/office/drawing/2014/main" id="{93D8FAC8-9530-49D4-8284-D35D1B1509D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98115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/>
            </a:p>
          </p:txBody>
        </p:sp>
        <p:sp>
          <p:nvSpPr>
            <p:cNvPr id="188" name="Rectangle 6">
              <a:extLst>
                <a:ext uri="{FF2B5EF4-FFF2-40B4-BE49-F238E27FC236}">
                  <a16:creationId xmlns:a16="http://schemas.microsoft.com/office/drawing/2014/main" id="{FD924F44-93C1-4254-B594-53DB14FD995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9341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/>
            </a:p>
          </p:txBody>
        </p:sp>
        <p:sp>
          <p:nvSpPr>
            <p:cNvPr id="189" name="Rectangle 7">
              <a:extLst>
                <a:ext uri="{FF2B5EF4-FFF2-40B4-BE49-F238E27FC236}">
                  <a16:creationId xmlns:a16="http://schemas.microsoft.com/office/drawing/2014/main" id="{2A2DA425-7935-45A1-B63F-2D14CF8D5F9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9045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/>
            </a:p>
          </p:txBody>
        </p:sp>
        <p:sp>
          <p:nvSpPr>
            <p:cNvPr id="190" name="Freeform 8">
              <a:extLst>
                <a:ext uri="{FF2B5EF4-FFF2-40B4-BE49-F238E27FC236}">
                  <a16:creationId xmlns:a16="http://schemas.microsoft.com/office/drawing/2014/main" id="{91EFF75E-13E7-4E35-B108-D9FD5E9C802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181188"/>
              <a:ext cx="94161" cy="130778"/>
            </a:xfrm>
            <a:custGeom>
              <a:avLst/>
              <a:gdLst>
                <a:gd name="T0" fmla="*/ 32 w 54"/>
                <a:gd name="T1" fmla="*/ 11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1 h 75"/>
                <a:gd name="T8" fmla="*/ 0 w 54"/>
                <a:gd name="T9" fmla="*/ 11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1 h 75"/>
                <a:gd name="T16" fmla="*/ 32 w 54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1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1"/>
                  </a:lnTo>
                  <a:lnTo>
                    <a:pt x="32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191" name="Freeform 9">
              <a:extLst>
                <a:ext uri="{FF2B5EF4-FFF2-40B4-BE49-F238E27FC236}">
                  <a16:creationId xmlns:a16="http://schemas.microsoft.com/office/drawing/2014/main" id="{4411951F-E009-4FE7-B2EC-47771CA8E17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174213"/>
              <a:ext cx="78468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192" name="Freeform 10">
              <a:extLst>
                <a:ext uri="{FF2B5EF4-FFF2-40B4-BE49-F238E27FC236}">
                  <a16:creationId xmlns:a16="http://schemas.microsoft.com/office/drawing/2014/main" id="{B28EE49C-5F5A-49C6-AEB8-6D12DDF344E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193" name="Freeform 11">
              <a:extLst>
                <a:ext uri="{FF2B5EF4-FFF2-40B4-BE49-F238E27FC236}">
                  <a16:creationId xmlns:a16="http://schemas.microsoft.com/office/drawing/2014/main" id="{6E2B7D76-D660-491F-8B04-169C6F138B0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174213"/>
              <a:ext cx="83698" cy="139497"/>
            </a:xfrm>
            <a:custGeom>
              <a:avLst/>
              <a:gdLst>
                <a:gd name="T0" fmla="*/ 33 w 33"/>
                <a:gd name="T1" fmla="*/ 35 h 55"/>
                <a:gd name="T2" fmla="*/ 31 w 33"/>
                <a:gd name="T3" fmla="*/ 44 h 55"/>
                <a:gd name="T4" fmla="*/ 28 w 33"/>
                <a:gd name="T5" fmla="*/ 50 h 55"/>
                <a:gd name="T6" fmla="*/ 23 w 33"/>
                <a:gd name="T7" fmla="*/ 53 h 55"/>
                <a:gd name="T8" fmla="*/ 17 w 33"/>
                <a:gd name="T9" fmla="*/ 55 h 55"/>
                <a:gd name="T10" fmla="*/ 12 w 33"/>
                <a:gd name="T11" fmla="*/ 53 h 55"/>
                <a:gd name="T12" fmla="*/ 8 w 33"/>
                <a:gd name="T13" fmla="*/ 50 h 55"/>
                <a:gd name="T14" fmla="*/ 8 w 33"/>
                <a:gd name="T15" fmla="*/ 54 h 55"/>
                <a:gd name="T16" fmla="*/ 0 w 33"/>
                <a:gd name="T17" fmla="*/ 54 h 55"/>
                <a:gd name="T18" fmla="*/ 0 w 33"/>
                <a:gd name="T19" fmla="*/ 4 h 55"/>
                <a:gd name="T20" fmla="*/ 8 w 33"/>
                <a:gd name="T21" fmla="*/ 0 h 55"/>
                <a:gd name="T22" fmla="*/ 8 w 33"/>
                <a:gd name="T23" fmla="*/ 19 h 55"/>
                <a:gd name="T24" fmla="*/ 10 w 33"/>
                <a:gd name="T25" fmla="*/ 17 h 55"/>
                <a:gd name="T26" fmla="*/ 12 w 33"/>
                <a:gd name="T27" fmla="*/ 16 h 55"/>
                <a:gd name="T28" fmla="*/ 14 w 33"/>
                <a:gd name="T29" fmla="*/ 15 h 55"/>
                <a:gd name="T30" fmla="*/ 18 w 33"/>
                <a:gd name="T31" fmla="*/ 15 h 55"/>
                <a:gd name="T32" fmla="*/ 24 w 33"/>
                <a:gd name="T33" fmla="*/ 16 h 55"/>
                <a:gd name="T34" fmla="*/ 28 w 33"/>
                <a:gd name="T35" fmla="*/ 19 h 55"/>
                <a:gd name="T36" fmla="*/ 31 w 33"/>
                <a:gd name="T37" fmla="*/ 26 h 55"/>
                <a:gd name="T38" fmla="*/ 33 w 33"/>
                <a:gd name="T39" fmla="*/ 35 h 55"/>
                <a:gd name="T40" fmla="*/ 25 w 33"/>
                <a:gd name="T41" fmla="*/ 35 h 55"/>
                <a:gd name="T42" fmla="*/ 23 w 33"/>
                <a:gd name="T43" fmla="*/ 25 h 55"/>
                <a:gd name="T44" fmla="*/ 16 w 33"/>
                <a:gd name="T45" fmla="*/ 22 h 55"/>
                <a:gd name="T46" fmla="*/ 14 w 33"/>
                <a:gd name="T47" fmla="*/ 22 h 55"/>
                <a:gd name="T48" fmla="*/ 11 w 33"/>
                <a:gd name="T49" fmla="*/ 23 h 55"/>
                <a:gd name="T50" fmla="*/ 9 w 33"/>
                <a:gd name="T51" fmla="*/ 25 h 55"/>
                <a:gd name="T52" fmla="*/ 8 w 33"/>
                <a:gd name="T53" fmla="*/ 26 h 55"/>
                <a:gd name="T54" fmla="*/ 8 w 33"/>
                <a:gd name="T55" fmla="*/ 43 h 55"/>
                <a:gd name="T56" fmla="*/ 9 w 33"/>
                <a:gd name="T57" fmla="*/ 44 h 55"/>
                <a:gd name="T58" fmla="*/ 11 w 33"/>
                <a:gd name="T59" fmla="*/ 46 h 55"/>
                <a:gd name="T60" fmla="*/ 14 w 33"/>
                <a:gd name="T61" fmla="*/ 47 h 55"/>
                <a:gd name="T62" fmla="*/ 17 w 33"/>
                <a:gd name="T63" fmla="*/ 48 h 55"/>
                <a:gd name="T64" fmla="*/ 23 w 33"/>
                <a:gd name="T65" fmla="*/ 45 h 55"/>
                <a:gd name="T66" fmla="*/ 25 w 33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5">
                  <a:moveTo>
                    <a:pt x="33" y="35"/>
                  </a:moveTo>
                  <a:cubicBezTo>
                    <a:pt x="33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7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6" y="55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8"/>
                    <a:pt x="10" y="17"/>
                  </a:cubicBezTo>
                  <a:cubicBezTo>
                    <a:pt x="11" y="17"/>
                    <a:pt x="11" y="16"/>
                    <a:pt x="12" y="16"/>
                  </a:cubicBezTo>
                  <a:cubicBezTo>
                    <a:pt x="13" y="16"/>
                    <a:pt x="13" y="15"/>
                    <a:pt x="14" y="15"/>
                  </a:cubicBezTo>
                  <a:cubicBezTo>
                    <a:pt x="15" y="15"/>
                    <a:pt x="16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30" y="21"/>
                    <a:pt x="31" y="23"/>
                    <a:pt x="31" y="26"/>
                  </a:cubicBezTo>
                  <a:cubicBezTo>
                    <a:pt x="32" y="28"/>
                    <a:pt x="33" y="32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5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1" y="23"/>
                    <a:pt x="10" y="24"/>
                    <a:pt x="9" y="25"/>
                  </a:cubicBezTo>
                  <a:cubicBezTo>
                    <a:pt x="9" y="25"/>
                    <a:pt x="8" y="26"/>
                    <a:pt x="8" y="26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8" y="43"/>
                    <a:pt x="9" y="44"/>
                    <a:pt x="9" y="44"/>
                  </a:cubicBezTo>
                  <a:cubicBezTo>
                    <a:pt x="10" y="45"/>
                    <a:pt x="11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6" y="48"/>
                    <a:pt x="17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194" name="Freeform 12">
              <a:extLst>
                <a:ext uri="{FF2B5EF4-FFF2-40B4-BE49-F238E27FC236}">
                  <a16:creationId xmlns:a16="http://schemas.microsoft.com/office/drawing/2014/main" id="{41BE51DE-402B-48B5-99C8-D8BB9A32DF3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195" name="Freeform 13">
              <a:extLst>
                <a:ext uri="{FF2B5EF4-FFF2-40B4-BE49-F238E27FC236}">
                  <a16:creationId xmlns:a16="http://schemas.microsoft.com/office/drawing/2014/main" id="{8D5E878B-8859-44FA-A69D-DCE630AAB0D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1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2" y="54"/>
                    <a:pt x="11" y="54"/>
                  </a:cubicBezTo>
                  <a:cubicBezTo>
                    <a:pt x="10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2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196" name="Freeform 14">
              <a:extLst>
                <a:ext uri="{FF2B5EF4-FFF2-40B4-BE49-F238E27FC236}">
                  <a16:creationId xmlns:a16="http://schemas.microsoft.com/office/drawing/2014/main" id="{08D55808-ECDC-4E9B-84ED-7301E9E716C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197" name="Freeform 15">
              <a:extLst>
                <a:ext uri="{FF2B5EF4-FFF2-40B4-BE49-F238E27FC236}">
                  <a16:creationId xmlns:a16="http://schemas.microsoft.com/office/drawing/2014/main" id="{3436B310-313E-4A53-A70D-CA0D0D97FE7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0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2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0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3" y="31"/>
                    <a:pt x="24" y="30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0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7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198" name="Freeform 16">
              <a:extLst>
                <a:ext uri="{FF2B5EF4-FFF2-40B4-BE49-F238E27FC236}">
                  <a16:creationId xmlns:a16="http://schemas.microsoft.com/office/drawing/2014/main" id="{F3CE55A9-AE55-4169-A58D-8171D9916EC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212575"/>
              <a:ext cx="55799" cy="99391"/>
            </a:xfrm>
            <a:custGeom>
              <a:avLst/>
              <a:gdLst>
                <a:gd name="T0" fmla="*/ 20 w 22"/>
                <a:gd name="T1" fmla="*/ 8 h 39"/>
                <a:gd name="T2" fmla="*/ 18 w 22"/>
                <a:gd name="T3" fmla="*/ 7 h 39"/>
                <a:gd name="T4" fmla="*/ 15 w 22"/>
                <a:gd name="T5" fmla="*/ 7 h 39"/>
                <a:gd name="T6" fmla="*/ 9 w 22"/>
                <a:gd name="T7" fmla="*/ 9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0 h 39"/>
                <a:gd name="T16" fmla="*/ 7 w 22"/>
                <a:gd name="T17" fmla="*/ 0 h 39"/>
                <a:gd name="T18" fmla="*/ 7 w 22"/>
                <a:gd name="T19" fmla="*/ 4 h 39"/>
                <a:gd name="T20" fmla="*/ 9 w 22"/>
                <a:gd name="T21" fmla="*/ 2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0 h 39"/>
                <a:gd name="T30" fmla="*/ 22 w 22"/>
                <a:gd name="T31" fmla="*/ 1 h 39"/>
                <a:gd name="T32" fmla="*/ 20 w 22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2" y="7"/>
                    <a:pt x="10" y="8"/>
                    <a:pt x="9" y="9"/>
                  </a:cubicBezTo>
                  <a:cubicBezTo>
                    <a:pt x="8" y="11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9" y="2"/>
                    <a:pt x="10" y="1"/>
                    <a:pt x="11" y="1"/>
                  </a:cubicBezTo>
                  <a:cubicBezTo>
                    <a:pt x="11" y="0"/>
                    <a:pt x="12" y="0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0"/>
                  </a:cubicBezTo>
                  <a:cubicBezTo>
                    <a:pt x="21" y="0"/>
                    <a:pt x="22" y="1"/>
                    <a:pt x="22" y="1"/>
                  </a:cubicBezTo>
                  <a:lnTo>
                    <a:pt x="20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199" name="Freeform 17">
              <a:extLst>
                <a:ext uri="{FF2B5EF4-FFF2-40B4-BE49-F238E27FC236}">
                  <a16:creationId xmlns:a16="http://schemas.microsoft.com/office/drawing/2014/main" id="{FA01BC48-4605-46FC-A7AC-192C7DBCA0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00" name="Freeform 18">
              <a:extLst>
                <a:ext uri="{FF2B5EF4-FFF2-40B4-BE49-F238E27FC236}">
                  <a16:creationId xmlns:a16="http://schemas.microsoft.com/office/drawing/2014/main" id="{870190F3-472B-4296-B88D-D6904B9F30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2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8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9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01" name="Freeform 19">
              <a:extLst>
                <a:ext uri="{FF2B5EF4-FFF2-40B4-BE49-F238E27FC236}">
                  <a16:creationId xmlns:a16="http://schemas.microsoft.com/office/drawing/2014/main" id="{6CEA0F2B-4AAB-4A16-B7F1-CFCB0C0DCEE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02" name="Freeform 20">
              <a:extLst>
                <a:ext uri="{FF2B5EF4-FFF2-40B4-BE49-F238E27FC236}">
                  <a16:creationId xmlns:a16="http://schemas.microsoft.com/office/drawing/2014/main" id="{CD64F657-7EE7-4AF2-ADE4-160C87E64D6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30922" y="6212575"/>
              <a:ext cx="80211" cy="134265"/>
            </a:xfrm>
            <a:custGeom>
              <a:avLst/>
              <a:gdLst>
                <a:gd name="T0" fmla="*/ 25 w 32"/>
                <a:gd name="T1" fmla="*/ 53 h 53"/>
                <a:gd name="T2" fmla="*/ 25 w 32"/>
                <a:gd name="T3" fmla="*/ 35 h 53"/>
                <a:gd name="T4" fmla="*/ 20 w 32"/>
                <a:gd name="T5" fmla="*/ 38 h 53"/>
                <a:gd name="T6" fmla="*/ 15 w 32"/>
                <a:gd name="T7" fmla="*/ 40 h 53"/>
                <a:gd name="T8" fmla="*/ 9 w 32"/>
                <a:gd name="T9" fmla="*/ 38 h 53"/>
                <a:gd name="T10" fmla="*/ 4 w 32"/>
                <a:gd name="T11" fmla="*/ 35 h 53"/>
                <a:gd name="T12" fmla="*/ 1 w 32"/>
                <a:gd name="T13" fmla="*/ 28 h 53"/>
                <a:gd name="T14" fmla="*/ 0 w 32"/>
                <a:gd name="T15" fmla="*/ 19 h 53"/>
                <a:gd name="T16" fmla="*/ 1 w 32"/>
                <a:gd name="T17" fmla="*/ 10 h 53"/>
                <a:gd name="T18" fmla="*/ 4 w 32"/>
                <a:gd name="T19" fmla="*/ 4 h 53"/>
                <a:gd name="T20" fmla="*/ 9 w 32"/>
                <a:gd name="T21" fmla="*/ 1 h 53"/>
                <a:gd name="T22" fmla="*/ 15 w 32"/>
                <a:gd name="T23" fmla="*/ 0 h 53"/>
                <a:gd name="T24" fmla="*/ 18 w 32"/>
                <a:gd name="T25" fmla="*/ 0 h 53"/>
                <a:gd name="T26" fmla="*/ 20 w 32"/>
                <a:gd name="T27" fmla="*/ 1 h 53"/>
                <a:gd name="T28" fmla="*/ 23 w 32"/>
                <a:gd name="T29" fmla="*/ 2 h 53"/>
                <a:gd name="T30" fmla="*/ 25 w 32"/>
                <a:gd name="T31" fmla="*/ 4 h 53"/>
                <a:gd name="T32" fmla="*/ 25 w 32"/>
                <a:gd name="T33" fmla="*/ 0 h 53"/>
                <a:gd name="T34" fmla="*/ 32 w 32"/>
                <a:gd name="T35" fmla="*/ 0 h 53"/>
                <a:gd name="T36" fmla="*/ 32 w 32"/>
                <a:gd name="T37" fmla="*/ 49 h 53"/>
                <a:gd name="T38" fmla="*/ 25 w 32"/>
                <a:gd name="T39" fmla="*/ 53 h 53"/>
                <a:gd name="T40" fmla="*/ 25 w 32"/>
                <a:gd name="T41" fmla="*/ 12 h 53"/>
                <a:gd name="T42" fmla="*/ 23 w 32"/>
                <a:gd name="T43" fmla="*/ 10 h 53"/>
                <a:gd name="T44" fmla="*/ 21 w 32"/>
                <a:gd name="T45" fmla="*/ 8 h 53"/>
                <a:gd name="T46" fmla="*/ 18 w 32"/>
                <a:gd name="T47" fmla="*/ 7 h 53"/>
                <a:gd name="T48" fmla="*/ 16 w 32"/>
                <a:gd name="T49" fmla="*/ 7 h 53"/>
                <a:gd name="T50" fmla="*/ 9 w 32"/>
                <a:gd name="T51" fmla="*/ 10 h 53"/>
                <a:gd name="T52" fmla="*/ 7 w 32"/>
                <a:gd name="T53" fmla="*/ 19 h 53"/>
                <a:gd name="T54" fmla="*/ 10 w 32"/>
                <a:gd name="T55" fmla="*/ 29 h 53"/>
                <a:gd name="T56" fmla="*/ 16 w 32"/>
                <a:gd name="T57" fmla="*/ 33 h 53"/>
                <a:gd name="T58" fmla="*/ 21 w 32"/>
                <a:gd name="T59" fmla="*/ 31 h 53"/>
                <a:gd name="T60" fmla="*/ 25 w 32"/>
                <a:gd name="T61" fmla="*/ 28 h 53"/>
                <a:gd name="T62" fmla="*/ 25 w 32"/>
                <a:gd name="T63" fmla="*/ 1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2" h="53">
                  <a:moveTo>
                    <a:pt x="25" y="53"/>
                  </a:moveTo>
                  <a:cubicBezTo>
                    <a:pt x="25" y="35"/>
                    <a:pt x="25" y="35"/>
                    <a:pt x="25" y="35"/>
                  </a:cubicBezTo>
                  <a:cubicBezTo>
                    <a:pt x="23" y="36"/>
                    <a:pt x="22" y="37"/>
                    <a:pt x="20" y="38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3" y="40"/>
                    <a:pt x="11" y="39"/>
                    <a:pt x="9" y="38"/>
                  </a:cubicBezTo>
                  <a:cubicBezTo>
                    <a:pt x="7" y="38"/>
                    <a:pt x="5" y="36"/>
                    <a:pt x="4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0" y="26"/>
                    <a:pt x="0" y="23"/>
                    <a:pt x="0" y="19"/>
                  </a:cubicBezTo>
                  <a:cubicBezTo>
                    <a:pt x="0" y="16"/>
                    <a:pt x="0" y="13"/>
                    <a:pt x="1" y="10"/>
                  </a:cubicBezTo>
                  <a:cubicBezTo>
                    <a:pt x="2" y="8"/>
                    <a:pt x="3" y="6"/>
                    <a:pt x="4" y="4"/>
                  </a:cubicBezTo>
                  <a:cubicBezTo>
                    <a:pt x="6" y="3"/>
                    <a:pt x="7" y="2"/>
                    <a:pt x="9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6" y="0"/>
                    <a:pt x="17" y="0"/>
                    <a:pt x="18" y="0"/>
                  </a:cubicBezTo>
                  <a:cubicBezTo>
                    <a:pt x="19" y="0"/>
                    <a:pt x="20" y="0"/>
                    <a:pt x="20" y="1"/>
                  </a:cubicBezTo>
                  <a:cubicBezTo>
                    <a:pt x="21" y="1"/>
                    <a:pt x="22" y="2"/>
                    <a:pt x="23" y="2"/>
                  </a:cubicBezTo>
                  <a:cubicBezTo>
                    <a:pt x="23" y="3"/>
                    <a:pt x="24" y="3"/>
                    <a:pt x="25" y="4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49"/>
                    <a:pt x="32" y="49"/>
                    <a:pt x="32" y="49"/>
                  </a:cubicBezTo>
                  <a:lnTo>
                    <a:pt x="25" y="53"/>
                  </a:lnTo>
                  <a:close/>
                  <a:moveTo>
                    <a:pt x="25" y="12"/>
                  </a:moveTo>
                  <a:cubicBezTo>
                    <a:pt x="24" y="11"/>
                    <a:pt x="24" y="10"/>
                    <a:pt x="23" y="10"/>
                  </a:cubicBezTo>
                  <a:cubicBezTo>
                    <a:pt x="23" y="9"/>
                    <a:pt x="22" y="9"/>
                    <a:pt x="21" y="8"/>
                  </a:cubicBezTo>
                  <a:cubicBezTo>
                    <a:pt x="20" y="8"/>
                    <a:pt x="19" y="7"/>
                    <a:pt x="18" y="7"/>
                  </a:cubicBezTo>
                  <a:cubicBezTo>
                    <a:pt x="18" y="7"/>
                    <a:pt x="17" y="7"/>
                    <a:pt x="16" y="7"/>
                  </a:cubicBezTo>
                  <a:cubicBezTo>
                    <a:pt x="13" y="7"/>
                    <a:pt x="11" y="8"/>
                    <a:pt x="9" y="10"/>
                  </a:cubicBezTo>
                  <a:cubicBezTo>
                    <a:pt x="8" y="12"/>
                    <a:pt x="7" y="15"/>
                    <a:pt x="7" y="19"/>
                  </a:cubicBezTo>
                  <a:cubicBezTo>
                    <a:pt x="7" y="23"/>
                    <a:pt x="8" y="27"/>
                    <a:pt x="10" y="29"/>
                  </a:cubicBezTo>
                  <a:cubicBezTo>
                    <a:pt x="11" y="31"/>
                    <a:pt x="13" y="33"/>
                    <a:pt x="16" y="33"/>
                  </a:cubicBezTo>
                  <a:cubicBezTo>
                    <a:pt x="18" y="33"/>
                    <a:pt x="19" y="32"/>
                    <a:pt x="21" y="31"/>
                  </a:cubicBezTo>
                  <a:cubicBezTo>
                    <a:pt x="22" y="30"/>
                    <a:pt x="24" y="29"/>
                    <a:pt x="25" y="28"/>
                  </a:cubicBezTo>
                  <a:lnTo>
                    <a:pt x="25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03" name="Freeform 21">
              <a:extLst>
                <a:ext uri="{FF2B5EF4-FFF2-40B4-BE49-F238E27FC236}">
                  <a16:creationId xmlns:a16="http://schemas.microsoft.com/office/drawing/2014/main" id="{FA80A690-9084-4519-8D88-A01963C0236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35545" y="6212575"/>
              <a:ext cx="78468" cy="101135"/>
            </a:xfrm>
            <a:custGeom>
              <a:avLst/>
              <a:gdLst>
                <a:gd name="T0" fmla="*/ 24 w 31"/>
                <a:gd name="T1" fmla="*/ 39 h 40"/>
                <a:gd name="T2" fmla="*/ 24 w 31"/>
                <a:gd name="T3" fmla="*/ 35 h 40"/>
                <a:gd name="T4" fmla="*/ 20 w 31"/>
                <a:gd name="T5" fmla="*/ 38 h 40"/>
                <a:gd name="T6" fmla="*/ 14 w 31"/>
                <a:gd name="T7" fmla="*/ 40 h 40"/>
                <a:gd name="T8" fmla="*/ 4 w 31"/>
                <a:gd name="T9" fmla="*/ 35 h 40"/>
                <a:gd name="T10" fmla="*/ 0 w 31"/>
                <a:gd name="T11" fmla="*/ 22 h 40"/>
                <a:gd name="T12" fmla="*/ 0 w 31"/>
                <a:gd name="T13" fmla="*/ 0 h 40"/>
                <a:gd name="T14" fmla="*/ 8 w 31"/>
                <a:gd name="T15" fmla="*/ 0 h 40"/>
                <a:gd name="T16" fmla="*/ 8 w 31"/>
                <a:gd name="T17" fmla="*/ 22 h 40"/>
                <a:gd name="T18" fmla="*/ 10 w 31"/>
                <a:gd name="T19" fmla="*/ 30 h 40"/>
                <a:gd name="T20" fmla="*/ 16 w 31"/>
                <a:gd name="T21" fmla="*/ 33 h 40"/>
                <a:gd name="T22" fmla="*/ 22 w 31"/>
                <a:gd name="T23" fmla="*/ 30 h 40"/>
                <a:gd name="T24" fmla="*/ 24 w 31"/>
                <a:gd name="T25" fmla="*/ 23 h 40"/>
                <a:gd name="T26" fmla="*/ 24 w 31"/>
                <a:gd name="T27" fmla="*/ 0 h 40"/>
                <a:gd name="T28" fmla="*/ 31 w 31"/>
                <a:gd name="T29" fmla="*/ 0 h 40"/>
                <a:gd name="T30" fmla="*/ 31 w 31"/>
                <a:gd name="T31" fmla="*/ 39 h 40"/>
                <a:gd name="T32" fmla="*/ 24 w 31"/>
                <a:gd name="T33" fmla="*/ 39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1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2" y="38"/>
                    <a:pt x="20" y="38"/>
                  </a:cubicBezTo>
                  <a:cubicBezTo>
                    <a:pt x="18" y="39"/>
                    <a:pt x="16" y="40"/>
                    <a:pt x="14" y="40"/>
                  </a:cubicBezTo>
                  <a:cubicBezTo>
                    <a:pt x="10" y="40"/>
                    <a:pt x="6" y="38"/>
                    <a:pt x="4" y="35"/>
                  </a:cubicBezTo>
                  <a:cubicBezTo>
                    <a:pt x="2" y="32"/>
                    <a:pt x="0" y="28"/>
                    <a:pt x="0" y="2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6"/>
                    <a:pt x="9" y="28"/>
                    <a:pt x="10" y="30"/>
                  </a:cubicBezTo>
                  <a:cubicBezTo>
                    <a:pt x="11" y="32"/>
                    <a:pt x="13" y="33"/>
                    <a:pt x="16" y="33"/>
                  </a:cubicBezTo>
                  <a:cubicBezTo>
                    <a:pt x="18" y="33"/>
                    <a:pt x="20" y="32"/>
                    <a:pt x="22" y="30"/>
                  </a:cubicBezTo>
                  <a:cubicBezTo>
                    <a:pt x="23" y="28"/>
                    <a:pt x="24" y="26"/>
                    <a:pt x="24" y="23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4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04" name="Freeform 22">
              <a:extLst>
                <a:ext uri="{FF2B5EF4-FFF2-40B4-BE49-F238E27FC236}">
                  <a16:creationId xmlns:a16="http://schemas.microsoft.com/office/drawing/2014/main" id="{E847401D-2482-482A-AC12-D2E83C13546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93493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1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2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05" name="Freeform 23">
              <a:extLst>
                <a:ext uri="{FF2B5EF4-FFF2-40B4-BE49-F238E27FC236}">
                  <a16:creationId xmlns:a16="http://schemas.microsoft.com/office/drawing/2014/main" id="{86054F72-4509-4465-B9A8-8DAE3EFD35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30841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1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4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7 w 29"/>
                <a:gd name="T55" fmla="*/ 24 h 40"/>
                <a:gd name="T56" fmla="*/ 13 w 29"/>
                <a:gd name="T57" fmla="*/ 22 h 40"/>
                <a:gd name="T58" fmla="*/ 8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2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3" y="6"/>
                    <a:pt x="11" y="7"/>
                    <a:pt x="10" y="7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1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9" y="25"/>
                    <a:pt x="18" y="24"/>
                    <a:pt x="17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8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3" y="15"/>
                    <a:pt x="2" y="14"/>
                  </a:cubicBezTo>
                  <a:cubicBezTo>
                    <a:pt x="2" y="13"/>
                    <a:pt x="2" y="12"/>
                    <a:pt x="2" y="10"/>
                  </a:cubicBezTo>
                  <a:cubicBezTo>
                    <a:pt x="2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06" name="Freeform 24">
              <a:extLst>
                <a:ext uri="{FF2B5EF4-FFF2-40B4-BE49-F238E27FC236}">
                  <a16:creationId xmlns:a16="http://schemas.microsoft.com/office/drawing/2014/main" id="{813850E4-4B62-4FDA-ABD6-F5A5AA5E7C2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1802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07" name="Freeform 25">
              <a:extLst>
                <a:ext uri="{FF2B5EF4-FFF2-40B4-BE49-F238E27FC236}">
                  <a16:creationId xmlns:a16="http://schemas.microsoft.com/office/drawing/2014/main" id="{1B4F0124-2FAE-4D54-9ECC-E88A8031BBD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194750" y="6175958"/>
              <a:ext cx="24412" cy="136010"/>
            </a:xfrm>
            <a:custGeom>
              <a:avLst/>
              <a:gdLst>
                <a:gd name="T0" fmla="*/ 10 w 10"/>
                <a:gd name="T1" fmla="*/ 5 h 53"/>
                <a:gd name="T2" fmla="*/ 9 w 10"/>
                <a:gd name="T3" fmla="*/ 6 h 53"/>
                <a:gd name="T4" fmla="*/ 8 w 10"/>
                <a:gd name="T5" fmla="*/ 8 h 53"/>
                <a:gd name="T6" fmla="*/ 7 w 10"/>
                <a:gd name="T7" fmla="*/ 9 h 53"/>
                <a:gd name="T8" fmla="*/ 5 w 10"/>
                <a:gd name="T9" fmla="*/ 9 h 53"/>
                <a:gd name="T10" fmla="*/ 3 w 10"/>
                <a:gd name="T11" fmla="*/ 9 h 53"/>
                <a:gd name="T12" fmla="*/ 1 w 10"/>
                <a:gd name="T13" fmla="*/ 8 h 53"/>
                <a:gd name="T14" fmla="*/ 0 w 10"/>
                <a:gd name="T15" fmla="*/ 6 h 53"/>
                <a:gd name="T16" fmla="*/ 0 w 10"/>
                <a:gd name="T17" fmla="*/ 5 h 53"/>
                <a:gd name="T18" fmla="*/ 0 w 10"/>
                <a:gd name="T19" fmla="*/ 3 h 53"/>
                <a:gd name="T20" fmla="*/ 1 w 10"/>
                <a:gd name="T21" fmla="*/ 1 h 53"/>
                <a:gd name="T22" fmla="*/ 3 w 10"/>
                <a:gd name="T23" fmla="*/ 0 h 53"/>
                <a:gd name="T24" fmla="*/ 5 w 10"/>
                <a:gd name="T25" fmla="*/ 0 h 53"/>
                <a:gd name="T26" fmla="*/ 7 w 10"/>
                <a:gd name="T27" fmla="*/ 0 h 53"/>
                <a:gd name="T28" fmla="*/ 8 w 10"/>
                <a:gd name="T29" fmla="*/ 1 h 53"/>
                <a:gd name="T30" fmla="*/ 9 w 10"/>
                <a:gd name="T31" fmla="*/ 3 h 53"/>
                <a:gd name="T32" fmla="*/ 10 w 10"/>
                <a:gd name="T33" fmla="*/ 5 h 53"/>
                <a:gd name="T34" fmla="*/ 1 w 10"/>
                <a:gd name="T35" fmla="*/ 53 h 53"/>
                <a:gd name="T36" fmla="*/ 1 w 10"/>
                <a:gd name="T37" fmla="*/ 14 h 53"/>
                <a:gd name="T38" fmla="*/ 9 w 10"/>
                <a:gd name="T39" fmla="*/ 14 h 53"/>
                <a:gd name="T40" fmla="*/ 9 w 10"/>
                <a:gd name="T41" fmla="*/ 53 h 53"/>
                <a:gd name="T42" fmla="*/ 1 w 10"/>
                <a:gd name="T43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" h="53">
                  <a:moveTo>
                    <a:pt x="10" y="5"/>
                  </a:moveTo>
                  <a:cubicBezTo>
                    <a:pt x="10" y="5"/>
                    <a:pt x="10" y="6"/>
                    <a:pt x="9" y="6"/>
                  </a:cubicBezTo>
                  <a:cubicBezTo>
                    <a:pt x="9" y="7"/>
                    <a:pt x="9" y="8"/>
                    <a:pt x="8" y="8"/>
                  </a:cubicBezTo>
                  <a:cubicBezTo>
                    <a:pt x="8" y="8"/>
                    <a:pt x="7" y="9"/>
                    <a:pt x="7" y="9"/>
                  </a:cubicBezTo>
                  <a:cubicBezTo>
                    <a:pt x="6" y="9"/>
                    <a:pt x="6" y="9"/>
                    <a:pt x="5" y="9"/>
                  </a:cubicBezTo>
                  <a:cubicBezTo>
                    <a:pt x="4" y="9"/>
                    <a:pt x="4" y="9"/>
                    <a:pt x="3" y="9"/>
                  </a:cubicBezTo>
                  <a:cubicBezTo>
                    <a:pt x="2" y="9"/>
                    <a:pt x="2" y="8"/>
                    <a:pt x="1" y="8"/>
                  </a:cubicBezTo>
                  <a:cubicBezTo>
                    <a:pt x="1" y="8"/>
                    <a:pt x="1" y="7"/>
                    <a:pt x="0" y="6"/>
                  </a:cubicBezTo>
                  <a:cubicBezTo>
                    <a:pt x="0" y="6"/>
                    <a:pt x="0" y="5"/>
                    <a:pt x="0" y="5"/>
                  </a:cubicBezTo>
                  <a:cubicBezTo>
                    <a:pt x="0" y="4"/>
                    <a:pt x="0" y="3"/>
                    <a:pt x="0" y="3"/>
                  </a:cubicBezTo>
                  <a:cubicBezTo>
                    <a:pt x="1" y="2"/>
                    <a:pt x="1" y="2"/>
                    <a:pt x="1" y="1"/>
                  </a:cubicBezTo>
                  <a:cubicBezTo>
                    <a:pt x="2" y="1"/>
                    <a:pt x="2" y="0"/>
                    <a:pt x="3" y="0"/>
                  </a:cubicBezTo>
                  <a:cubicBezTo>
                    <a:pt x="4" y="0"/>
                    <a:pt x="4" y="0"/>
                    <a:pt x="5" y="0"/>
                  </a:cubicBezTo>
                  <a:cubicBezTo>
                    <a:pt x="6" y="0"/>
                    <a:pt x="6" y="0"/>
                    <a:pt x="7" y="0"/>
                  </a:cubicBezTo>
                  <a:cubicBezTo>
                    <a:pt x="7" y="0"/>
                    <a:pt x="8" y="1"/>
                    <a:pt x="8" y="1"/>
                  </a:cubicBezTo>
                  <a:cubicBezTo>
                    <a:pt x="9" y="2"/>
                    <a:pt x="9" y="2"/>
                    <a:pt x="9" y="3"/>
                  </a:cubicBezTo>
                  <a:cubicBezTo>
                    <a:pt x="10" y="3"/>
                    <a:pt x="10" y="4"/>
                    <a:pt x="10" y="5"/>
                  </a:cubicBezTo>
                  <a:close/>
                  <a:moveTo>
                    <a:pt x="1" y="53"/>
                  </a:moveTo>
                  <a:cubicBezTo>
                    <a:pt x="1" y="14"/>
                    <a:pt x="1" y="14"/>
                    <a:pt x="1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53"/>
                    <a:pt x="9" y="53"/>
                    <a:pt x="9" y="53"/>
                  </a:cubicBezTo>
                  <a:lnTo>
                    <a:pt x="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08" name="Freeform 26">
              <a:extLst>
                <a:ext uri="{FF2B5EF4-FFF2-40B4-BE49-F238E27FC236}">
                  <a16:creationId xmlns:a16="http://schemas.microsoft.com/office/drawing/2014/main" id="{2A730E5F-DF9C-488E-B4E0-EE9F501529E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236599" y="6212575"/>
              <a:ext cx="87186" cy="101135"/>
            </a:xfrm>
            <a:custGeom>
              <a:avLst/>
              <a:gdLst>
                <a:gd name="T0" fmla="*/ 34 w 34"/>
                <a:gd name="T1" fmla="*/ 19 h 40"/>
                <a:gd name="T2" fmla="*/ 33 w 34"/>
                <a:gd name="T3" fmla="*/ 28 h 40"/>
                <a:gd name="T4" fmla="*/ 29 w 34"/>
                <a:gd name="T5" fmla="*/ 34 h 40"/>
                <a:gd name="T6" fmla="*/ 24 w 34"/>
                <a:gd name="T7" fmla="*/ 38 h 40"/>
                <a:gd name="T8" fmla="*/ 17 w 34"/>
                <a:gd name="T9" fmla="*/ 40 h 40"/>
                <a:gd name="T10" fmla="*/ 10 w 34"/>
                <a:gd name="T11" fmla="*/ 38 h 40"/>
                <a:gd name="T12" fmla="*/ 5 w 34"/>
                <a:gd name="T13" fmla="*/ 34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1 h 40"/>
                <a:gd name="T20" fmla="*/ 5 w 34"/>
                <a:gd name="T21" fmla="*/ 5 h 40"/>
                <a:gd name="T22" fmla="*/ 10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1 h 40"/>
                <a:gd name="T32" fmla="*/ 34 w 34"/>
                <a:gd name="T33" fmla="*/ 19 h 40"/>
                <a:gd name="T34" fmla="*/ 26 w 34"/>
                <a:gd name="T35" fmla="*/ 20 h 40"/>
                <a:gd name="T36" fmla="*/ 26 w 34"/>
                <a:gd name="T37" fmla="*/ 14 h 40"/>
                <a:gd name="T38" fmla="*/ 24 w 34"/>
                <a:gd name="T39" fmla="*/ 10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0 h 40"/>
                <a:gd name="T48" fmla="*/ 8 w 34"/>
                <a:gd name="T49" fmla="*/ 14 h 40"/>
                <a:gd name="T50" fmla="*/ 7 w 34"/>
                <a:gd name="T51" fmla="*/ 19 h 40"/>
                <a:gd name="T52" fmla="*/ 8 w 34"/>
                <a:gd name="T53" fmla="*/ 25 h 40"/>
                <a:gd name="T54" fmla="*/ 10 w 34"/>
                <a:gd name="T55" fmla="*/ 29 h 40"/>
                <a:gd name="T56" fmla="*/ 13 w 34"/>
                <a:gd name="T57" fmla="*/ 32 h 40"/>
                <a:gd name="T58" fmla="*/ 17 w 34"/>
                <a:gd name="T59" fmla="*/ 32 h 40"/>
                <a:gd name="T60" fmla="*/ 21 w 34"/>
                <a:gd name="T61" fmla="*/ 31 h 40"/>
                <a:gd name="T62" fmla="*/ 24 w 34"/>
                <a:gd name="T63" fmla="*/ 29 h 40"/>
                <a:gd name="T64" fmla="*/ 26 w 34"/>
                <a:gd name="T65" fmla="*/ 25 h 40"/>
                <a:gd name="T66" fmla="*/ 26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19"/>
                  </a:moveTo>
                  <a:cubicBezTo>
                    <a:pt x="34" y="23"/>
                    <a:pt x="34" y="25"/>
                    <a:pt x="33" y="28"/>
                  </a:cubicBezTo>
                  <a:cubicBezTo>
                    <a:pt x="32" y="30"/>
                    <a:pt x="31" y="33"/>
                    <a:pt x="29" y="34"/>
                  </a:cubicBezTo>
                  <a:cubicBezTo>
                    <a:pt x="28" y="36"/>
                    <a:pt x="26" y="37"/>
                    <a:pt x="24" y="38"/>
                  </a:cubicBezTo>
                  <a:cubicBezTo>
                    <a:pt x="21" y="39"/>
                    <a:pt x="19" y="40"/>
                    <a:pt x="17" y="40"/>
                  </a:cubicBezTo>
                  <a:cubicBezTo>
                    <a:pt x="14" y="40"/>
                    <a:pt x="12" y="39"/>
                    <a:pt x="10" y="38"/>
                  </a:cubicBezTo>
                  <a:cubicBezTo>
                    <a:pt x="8" y="37"/>
                    <a:pt x="6" y="36"/>
                    <a:pt x="5" y="34"/>
                  </a:cubicBezTo>
                  <a:cubicBezTo>
                    <a:pt x="3" y="32"/>
                    <a:pt x="2" y="30"/>
                    <a:pt x="1" y="28"/>
                  </a:cubicBezTo>
                  <a:cubicBezTo>
                    <a:pt x="0" y="25"/>
                    <a:pt x="0" y="23"/>
                    <a:pt x="0" y="20"/>
                  </a:cubicBezTo>
                  <a:cubicBezTo>
                    <a:pt x="0" y="16"/>
                    <a:pt x="0" y="14"/>
                    <a:pt x="1" y="11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8" y="3"/>
                    <a:pt x="29" y="5"/>
                  </a:cubicBezTo>
                  <a:cubicBezTo>
                    <a:pt x="31" y="7"/>
                    <a:pt x="32" y="9"/>
                    <a:pt x="33" y="11"/>
                  </a:cubicBezTo>
                  <a:cubicBezTo>
                    <a:pt x="34" y="14"/>
                    <a:pt x="34" y="16"/>
                    <a:pt x="34" y="19"/>
                  </a:cubicBezTo>
                  <a:close/>
                  <a:moveTo>
                    <a:pt x="26" y="20"/>
                  </a:moveTo>
                  <a:cubicBezTo>
                    <a:pt x="26" y="18"/>
                    <a:pt x="26" y="16"/>
                    <a:pt x="26" y="14"/>
                  </a:cubicBezTo>
                  <a:cubicBezTo>
                    <a:pt x="25" y="13"/>
                    <a:pt x="25" y="11"/>
                    <a:pt x="24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19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11"/>
                    <a:pt x="8" y="13"/>
                    <a:pt x="8" y="14"/>
                  </a:cubicBezTo>
                  <a:cubicBezTo>
                    <a:pt x="8" y="16"/>
                    <a:pt x="7" y="17"/>
                    <a:pt x="7" y="19"/>
                  </a:cubicBezTo>
                  <a:cubicBezTo>
                    <a:pt x="7" y="21"/>
                    <a:pt x="8" y="23"/>
                    <a:pt x="8" y="25"/>
                  </a:cubicBezTo>
                  <a:cubicBezTo>
                    <a:pt x="9" y="27"/>
                    <a:pt x="9" y="28"/>
                    <a:pt x="10" y="29"/>
                  </a:cubicBezTo>
                  <a:cubicBezTo>
                    <a:pt x="11" y="30"/>
                    <a:pt x="12" y="31"/>
                    <a:pt x="13" y="32"/>
                  </a:cubicBezTo>
                  <a:cubicBezTo>
                    <a:pt x="14" y="32"/>
                    <a:pt x="16" y="32"/>
                    <a:pt x="17" y="32"/>
                  </a:cubicBezTo>
                  <a:cubicBezTo>
                    <a:pt x="18" y="32"/>
                    <a:pt x="20" y="32"/>
                    <a:pt x="21" y="31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7"/>
                    <a:pt x="25" y="26"/>
                    <a:pt x="26" y="25"/>
                  </a:cubicBezTo>
                  <a:cubicBezTo>
                    <a:pt x="26" y="23"/>
                    <a:pt x="26" y="21"/>
                    <a:pt x="26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09" name="Freeform 27">
              <a:extLst>
                <a:ext uri="{FF2B5EF4-FFF2-40B4-BE49-F238E27FC236}">
                  <a16:creationId xmlns:a16="http://schemas.microsoft.com/office/drawing/2014/main" id="{39861D7E-D8DA-436F-9E2F-5C08A8BFB4D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44710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1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9 w 31"/>
                <a:gd name="T11" fmla="*/ 9 h 39"/>
                <a:gd name="T12" fmla="*/ 8 w 31"/>
                <a:gd name="T13" fmla="*/ 12 h 39"/>
                <a:gd name="T14" fmla="*/ 7 w 31"/>
                <a:gd name="T15" fmla="*/ 16 h 39"/>
                <a:gd name="T16" fmla="*/ 7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7 w 31"/>
                <a:gd name="T23" fmla="*/ 0 h 39"/>
                <a:gd name="T24" fmla="*/ 7 w 31"/>
                <a:gd name="T25" fmla="*/ 4 h 39"/>
                <a:gd name="T26" fmla="*/ 9 w 31"/>
                <a:gd name="T27" fmla="*/ 2 h 39"/>
                <a:gd name="T28" fmla="*/ 11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7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1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9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7" y="15"/>
                    <a:pt x="7" y="16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9" y="0"/>
                    <a:pt x="21" y="0"/>
                    <a:pt x="23" y="1"/>
                  </a:cubicBezTo>
                  <a:cubicBezTo>
                    <a:pt x="25" y="1"/>
                    <a:pt x="26" y="2"/>
                    <a:pt x="27" y="4"/>
                  </a:cubicBezTo>
                  <a:cubicBezTo>
                    <a:pt x="28" y="5"/>
                    <a:pt x="29" y="7"/>
                    <a:pt x="30" y="9"/>
                  </a:cubicBezTo>
                  <a:cubicBezTo>
                    <a:pt x="30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10" name="Freeform 28">
              <a:extLst>
                <a:ext uri="{FF2B5EF4-FFF2-40B4-BE49-F238E27FC236}">
                  <a16:creationId xmlns:a16="http://schemas.microsoft.com/office/drawing/2014/main" id="{8B038F9F-6A9C-4E57-A659-0090AF47059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45845" y="6284068"/>
              <a:ext cx="31387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4 w 12"/>
                <a:gd name="T11" fmla="*/ 11 h 12"/>
                <a:gd name="T12" fmla="*/ 2 w 12"/>
                <a:gd name="T13" fmla="*/ 10 h 12"/>
                <a:gd name="T14" fmla="*/ 1 w 12"/>
                <a:gd name="T15" fmla="*/ 8 h 12"/>
                <a:gd name="T16" fmla="*/ 0 w 12"/>
                <a:gd name="T17" fmla="*/ 6 h 12"/>
                <a:gd name="T18" fmla="*/ 1 w 12"/>
                <a:gd name="T19" fmla="*/ 4 h 12"/>
                <a:gd name="T20" fmla="*/ 2 w 12"/>
                <a:gd name="T21" fmla="*/ 2 h 12"/>
                <a:gd name="T22" fmla="*/ 4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4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1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1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4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11" name="Freeform 29">
              <a:extLst>
                <a:ext uri="{FF2B5EF4-FFF2-40B4-BE49-F238E27FC236}">
                  <a16:creationId xmlns:a16="http://schemas.microsoft.com/office/drawing/2014/main" id="{15E4EB7D-754D-4053-9A23-596C7CFDA98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0006" y="6181188"/>
              <a:ext cx="97648" cy="130778"/>
            </a:xfrm>
            <a:custGeom>
              <a:avLst/>
              <a:gdLst>
                <a:gd name="T0" fmla="*/ 34 w 56"/>
                <a:gd name="T1" fmla="*/ 11 h 75"/>
                <a:gd name="T2" fmla="*/ 34 w 56"/>
                <a:gd name="T3" fmla="*/ 75 h 75"/>
                <a:gd name="T4" fmla="*/ 22 w 56"/>
                <a:gd name="T5" fmla="*/ 75 h 75"/>
                <a:gd name="T6" fmla="*/ 22 w 56"/>
                <a:gd name="T7" fmla="*/ 11 h 75"/>
                <a:gd name="T8" fmla="*/ 0 w 56"/>
                <a:gd name="T9" fmla="*/ 11 h 75"/>
                <a:gd name="T10" fmla="*/ 0 w 56"/>
                <a:gd name="T11" fmla="*/ 0 h 75"/>
                <a:gd name="T12" fmla="*/ 56 w 56"/>
                <a:gd name="T13" fmla="*/ 0 h 75"/>
                <a:gd name="T14" fmla="*/ 56 w 56"/>
                <a:gd name="T15" fmla="*/ 11 h 75"/>
                <a:gd name="T16" fmla="*/ 34 w 56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6" h="75">
                  <a:moveTo>
                    <a:pt x="34" y="11"/>
                  </a:moveTo>
                  <a:lnTo>
                    <a:pt x="34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6" y="0"/>
                  </a:lnTo>
                  <a:lnTo>
                    <a:pt x="56" y="11"/>
                  </a:lnTo>
                  <a:lnTo>
                    <a:pt x="34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12" name="Freeform 30">
              <a:extLst>
                <a:ext uri="{FF2B5EF4-FFF2-40B4-BE49-F238E27FC236}">
                  <a16:creationId xmlns:a16="http://schemas.microsoft.com/office/drawing/2014/main" id="{28E147CB-2B8F-497B-B00B-C25E679DC5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51603" y="6174213"/>
              <a:ext cx="80211" cy="137753"/>
            </a:xfrm>
            <a:custGeom>
              <a:avLst/>
              <a:gdLst>
                <a:gd name="T0" fmla="*/ 24 w 31"/>
                <a:gd name="T1" fmla="*/ 54 h 54"/>
                <a:gd name="T2" fmla="*/ 24 w 31"/>
                <a:gd name="T3" fmla="*/ 32 h 54"/>
                <a:gd name="T4" fmla="*/ 22 w 31"/>
                <a:gd name="T5" fmla="*/ 24 h 54"/>
                <a:gd name="T6" fmla="*/ 16 w 31"/>
                <a:gd name="T7" fmla="*/ 22 h 54"/>
                <a:gd name="T8" fmla="*/ 13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8 w 31"/>
                <a:gd name="T15" fmla="*/ 31 h 54"/>
                <a:gd name="T16" fmla="*/ 8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8 w 31"/>
                <a:gd name="T23" fmla="*/ 0 h 54"/>
                <a:gd name="T24" fmla="*/ 8 w 31"/>
                <a:gd name="T25" fmla="*/ 19 h 54"/>
                <a:gd name="T26" fmla="*/ 10 w 31"/>
                <a:gd name="T27" fmla="*/ 17 h 54"/>
                <a:gd name="T28" fmla="*/ 12 w 31"/>
                <a:gd name="T29" fmla="*/ 16 h 54"/>
                <a:gd name="T30" fmla="*/ 15 w 31"/>
                <a:gd name="T31" fmla="*/ 15 h 54"/>
                <a:gd name="T32" fmla="*/ 18 w 31"/>
                <a:gd name="T33" fmla="*/ 15 h 54"/>
                <a:gd name="T34" fmla="*/ 24 w 31"/>
                <a:gd name="T35" fmla="*/ 16 h 54"/>
                <a:gd name="T36" fmla="*/ 28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4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4" y="54"/>
                  </a:moveTo>
                  <a:cubicBezTo>
                    <a:pt x="24" y="32"/>
                    <a:pt x="24" y="32"/>
                    <a:pt x="24" y="32"/>
                  </a:cubicBezTo>
                  <a:cubicBezTo>
                    <a:pt x="24" y="28"/>
                    <a:pt x="23" y="26"/>
                    <a:pt x="22" y="24"/>
                  </a:cubicBezTo>
                  <a:cubicBezTo>
                    <a:pt x="21" y="22"/>
                    <a:pt x="19" y="22"/>
                    <a:pt x="16" y="22"/>
                  </a:cubicBezTo>
                  <a:cubicBezTo>
                    <a:pt x="15" y="22"/>
                    <a:pt x="14" y="22"/>
                    <a:pt x="13" y="22"/>
                  </a:cubicBezTo>
                  <a:cubicBezTo>
                    <a:pt x="12" y="22"/>
                    <a:pt x="11" y="23"/>
                    <a:pt x="10" y="24"/>
                  </a:cubicBezTo>
                  <a:cubicBezTo>
                    <a:pt x="9" y="25"/>
                    <a:pt x="9" y="26"/>
                    <a:pt x="8" y="27"/>
                  </a:cubicBezTo>
                  <a:cubicBezTo>
                    <a:pt x="8" y="28"/>
                    <a:pt x="8" y="30"/>
                    <a:pt x="8" y="31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3" y="15"/>
                    <a:pt x="14" y="15"/>
                    <a:pt x="15" y="15"/>
                  </a:cubicBezTo>
                  <a:cubicBezTo>
                    <a:pt x="16" y="15"/>
                    <a:pt x="17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29" y="20"/>
                    <a:pt x="30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4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13" name="Freeform 31">
              <a:extLst>
                <a:ext uri="{FF2B5EF4-FFF2-40B4-BE49-F238E27FC236}">
                  <a16:creationId xmlns:a16="http://schemas.microsoft.com/office/drawing/2014/main" id="{E68BC676-C787-429D-B59B-1A5CE062F78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50996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1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14" name="Freeform 32">
              <a:extLst>
                <a:ext uri="{FF2B5EF4-FFF2-40B4-BE49-F238E27FC236}">
                  <a16:creationId xmlns:a16="http://schemas.microsoft.com/office/drawing/2014/main" id="{71266960-73CB-44B9-9A97-81085898914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02698" y="6174213"/>
              <a:ext cx="80211" cy="139497"/>
            </a:xfrm>
            <a:custGeom>
              <a:avLst/>
              <a:gdLst>
                <a:gd name="T0" fmla="*/ 32 w 32"/>
                <a:gd name="T1" fmla="*/ 35 h 55"/>
                <a:gd name="T2" fmla="*/ 31 w 32"/>
                <a:gd name="T3" fmla="*/ 44 h 55"/>
                <a:gd name="T4" fmla="*/ 28 w 32"/>
                <a:gd name="T5" fmla="*/ 50 h 55"/>
                <a:gd name="T6" fmla="*/ 23 w 32"/>
                <a:gd name="T7" fmla="*/ 53 h 55"/>
                <a:gd name="T8" fmla="*/ 17 w 32"/>
                <a:gd name="T9" fmla="*/ 55 h 55"/>
                <a:gd name="T10" fmla="*/ 12 w 32"/>
                <a:gd name="T11" fmla="*/ 53 h 55"/>
                <a:gd name="T12" fmla="*/ 7 w 32"/>
                <a:gd name="T13" fmla="*/ 50 h 55"/>
                <a:gd name="T14" fmla="*/ 7 w 32"/>
                <a:gd name="T15" fmla="*/ 54 h 55"/>
                <a:gd name="T16" fmla="*/ 0 w 32"/>
                <a:gd name="T17" fmla="*/ 54 h 55"/>
                <a:gd name="T18" fmla="*/ 0 w 32"/>
                <a:gd name="T19" fmla="*/ 4 h 55"/>
                <a:gd name="T20" fmla="*/ 7 w 32"/>
                <a:gd name="T21" fmla="*/ 0 h 55"/>
                <a:gd name="T22" fmla="*/ 7 w 32"/>
                <a:gd name="T23" fmla="*/ 19 h 55"/>
                <a:gd name="T24" fmla="*/ 10 w 32"/>
                <a:gd name="T25" fmla="*/ 17 h 55"/>
                <a:gd name="T26" fmla="*/ 12 w 32"/>
                <a:gd name="T27" fmla="*/ 16 h 55"/>
                <a:gd name="T28" fmla="*/ 14 w 32"/>
                <a:gd name="T29" fmla="*/ 15 h 55"/>
                <a:gd name="T30" fmla="*/ 17 w 32"/>
                <a:gd name="T31" fmla="*/ 15 h 55"/>
                <a:gd name="T32" fmla="*/ 23 w 32"/>
                <a:gd name="T33" fmla="*/ 16 h 55"/>
                <a:gd name="T34" fmla="*/ 28 w 32"/>
                <a:gd name="T35" fmla="*/ 19 h 55"/>
                <a:gd name="T36" fmla="*/ 31 w 32"/>
                <a:gd name="T37" fmla="*/ 26 h 55"/>
                <a:gd name="T38" fmla="*/ 32 w 32"/>
                <a:gd name="T39" fmla="*/ 35 h 55"/>
                <a:gd name="T40" fmla="*/ 25 w 32"/>
                <a:gd name="T41" fmla="*/ 35 h 55"/>
                <a:gd name="T42" fmla="*/ 23 w 32"/>
                <a:gd name="T43" fmla="*/ 25 h 55"/>
                <a:gd name="T44" fmla="*/ 16 w 32"/>
                <a:gd name="T45" fmla="*/ 22 h 55"/>
                <a:gd name="T46" fmla="*/ 14 w 32"/>
                <a:gd name="T47" fmla="*/ 22 h 55"/>
                <a:gd name="T48" fmla="*/ 11 w 32"/>
                <a:gd name="T49" fmla="*/ 23 h 55"/>
                <a:gd name="T50" fmla="*/ 9 w 32"/>
                <a:gd name="T51" fmla="*/ 25 h 55"/>
                <a:gd name="T52" fmla="*/ 7 w 32"/>
                <a:gd name="T53" fmla="*/ 26 h 55"/>
                <a:gd name="T54" fmla="*/ 7 w 32"/>
                <a:gd name="T55" fmla="*/ 43 h 55"/>
                <a:gd name="T56" fmla="*/ 9 w 32"/>
                <a:gd name="T57" fmla="*/ 44 h 55"/>
                <a:gd name="T58" fmla="*/ 11 w 32"/>
                <a:gd name="T59" fmla="*/ 46 h 55"/>
                <a:gd name="T60" fmla="*/ 14 w 32"/>
                <a:gd name="T61" fmla="*/ 47 h 55"/>
                <a:gd name="T62" fmla="*/ 16 w 32"/>
                <a:gd name="T63" fmla="*/ 48 h 55"/>
                <a:gd name="T64" fmla="*/ 23 w 32"/>
                <a:gd name="T65" fmla="*/ 45 h 55"/>
                <a:gd name="T66" fmla="*/ 25 w 32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2" h="55">
                  <a:moveTo>
                    <a:pt x="32" y="35"/>
                  </a:moveTo>
                  <a:cubicBezTo>
                    <a:pt x="32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6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5" y="55"/>
                    <a:pt x="13" y="54"/>
                    <a:pt x="12" y="53"/>
                  </a:cubicBezTo>
                  <a:cubicBezTo>
                    <a:pt x="10" y="52"/>
                    <a:pt x="9" y="51"/>
                    <a:pt x="7" y="50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6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20" y="15"/>
                    <a:pt x="21" y="15"/>
                    <a:pt x="23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29" y="21"/>
                    <a:pt x="30" y="23"/>
                    <a:pt x="31" y="26"/>
                  </a:cubicBezTo>
                  <a:cubicBezTo>
                    <a:pt x="32" y="28"/>
                    <a:pt x="32" y="32"/>
                    <a:pt x="32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4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0" y="23"/>
                    <a:pt x="10" y="24"/>
                    <a:pt x="9" y="25"/>
                  </a:cubicBezTo>
                  <a:cubicBezTo>
                    <a:pt x="8" y="25"/>
                    <a:pt x="8" y="26"/>
                    <a:pt x="7" y="26"/>
                  </a:cubicBezTo>
                  <a:cubicBezTo>
                    <a:pt x="7" y="43"/>
                    <a:pt x="7" y="43"/>
                    <a:pt x="7" y="43"/>
                  </a:cubicBezTo>
                  <a:cubicBezTo>
                    <a:pt x="8" y="43"/>
                    <a:pt x="8" y="44"/>
                    <a:pt x="9" y="44"/>
                  </a:cubicBezTo>
                  <a:cubicBezTo>
                    <a:pt x="10" y="45"/>
                    <a:pt x="10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5" y="48"/>
                    <a:pt x="16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15" name="Freeform 33">
              <a:extLst>
                <a:ext uri="{FF2B5EF4-FFF2-40B4-BE49-F238E27FC236}">
                  <a16:creationId xmlns:a16="http://schemas.microsoft.com/office/drawing/2014/main" id="{3FF3AC5A-B742-4B29-8E04-03A71D82B9A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9860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8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8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3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7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16" name="Freeform 34">
              <a:extLst>
                <a:ext uri="{FF2B5EF4-FFF2-40B4-BE49-F238E27FC236}">
                  <a16:creationId xmlns:a16="http://schemas.microsoft.com/office/drawing/2014/main" id="{0C912743-E24B-4E48-8196-5FBD1ECEE9A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625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3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17" name="Freeform 35">
              <a:extLst>
                <a:ext uri="{FF2B5EF4-FFF2-40B4-BE49-F238E27FC236}">
                  <a16:creationId xmlns:a16="http://schemas.microsoft.com/office/drawing/2014/main" id="{6E2F01F4-1410-4FE1-B043-EA97A1541F3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64256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7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6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7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18" name="Freeform 36">
              <a:extLst>
                <a:ext uri="{FF2B5EF4-FFF2-40B4-BE49-F238E27FC236}">
                  <a16:creationId xmlns:a16="http://schemas.microsoft.com/office/drawing/2014/main" id="{58ACFF1C-49F0-414E-B9E3-DE4E9FFAA38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2340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19" name="Freeform 37">
              <a:extLst>
                <a:ext uri="{FF2B5EF4-FFF2-40B4-BE49-F238E27FC236}">
                  <a16:creationId xmlns:a16="http://schemas.microsoft.com/office/drawing/2014/main" id="{DACBD04B-22FF-4A4F-8B29-A2F31A0542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36884" y="6212575"/>
              <a:ext cx="59286" cy="99391"/>
            </a:xfrm>
            <a:custGeom>
              <a:avLst/>
              <a:gdLst>
                <a:gd name="T0" fmla="*/ 21 w 23"/>
                <a:gd name="T1" fmla="*/ 8 h 39"/>
                <a:gd name="T2" fmla="*/ 19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9" y="7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20" name="Freeform 38">
              <a:extLst>
                <a:ext uri="{FF2B5EF4-FFF2-40B4-BE49-F238E27FC236}">
                  <a16:creationId xmlns:a16="http://schemas.microsoft.com/office/drawing/2014/main" id="{A13F6E37-C22B-4FD3-ADFE-9C53ECB446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51969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21" name="Freeform 39">
              <a:extLst>
                <a:ext uri="{FF2B5EF4-FFF2-40B4-BE49-F238E27FC236}">
                  <a16:creationId xmlns:a16="http://schemas.microsoft.com/office/drawing/2014/main" id="{76256F1D-405A-49F9-8592-A899623F2D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30436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22" name="Freeform 40">
              <a:extLst>
                <a:ext uri="{FF2B5EF4-FFF2-40B4-BE49-F238E27FC236}">
                  <a16:creationId xmlns:a16="http://schemas.microsoft.com/office/drawing/2014/main" id="{2F9CAE14-DB05-4B70-867F-3F6164BDB74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62808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23" name="Freeform 41">
              <a:extLst>
                <a:ext uri="{FF2B5EF4-FFF2-40B4-BE49-F238E27FC236}">
                  <a16:creationId xmlns:a16="http://schemas.microsoft.com/office/drawing/2014/main" id="{30C7B10F-7027-41F9-BEE2-F1575CB690D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772813" y="6212575"/>
              <a:ext cx="81955" cy="101135"/>
            </a:xfrm>
            <a:custGeom>
              <a:avLst/>
              <a:gdLst>
                <a:gd name="T0" fmla="*/ 24 w 32"/>
                <a:gd name="T1" fmla="*/ 39 h 40"/>
                <a:gd name="T2" fmla="*/ 24 w 32"/>
                <a:gd name="T3" fmla="*/ 35 h 40"/>
                <a:gd name="T4" fmla="*/ 22 w 32"/>
                <a:gd name="T5" fmla="*/ 37 h 40"/>
                <a:gd name="T6" fmla="*/ 20 w 32"/>
                <a:gd name="T7" fmla="*/ 38 h 40"/>
                <a:gd name="T8" fmla="*/ 17 w 32"/>
                <a:gd name="T9" fmla="*/ 39 h 40"/>
                <a:gd name="T10" fmla="*/ 14 w 32"/>
                <a:gd name="T11" fmla="*/ 40 h 40"/>
                <a:gd name="T12" fmla="*/ 9 w 32"/>
                <a:gd name="T13" fmla="*/ 39 h 40"/>
                <a:gd name="T14" fmla="*/ 5 w 32"/>
                <a:gd name="T15" fmla="*/ 37 h 40"/>
                <a:gd name="T16" fmla="*/ 2 w 32"/>
                <a:gd name="T17" fmla="*/ 33 h 40"/>
                <a:gd name="T18" fmla="*/ 0 w 32"/>
                <a:gd name="T19" fmla="*/ 27 h 40"/>
                <a:gd name="T20" fmla="*/ 2 w 32"/>
                <a:gd name="T21" fmla="*/ 21 h 40"/>
                <a:gd name="T22" fmla="*/ 5 w 32"/>
                <a:gd name="T23" fmla="*/ 17 h 40"/>
                <a:gd name="T24" fmla="*/ 10 w 32"/>
                <a:gd name="T25" fmla="*/ 15 h 40"/>
                <a:gd name="T26" fmla="*/ 16 w 32"/>
                <a:gd name="T27" fmla="*/ 14 h 40"/>
                <a:gd name="T28" fmla="*/ 21 w 32"/>
                <a:gd name="T29" fmla="*/ 15 h 40"/>
                <a:gd name="T30" fmla="*/ 24 w 32"/>
                <a:gd name="T31" fmla="*/ 16 h 40"/>
                <a:gd name="T32" fmla="*/ 24 w 32"/>
                <a:gd name="T33" fmla="*/ 13 h 40"/>
                <a:gd name="T34" fmla="*/ 22 w 32"/>
                <a:gd name="T35" fmla="*/ 8 h 40"/>
                <a:gd name="T36" fmla="*/ 17 w 32"/>
                <a:gd name="T37" fmla="*/ 6 h 40"/>
                <a:gd name="T38" fmla="*/ 12 w 32"/>
                <a:gd name="T39" fmla="*/ 7 h 40"/>
                <a:gd name="T40" fmla="*/ 7 w 32"/>
                <a:gd name="T41" fmla="*/ 9 h 40"/>
                <a:gd name="T42" fmla="*/ 4 w 32"/>
                <a:gd name="T43" fmla="*/ 3 h 40"/>
                <a:gd name="T44" fmla="*/ 10 w 32"/>
                <a:gd name="T45" fmla="*/ 0 h 40"/>
                <a:gd name="T46" fmla="*/ 17 w 32"/>
                <a:gd name="T47" fmla="*/ 0 h 40"/>
                <a:gd name="T48" fmla="*/ 23 w 32"/>
                <a:gd name="T49" fmla="*/ 0 h 40"/>
                <a:gd name="T50" fmla="*/ 28 w 32"/>
                <a:gd name="T51" fmla="*/ 3 h 40"/>
                <a:gd name="T52" fmla="*/ 31 w 32"/>
                <a:gd name="T53" fmla="*/ 7 h 40"/>
                <a:gd name="T54" fmla="*/ 32 w 32"/>
                <a:gd name="T55" fmla="*/ 12 h 40"/>
                <a:gd name="T56" fmla="*/ 32 w 32"/>
                <a:gd name="T57" fmla="*/ 39 h 40"/>
                <a:gd name="T58" fmla="*/ 24 w 32"/>
                <a:gd name="T59" fmla="*/ 39 h 40"/>
                <a:gd name="T60" fmla="*/ 24 w 32"/>
                <a:gd name="T61" fmla="*/ 22 h 40"/>
                <a:gd name="T62" fmla="*/ 22 w 32"/>
                <a:gd name="T63" fmla="*/ 22 h 40"/>
                <a:gd name="T64" fmla="*/ 21 w 32"/>
                <a:gd name="T65" fmla="*/ 21 h 40"/>
                <a:gd name="T66" fmla="*/ 18 w 32"/>
                <a:gd name="T67" fmla="*/ 21 h 40"/>
                <a:gd name="T68" fmla="*/ 16 w 32"/>
                <a:gd name="T69" fmla="*/ 21 h 40"/>
                <a:gd name="T70" fmla="*/ 10 w 32"/>
                <a:gd name="T71" fmla="*/ 22 h 40"/>
                <a:gd name="T72" fmla="*/ 8 w 32"/>
                <a:gd name="T73" fmla="*/ 26 h 40"/>
                <a:gd name="T74" fmla="*/ 8 w 32"/>
                <a:gd name="T75" fmla="*/ 29 h 40"/>
                <a:gd name="T76" fmla="*/ 10 w 32"/>
                <a:gd name="T77" fmla="*/ 31 h 40"/>
                <a:gd name="T78" fmla="*/ 12 w 32"/>
                <a:gd name="T79" fmla="*/ 32 h 40"/>
                <a:gd name="T80" fmla="*/ 15 w 32"/>
                <a:gd name="T81" fmla="*/ 33 h 40"/>
                <a:gd name="T82" fmla="*/ 18 w 32"/>
                <a:gd name="T83" fmla="*/ 32 h 40"/>
                <a:gd name="T84" fmla="*/ 21 w 32"/>
                <a:gd name="T85" fmla="*/ 31 h 40"/>
                <a:gd name="T86" fmla="*/ 23 w 32"/>
                <a:gd name="T87" fmla="*/ 30 h 40"/>
                <a:gd name="T88" fmla="*/ 24 w 32"/>
                <a:gd name="T89" fmla="*/ 28 h 40"/>
                <a:gd name="T90" fmla="*/ 24 w 32"/>
                <a:gd name="T91" fmla="*/ 2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2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3" y="37"/>
                    <a:pt x="22" y="37"/>
                  </a:cubicBezTo>
                  <a:cubicBezTo>
                    <a:pt x="21" y="37"/>
                    <a:pt x="21" y="38"/>
                    <a:pt x="20" y="38"/>
                  </a:cubicBezTo>
                  <a:cubicBezTo>
                    <a:pt x="19" y="39"/>
                    <a:pt x="18" y="39"/>
                    <a:pt x="17" y="39"/>
                  </a:cubicBezTo>
                  <a:cubicBezTo>
                    <a:pt x="16" y="39"/>
                    <a:pt x="15" y="40"/>
                    <a:pt x="14" y="40"/>
                  </a:cubicBezTo>
                  <a:cubicBezTo>
                    <a:pt x="12" y="40"/>
                    <a:pt x="11" y="39"/>
                    <a:pt x="9" y="39"/>
                  </a:cubicBezTo>
                  <a:cubicBezTo>
                    <a:pt x="7" y="38"/>
                    <a:pt x="6" y="38"/>
                    <a:pt x="5" y="37"/>
                  </a:cubicBezTo>
                  <a:cubicBezTo>
                    <a:pt x="3" y="36"/>
                    <a:pt x="2" y="34"/>
                    <a:pt x="2" y="33"/>
                  </a:cubicBezTo>
                  <a:cubicBezTo>
                    <a:pt x="1" y="31"/>
                    <a:pt x="0" y="29"/>
                    <a:pt x="0" y="27"/>
                  </a:cubicBezTo>
                  <a:cubicBezTo>
                    <a:pt x="0" y="24"/>
                    <a:pt x="1" y="23"/>
                    <a:pt x="2" y="21"/>
                  </a:cubicBezTo>
                  <a:cubicBezTo>
                    <a:pt x="2" y="20"/>
                    <a:pt x="3" y="18"/>
                    <a:pt x="5" y="17"/>
                  </a:cubicBezTo>
                  <a:cubicBezTo>
                    <a:pt x="6" y="16"/>
                    <a:pt x="8" y="15"/>
                    <a:pt x="10" y="15"/>
                  </a:cubicBezTo>
                  <a:cubicBezTo>
                    <a:pt x="12" y="14"/>
                    <a:pt x="14" y="14"/>
                    <a:pt x="16" y="14"/>
                  </a:cubicBezTo>
                  <a:cubicBezTo>
                    <a:pt x="18" y="14"/>
                    <a:pt x="19" y="14"/>
                    <a:pt x="21" y="15"/>
                  </a:cubicBezTo>
                  <a:cubicBezTo>
                    <a:pt x="22" y="15"/>
                    <a:pt x="23" y="15"/>
                    <a:pt x="24" y="16"/>
                  </a:cubicBezTo>
                  <a:cubicBezTo>
                    <a:pt x="24" y="13"/>
                    <a:pt x="24" y="13"/>
                    <a:pt x="24" y="13"/>
                  </a:cubicBezTo>
                  <a:cubicBezTo>
                    <a:pt x="24" y="11"/>
                    <a:pt x="24" y="9"/>
                    <a:pt x="22" y="8"/>
                  </a:cubicBezTo>
                  <a:cubicBezTo>
                    <a:pt x="21" y="7"/>
                    <a:pt x="19" y="6"/>
                    <a:pt x="17" y="6"/>
                  </a:cubicBezTo>
                  <a:cubicBezTo>
                    <a:pt x="15" y="6"/>
                    <a:pt x="13" y="6"/>
                    <a:pt x="12" y="7"/>
                  </a:cubicBezTo>
                  <a:cubicBezTo>
                    <a:pt x="10" y="7"/>
                    <a:pt x="9" y="8"/>
                    <a:pt x="7" y="9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6" y="2"/>
                    <a:pt x="8" y="1"/>
                    <a:pt x="10" y="0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19" y="0"/>
                    <a:pt x="21" y="0"/>
                    <a:pt x="23" y="0"/>
                  </a:cubicBezTo>
                  <a:cubicBezTo>
                    <a:pt x="25" y="1"/>
                    <a:pt x="26" y="2"/>
                    <a:pt x="28" y="3"/>
                  </a:cubicBezTo>
                  <a:cubicBezTo>
                    <a:pt x="29" y="4"/>
                    <a:pt x="30" y="5"/>
                    <a:pt x="31" y="7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2" y="39"/>
                    <a:pt x="32" y="39"/>
                    <a:pt x="32" y="39"/>
                  </a:cubicBezTo>
                  <a:lnTo>
                    <a:pt x="24" y="39"/>
                  </a:lnTo>
                  <a:close/>
                  <a:moveTo>
                    <a:pt x="24" y="22"/>
                  </a:moveTo>
                  <a:cubicBezTo>
                    <a:pt x="24" y="22"/>
                    <a:pt x="23" y="22"/>
                    <a:pt x="22" y="22"/>
                  </a:cubicBezTo>
                  <a:cubicBezTo>
                    <a:pt x="22" y="21"/>
                    <a:pt x="21" y="21"/>
                    <a:pt x="21" y="21"/>
                  </a:cubicBezTo>
                  <a:cubicBezTo>
                    <a:pt x="20" y="21"/>
                    <a:pt x="19" y="21"/>
                    <a:pt x="18" y="21"/>
                  </a:cubicBezTo>
                  <a:cubicBezTo>
                    <a:pt x="17" y="21"/>
                    <a:pt x="17" y="21"/>
                    <a:pt x="16" y="21"/>
                  </a:cubicBezTo>
                  <a:cubicBezTo>
                    <a:pt x="13" y="21"/>
                    <a:pt x="11" y="21"/>
                    <a:pt x="10" y="22"/>
                  </a:cubicBezTo>
                  <a:cubicBezTo>
                    <a:pt x="8" y="23"/>
                    <a:pt x="8" y="25"/>
                    <a:pt x="8" y="26"/>
                  </a:cubicBezTo>
                  <a:cubicBezTo>
                    <a:pt x="8" y="28"/>
                    <a:pt x="8" y="29"/>
                    <a:pt x="8" y="29"/>
                  </a:cubicBezTo>
                  <a:cubicBezTo>
                    <a:pt x="9" y="30"/>
                    <a:pt x="9" y="31"/>
                    <a:pt x="10" y="31"/>
                  </a:cubicBezTo>
                  <a:cubicBezTo>
                    <a:pt x="10" y="32"/>
                    <a:pt x="11" y="32"/>
                    <a:pt x="12" y="32"/>
                  </a:cubicBezTo>
                  <a:cubicBezTo>
                    <a:pt x="13" y="33"/>
                    <a:pt x="14" y="33"/>
                    <a:pt x="15" y="33"/>
                  </a:cubicBezTo>
                  <a:cubicBezTo>
                    <a:pt x="16" y="33"/>
                    <a:pt x="17" y="33"/>
                    <a:pt x="18" y="32"/>
                  </a:cubicBezTo>
                  <a:cubicBezTo>
                    <a:pt x="19" y="32"/>
                    <a:pt x="20" y="32"/>
                    <a:pt x="21" y="31"/>
                  </a:cubicBezTo>
                  <a:cubicBezTo>
                    <a:pt x="21" y="31"/>
                    <a:pt x="22" y="30"/>
                    <a:pt x="23" y="30"/>
                  </a:cubicBezTo>
                  <a:cubicBezTo>
                    <a:pt x="23" y="29"/>
                    <a:pt x="24" y="28"/>
                    <a:pt x="24" y="28"/>
                  </a:cubicBezTo>
                  <a:lnTo>
                    <a:pt x="24" y="2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24" name="Freeform 42">
              <a:extLst>
                <a:ext uri="{FF2B5EF4-FFF2-40B4-BE49-F238E27FC236}">
                  <a16:creationId xmlns:a16="http://schemas.microsoft.com/office/drawing/2014/main" id="{16B384B2-A2D9-4CB4-AF87-AF1004852B5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77436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2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10 w 31"/>
                <a:gd name="T11" fmla="*/ 9 h 39"/>
                <a:gd name="T12" fmla="*/ 8 w 31"/>
                <a:gd name="T13" fmla="*/ 12 h 39"/>
                <a:gd name="T14" fmla="*/ 8 w 31"/>
                <a:gd name="T15" fmla="*/ 16 h 39"/>
                <a:gd name="T16" fmla="*/ 8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8 w 31"/>
                <a:gd name="T23" fmla="*/ 0 h 39"/>
                <a:gd name="T24" fmla="*/ 8 w 31"/>
                <a:gd name="T25" fmla="*/ 4 h 39"/>
                <a:gd name="T26" fmla="*/ 9 w 31"/>
                <a:gd name="T27" fmla="*/ 2 h 39"/>
                <a:gd name="T28" fmla="*/ 12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8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2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10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8" y="15"/>
                    <a:pt x="8" y="16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2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20" y="0"/>
                    <a:pt x="22" y="0"/>
                    <a:pt x="23" y="1"/>
                  </a:cubicBezTo>
                  <a:cubicBezTo>
                    <a:pt x="25" y="1"/>
                    <a:pt x="26" y="2"/>
                    <a:pt x="28" y="4"/>
                  </a:cubicBezTo>
                  <a:cubicBezTo>
                    <a:pt x="29" y="5"/>
                    <a:pt x="29" y="7"/>
                    <a:pt x="30" y="9"/>
                  </a:cubicBezTo>
                  <a:cubicBezTo>
                    <a:pt x="31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25" name="Freeform 43">
              <a:extLst>
                <a:ext uri="{FF2B5EF4-FFF2-40B4-BE49-F238E27FC236}">
                  <a16:creationId xmlns:a16="http://schemas.microsoft.com/office/drawing/2014/main" id="{DC309D60-84B9-4652-BEF1-F71EFAD3A40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75084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0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3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6 w 29"/>
                <a:gd name="T55" fmla="*/ 24 h 40"/>
                <a:gd name="T56" fmla="*/ 13 w 29"/>
                <a:gd name="T57" fmla="*/ 22 h 40"/>
                <a:gd name="T58" fmla="*/ 7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1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2" y="6"/>
                    <a:pt x="11" y="7"/>
                    <a:pt x="10" y="7"/>
                  </a:cubicBezTo>
                  <a:cubicBezTo>
                    <a:pt x="9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1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8" y="25"/>
                    <a:pt x="18" y="24"/>
                    <a:pt x="16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7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2" y="15"/>
                    <a:pt x="2" y="14"/>
                  </a:cubicBezTo>
                  <a:cubicBezTo>
                    <a:pt x="2" y="13"/>
                    <a:pt x="1" y="12"/>
                    <a:pt x="1" y="10"/>
                  </a:cubicBezTo>
                  <a:cubicBezTo>
                    <a:pt x="1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26" name="Freeform 44">
              <a:extLst>
                <a:ext uri="{FF2B5EF4-FFF2-40B4-BE49-F238E27FC236}">
                  <a16:creationId xmlns:a16="http://schemas.microsoft.com/office/drawing/2014/main" id="{A4440044-5486-483F-B652-7EE3849461B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58782" y="6212575"/>
              <a:ext cx="122060" cy="99391"/>
            </a:xfrm>
            <a:custGeom>
              <a:avLst/>
              <a:gdLst>
                <a:gd name="T0" fmla="*/ 55 w 70"/>
                <a:gd name="T1" fmla="*/ 57 h 57"/>
                <a:gd name="T2" fmla="*/ 45 w 70"/>
                <a:gd name="T3" fmla="*/ 57 h 57"/>
                <a:gd name="T4" fmla="*/ 35 w 70"/>
                <a:gd name="T5" fmla="*/ 17 h 57"/>
                <a:gd name="T6" fmla="*/ 25 w 70"/>
                <a:gd name="T7" fmla="*/ 57 h 57"/>
                <a:gd name="T8" fmla="*/ 14 w 70"/>
                <a:gd name="T9" fmla="*/ 57 h 57"/>
                <a:gd name="T10" fmla="*/ 0 w 70"/>
                <a:gd name="T11" fmla="*/ 0 h 57"/>
                <a:gd name="T12" fmla="*/ 10 w 70"/>
                <a:gd name="T13" fmla="*/ 0 h 57"/>
                <a:gd name="T14" fmla="*/ 20 w 70"/>
                <a:gd name="T15" fmla="*/ 39 h 57"/>
                <a:gd name="T16" fmla="*/ 30 w 70"/>
                <a:gd name="T17" fmla="*/ 0 h 57"/>
                <a:gd name="T18" fmla="*/ 39 w 70"/>
                <a:gd name="T19" fmla="*/ 0 h 57"/>
                <a:gd name="T20" fmla="*/ 49 w 70"/>
                <a:gd name="T21" fmla="*/ 39 h 57"/>
                <a:gd name="T22" fmla="*/ 60 w 70"/>
                <a:gd name="T23" fmla="*/ 0 h 57"/>
                <a:gd name="T24" fmla="*/ 70 w 70"/>
                <a:gd name="T25" fmla="*/ 0 h 57"/>
                <a:gd name="T26" fmla="*/ 55 w 70"/>
                <a:gd name="T27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7">
                  <a:moveTo>
                    <a:pt x="55" y="57"/>
                  </a:moveTo>
                  <a:lnTo>
                    <a:pt x="45" y="57"/>
                  </a:lnTo>
                  <a:lnTo>
                    <a:pt x="35" y="17"/>
                  </a:lnTo>
                  <a:lnTo>
                    <a:pt x="25" y="57"/>
                  </a:lnTo>
                  <a:lnTo>
                    <a:pt x="14" y="57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0" y="39"/>
                  </a:lnTo>
                  <a:lnTo>
                    <a:pt x="30" y="0"/>
                  </a:lnTo>
                  <a:lnTo>
                    <a:pt x="39" y="0"/>
                  </a:lnTo>
                  <a:lnTo>
                    <a:pt x="49" y="39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27" name="Freeform 45">
              <a:extLst>
                <a:ext uri="{FF2B5EF4-FFF2-40B4-BE49-F238E27FC236}">
                  <a16:creationId xmlns:a16="http://schemas.microsoft.com/office/drawing/2014/main" id="{446771E9-EA09-4256-8955-FE392C07AFC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1913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28" name="Freeform 46">
              <a:extLst>
                <a:ext uri="{FF2B5EF4-FFF2-40B4-BE49-F238E27FC236}">
                  <a16:creationId xmlns:a16="http://schemas.microsoft.com/office/drawing/2014/main" id="{FE985025-CAA5-44F2-9174-87CD1D8BA18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95927" y="6212575"/>
              <a:ext cx="57543" cy="99391"/>
            </a:xfrm>
            <a:custGeom>
              <a:avLst/>
              <a:gdLst>
                <a:gd name="T0" fmla="*/ 21 w 23"/>
                <a:gd name="T1" fmla="*/ 8 h 39"/>
                <a:gd name="T2" fmla="*/ 18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6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0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29" name="Freeform 47">
              <a:extLst>
                <a:ext uri="{FF2B5EF4-FFF2-40B4-BE49-F238E27FC236}">
                  <a16:creationId xmlns:a16="http://schemas.microsoft.com/office/drawing/2014/main" id="{1105FBBE-AD06-4F22-94D8-E2E98185FA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6494" y="6284068"/>
              <a:ext cx="29644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3 w 12"/>
                <a:gd name="T11" fmla="*/ 11 h 12"/>
                <a:gd name="T12" fmla="*/ 2 w 12"/>
                <a:gd name="T13" fmla="*/ 10 h 12"/>
                <a:gd name="T14" fmla="*/ 0 w 12"/>
                <a:gd name="T15" fmla="*/ 8 h 12"/>
                <a:gd name="T16" fmla="*/ 0 w 12"/>
                <a:gd name="T17" fmla="*/ 6 h 12"/>
                <a:gd name="T18" fmla="*/ 0 w 12"/>
                <a:gd name="T19" fmla="*/ 4 h 12"/>
                <a:gd name="T20" fmla="*/ 2 w 12"/>
                <a:gd name="T21" fmla="*/ 2 h 12"/>
                <a:gd name="T22" fmla="*/ 3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3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0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3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30" name="Freeform 48">
              <a:extLst>
                <a:ext uri="{FF2B5EF4-FFF2-40B4-BE49-F238E27FC236}">
                  <a16:creationId xmlns:a16="http://schemas.microsoft.com/office/drawing/2014/main" id="{8141824A-6AD4-4B53-B837-71461DD538C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388691"/>
              <a:ext cx="94161" cy="130778"/>
            </a:xfrm>
            <a:custGeom>
              <a:avLst/>
              <a:gdLst>
                <a:gd name="T0" fmla="*/ 32 w 54"/>
                <a:gd name="T1" fmla="*/ 12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2 h 75"/>
                <a:gd name="T8" fmla="*/ 0 w 54"/>
                <a:gd name="T9" fmla="*/ 12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2 h 75"/>
                <a:gd name="T16" fmla="*/ 32 w 54"/>
                <a:gd name="T17" fmla="*/ 12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2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2"/>
                  </a:lnTo>
                  <a:lnTo>
                    <a:pt x="0" y="12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2"/>
                  </a:lnTo>
                  <a:lnTo>
                    <a:pt x="32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31" name="Freeform 49">
              <a:extLst>
                <a:ext uri="{FF2B5EF4-FFF2-40B4-BE49-F238E27FC236}">
                  <a16:creationId xmlns:a16="http://schemas.microsoft.com/office/drawing/2014/main" id="{1CEF1D95-CD6C-417A-9539-CB4DBAA5E07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383459"/>
              <a:ext cx="78468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9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1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7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7"/>
                    <a:pt x="9" y="17"/>
                  </a:cubicBezTo>
                  <a:cubicBezTo>
                    <a:pt x="10" y="16"/>
                    <a:pt x="10" y="16"/>
                    <a:pt x="11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32" name="Freeform 50">
              <a:extLst>
                <a:ext uri="{FF2B5EF4-FFF2-40B4-BE49-F238E27FC236}">
                  <a16:creationId xmlns:a16="http://schemas.microsoft.com/office/drawing/2014/main" id="{BF6CB5D3-9648-4D73-AB7C-5374814E5BA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418333"/>
              <a:ext cx="85443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7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3 w 33"/>
                <a:gd name="T73" fmla="*/ 8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9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2" y="32"/>
                    <a:pt x="23" y="32"/>
                    <a:pt x="23" y="32"/>
                  </a:cubicBezTo>
                  <a:cubicBezTo>
                    <a:pt x="24" y="31"/>
                    <a:pt x="25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1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5" y="13"/>
                  </a:cubicBezTo>
                  <a:cubicBezTo>
                    <a:pt x="24" y="12"/>
                    <a:pt x="24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33" name="Freeform 51">
              <a:extLst>
                <a:ext uri="{FF2B5EF4-FFF2-40B4-BE49-F238E27FC236}">
                  <a16:creationId xmlns:a16="http://schemas.microsoft.com/office/drawing/2014/main" id="{55F0E322-3AEE-482E-8E59-9FB04FACA93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383459"/>
              <a:ext cx="83698" cy="137753"/>
            </a:xfrm>
            <a:custGeom>
              <a:avLst/>
              <a:gdLst>
                <a:gd name="T0" fmla="*/ 33 w 33"/>
                <a:gd name="T1" fmla="*/ 35 h 54"/>
                <a:gd name="T2" fmla="*/ 31 w 33"/>
                <a:gd name="T3" fmla="*/ 43 h 54"/>
                <a:gd name="T4" fmla="*/ 28 w 33"/>
                <a:gd name="T5" fmla="*/ 49 h 54"/>
                <a:gd name="T6" fmla="*/ 23 w 33"/>
                <a:gd name="T7" fmla="*/ 53 h 54"/>
                <a:gd name="T8" fmla="*/ 17 w 33"/>
                <a:gd name="T9" fmla="*/ 54 h 54"/>
                <a:gd name="T10" fmla="*/ 12 w 33"/>
                <a:gd name="T11" fmla="*/ 53 h 54"/>
                <a:gd name="T12" fmla="*/ 8 w 33"/>
                <a:gd name="T13" fmla="*/ 50 h 54"/>
                <a:gd name="T14" fmla="*/ 8 w 33"/>
                <a:gd name="T15" fmla="*/ 53 h 54"/>
                <a:gd name="T16" fmla="*/ 0 w 33"/>
                <a:gd name="T17" fmla="*/ 53 h 54"/>
                <a:gd name="T18" fmla="*/ 0 w 33"/>
                <a:gd name="T19" fmla="*/ 4 h 54"/>
                <a:gd name="T20" fmla="*/ 8 w 33"/>
                <a:gd name="T21" fmla="*/ 0 h 54"/>
                <a:gd name="T22" fmla="*/ 8 w 33"/>
                <a:gd name="T23" fmla="*/ 19 h 54"/>
                <a:gd name="T24" fmla="*/ 10 w 33"/>
                <a:gd name="T25" fmla="*/ 17 h 54"/>
                <a:gd name="T26" fmla="*/ 12 w 33"/>
                <a:gd name="T27" fmla="*/ 16 h 54"/>
                <a:gd name="T28" fmla="*/ 14 w 33"/>
                <a:gd name="T29" fmla="*/ 14 h 54"/>
                <a:gd name="T30" fmla="*/ 18 w 33"/>
                <a:gd name="T31" fmla="*/ 14 h 54"/>
                <a:gd name="T32" fmla="*/ 24 w 33"/>
                <a:gd name="T33" fmla="*/ 15 h 54"/>
                <a:gd name="T34" fmla="*/ 28 w 33"/>
                <a:gd name="T35" fmla="*/ 19 h 54"/>
                <a:gd name="T36" fmla="*/ 31 w 33"/>
                <a:gd name="T37" fmla="*/ 25 h 54"/>
                <a:gd name="T38" fmla="*/ 33 w 33"/>
                <a:gd name="T39" fmla="*/ 35 h 54"/>
                <a:gd name="T40" fmla="*/ 25 w 33"/>
                <a:gd name="T41" fmla="*/ 35 h 54"/>
                <a:gd name="T42" fmla="*/ 23 w 33"/>
                <a:gd name="T43" fmla="*/ 24 h 54"/>
                <a:gd name="T44" fmla="*/ 16 w 33"/>
                <a:gd name="T45" fmla="*/ 21 h 54"/>
                <a:gd name="T46" fmla="*/ 14 w 33"/>
                <a:gd name="T47" fmla="*/ 21 h 54"/>
                <a:gd name="T48" fmla="*/ 11 w 33"/>
                <a:gd name="T49" fmla="*/ 23 h 54"/>
                <a:gd name="T50" fmla="*/ 9 w 33"/>
                <a:gd name="T51" fmla="*/ 24 h 54"/>
                <a:gd name="T52" fmla="*/ 8 w 33"/>
                <a:gd name="T53" fmla="*/ 26 h 54"/>
                <a:gd name="T54" fmla="*/ 8 w 33"/>
                <a:gd name="T55" fmla="*/ 42 h 54"/>
                <a:gd name="T56" fmla="*/ 9 w 33"/>
                <a:gd name="T57" fmla="*/ 44 h 54"/>
                <a:gd name="T58" fmla="*/ 11 w 33"/>
                <a:gd name="T59" fmla="*/ 45 h 54"/>
                <a:gd name="T60" fmla="*/ 14 w 33"/>
                <a:gd name="T61" fmla="*/ 47 h 54"/>
                <a:gd name="T62" fmla="*/ 17 w 33"/>
                <a:gd name="T63" fmla="*/ 47 h 54"/>
                <a:gd name="T64" fmla="*/ 23 w 33"/>
                <a:gd name="T65" fmla="*/ 44 h 54"/>
                <a:gd name="T66" fmla="*/ 25 w 33"/>
                <a:gd name="T67" fmla="*/ 35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4">
                  <a:moveTo>
                    <a:pt x="33" y="35"/>
                  </a:moveTo>
                  <a:cubicBezTo>
                    <a:pt x="33" y="38"/>
                    <a:pt x="32" y="41"/>
                    <a:pt x="31" y="43"/>
                  </a:cubicBezTo>
                  <a:cubicBezTo>
                    <a:pt x="30" y="46"/>
                    <a:pt x="29" y="48"/>
                    <a:pt x="28" y="49"/>
                  </a:cubicBezTo>
                  <a:cubicBezTo>
                    <a:pt x="27" y="51"/>
                    <a:pt x="25" y="52"/>
                    <a:pt x="23" y="53"/>
                  </a:cubicBezTo>
                  <a:cubicBezTo>
                    <a:pt x="21" y="54"/>
                    <a:pt x="19" y="54"/>
                    <a:pt x="17" y="54"/>
                  </a:cubicBezTo>
                  <a:cubicBezTo>
                    <a:pt x="16" y="54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7"/>
                    <a:pt x="10" y="17"/>
                  </a:cubicBezTo>
                  <a:cubicBezTo>
                    <a:pt x="11" y="16"/>
                    <a:pt x="11" y="16"/>
                    <a:pt x="12" y="16"/>
                  </a:cubicBezTo>
                  <a:cubicBezTo>
                    <a:pt x="13" y="15"/>
                    <a:pt x="13" y="15"/>
                    <a:pt x="14" y="14"/>
                  </a:cubicBezTo>
                  <a:cubicBezTo>
                    <a:pt x="15" y="14"/>
                    <a:pt x="16" y="14"/>
                    <a:pt x="18" y="14"/>
                  </a:cubicBezTo>
                  <a:cubicBezTo>
                    <a:pt x="20" y="14"/>
                    <a:pt x="22" y="14"/>
                    <a:pt x="24" y="15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30" y="21"/>
                    <a:pt x="31" y="23"/>
                    <a:pt x="31" y="25"/>
                  </a:cubicBezTo>
                  <a:cubicBezTo>
                    <a:pt x="32" y="28"/>
                    <a:pt x="33" y="31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0"/>
                    <a:pt x="24" y="27"/>
                    <a:pt x="23" y="24"/>
                  </a:cubicBezTo>
                  <a:cubicBezTo>
                    <a:pt x="21" y="22"/>
                    <a:pt x="19" y="21"/>
                    <a:pt x="16" y="21"/>
                  </a:cubicBezTo>
                  <a:cubicBezTo>
                    <a:pt x="15" y="21"/>
                    <a:pt x="15" y="21"/>
                    <a:pt x="14" y="21"/>
                  </a:cubicBezTo>
                  <a:cubicBezTo>
                    <a:pt x="13" y="22"/>
                    <a:pt x="12" y="22"/>
                    <a:pt x="11" y="23"/>
                  </a:cubicBezTo>
                  <a:cubicBezTo>
                    <a:pt x="11" y="23"/>
                    <a:pt x="10" y="24"/>
                    <a:pt x="9" y="24"/>
                  </a:cubicBezTo>
                  <a:cubicBezTo>
                    <a:pt x="9" y="25"/>
                    <a:pt x="8" y="25"/>
                    <a:pt x="8" y="26"/>
                  </a:cubicBezTo>
                  <a:cubicBezTo>
                    <a:pt x="8" y="42"/>
                    <a:pt x="8" y="42"/>
                    <a:pt x="8" y="42"/>
                  </a:cubicBezTo>
                  <a:cubicBezTo>
                    <a:pt x="8" y="43"/>
                    <a:pt x="9" y="43"/>
                    <a:pt x="9" y="44"/>
                  </a:cubicBezTo>
                  <a:cubicBezTo>
                    <a:pt x="10" y="44"/>
                    <a:pt x="11" y="45"/>
                    <a:pt x="11" y="45"/>
                  </a:cubicBezTo>
                  <a:cubicBezTo>
                    <a:pt x="12" y="46"/>
                    <a:pt x="13" y="46"/>
                    <a:pt x="14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9" y="47"/>
                    <a:pt x="21" y="46"/>
                    <a:pt x="23" y="44"/>
                  </a:cubicBezTo>
                  <a:cubicBezTo>
                    <a:pt x="24" y="42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34" name="Freeform 52">
              <a:extLst>
                <a:ext uri="{FF2B5EF4-FFF2-40B4-BE49-F238E27FC236}">
                  <a16:creationId xmlns:a16="http://schemas.microsoft.com/office/drawing/2014/main" id="{0D3C59AD-7CCF-4166-9D21-3C348488931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1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4" y="31"/>
                    <a:pt x="24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35" name="Freeform 53">
              <a:extLst>
                <a:ext uri="{FF2B5EF4-FFF2-40B4-BE49-F238E27FC236}">
                  <a16:creationId xmlns:a16="http://schemas.microsoft.com/office/drawing/2014/main" id="{9C9DA4CE-7B4D-42AE-9264-92B7D7757DD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1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2" y="54"/>
                    <a:pt x="11" y="54"/>
                  </a:cubicBezTo>
                  <a:cubicBezTo>
                    <a:pt x="10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2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36" name="Freeform 54">
              <a:extLst>
                <a:ext uri="{FF2B5EF4-FFF2-40B4-BE49-F238E27FC236}">
                  <a16:creationId xmlns:a16="http://schemas.microsoft.com/office/drawing/2014/main" id="{DBCBD0D2-5C9C-4B12-8CF8-9CA320825ED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37" name="Freeform 55">
              <a:extLst>
                <a:ext uri="{FF2B5EF4-FFF2-40B4-BE49-F238E27FC236}">
                  <a16:creationId xmlns:a16="http://schemas.microsoft.com/office/drawing/2014/main" id="{CDCFBD31-7961-4587-876E-1FAFC4E74AB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0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2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0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3" y="31"/>
                    <a:pt x="24" y="31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0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7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38" name="Freeform 56">
              <a:extLst>
                <a:ext uri="{FF2B5EF4-FFF2-40B4-BE49-F238E27FC236}">
                  <a16:creationId xmlns:a16="http://schemas.microsoft.com/office/drawing/2014/main" id="{52482C08-723A-4738-9787-3516B3C1714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418333"/>
              <a:ext cx="55799" cy="101135"/>
            </a:xfrm>
            <a:custGeom>
              <a:avLst/>
              <a:gdLst>
                <a:gd name="T0" fmla="*/ 20 w 22"/>
                <a:gd name="T1" fmla="*/ 9 h 39"/>
                <a:gd name="T2" fmla="*/ 18 w 22"/>
                <a:gd name="T3" fmla="*/ 8 h 39"/>
                <a:gd name="T4" fmla="*/ 15 w 22"/>
                <a:gd name="T5" fmla="*/ 7 h 39"/>
                <a:gd name="T6" fmla="*/ 9 w 22"/>
                <a:gd name="T7" fmla="*/ 10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1 h 39"/>
                <a:gd name="T16" fmla="*/ 7 w 22"/>
                <a:gd name="T17" fmla="*/ 1 h 39"/>
                <a:gd name="T18" fmla="*/ 7 w 22"/>
                <a:gd name="T19" fmla="*/ 5 h 39"/>
                <a:gd name="T20" fmla="*/ 9 w 22"/>
                <a:gd name="T21" fmla="*/ 3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1 h 39"/>
                <a:gd name="T30" fmla="*/ 22 w 22"/>
                <a:gd name="T31" fmla="*/ 2 h 39"/>
                <a:gd name="T32" fmla="*/ 20 w 22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7" y="8"/>
                    <a:pt x="16" y="7"/>
                    <a:pt x="15" y="7"/>
                  </a:cubicBezTo>
                  <a:cubicBezTo>
                    <a:pt x="12" y="7"/>
                    <a:pt x="10" y="8"/>
                    <a:pt x="9" y="10"/>
                  </a:cubicBezTo>
                  <a:cubicBezTo>
                    <a:pt x="8" y="12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8" y="4"/>
                    <a:pt x="8" y="3"/>
                    <a:pt x="9" y="3"/>
                  </a:cubicBezTo>
                  <a:cubicBezTo>
                    <a:pt x="9" y="2"/>
                    <a:pt x="10" y="2"/>
                    <a:pt x="11" y="1"/>
                  </a:cubicBezTo>
                  <a:cubicBezTo>
                    <a:pt x="11" y="1"/>
                    <a:pt x="12" y="1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1"/>
                  </a:cubicBezTo>
                  <a:cubicBezTo>
                    <a:pt x="21" y="1"/>
                    <a:pt x="22" y="1"/>
                    <a:pt x="22" y="2"/>
                  </a:cubicBezTo>
                  <a:lnTo>
                    <a:pt x="20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39" name="Freeform 57">
              <a:extLst>
                <a:ext uri="{FF2B5EF4-FFF2-40B4-BE49-F238E27FC236}">
                  <a16:creationId xmlns:a16="http://schemas.microsoft.com/office/drawing/2014/main" id="{5B72A8F0-33E3-42CD-88C2-C35BEC0E983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40" name="Freeform 58">
              <a:extLst>
                <a:ext uri="{FF2B5EF4-FFF2-40B4-BE49-F238E27FC236}">
                  <a16:creationId xmlns:a16="http://schemas.microsoft.com/office/drawing/2014/main" id="{73FC54A2-6588-499B-968A-79F4CA9CF5F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383459"/>
              <a:ext cx="80211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10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2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8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7"/>
                    <a:pt x="9" y="17"/>
                  </a:cubicBezTo>
                  <a:cubicBezTo>
                    <a:pt x="10" y="16"/>
                    <a:pt x="11" y="16"/>
                    <a:pt x="12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41" name="Freeform 59">
              <a:extLst>
                <a:ext uri="{FF2B5EF4-FFF2-40B4-BE49-F238E27FC236}">
                  <a16:creationId xmlns:a16="http://schemas.microsoft.com/office/drawing/2014/main" id="{1E6AB002-C130-4648-A18E-BA496FF1756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8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2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6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1 w 33"/>
                <a:gd name="T69" fmla="*/ 8 h 40"/>
                <a:gd name="T70" fmla="*/ 17 w 33"/>
                <a:gd name="T71" fmla="*/ 7 h 40"/>
                <a:gd name="T72" fmla="*/ 13 w 33"/>
                <a:gd name="T73" fmla="*/ 8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6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10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3" y="32"/>
                    <a:pt x="23" y="32"/>
                    <a:pt x="24" y="32"/>
                  </a:cubicBezTo>
                  <a:cubicBezTo>
                    <a:pt x="24" y="31"/>
                    <a:pt x="25" y="31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7" y="38"/>
                    <a:pt x="26" y="38"/>
                    <a:pt x="25" y="39"/>
                  </a:cubicBezTo>
                  <a:cubicBezTo>
                    <a:pt x="24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4" y="40"/>
                    <a:pt x="12" y="39"/>
                  </a:cubicBezTo>
                  <a:cubicBezTo>
                    <a:pt x="11" y="39"/>
                    <a:pt x="10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4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5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6" y="17"/>
                  </a:moveTo>
                  <a:cubicBezTo>
                    <a:pt x="26" y="15"/>
                    <a:pt x="25" y="14"/>
                    <a:pt x="25" y="13"/>
                  </a:cubicBezTo>
                  <a:cubicBezTo>
                    <a:pt x="25" y="12"/>
                    <a:pt x="24" y="11"/>
                    <a:pt x="23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20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6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42" name="Freeform 60">
              <a:extLst>
                <a:ext uri="{FF2B5EF4-FFF2-40B4-BE49-F238E27FC236}">
                  <a16:creationId xmlns:a16="http://schemas.microsoft.com/office/drawing/2014/main" id="{B0044278-9F7F-4596-96D2-ACFBE0DEC0B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7435" y="6421821"/>
              <a:ext cx="122060" cy="97648"/>
            </a:xfrm>
            <a:custGeom>
              <a:avLst/>
              <a:gdLst>
                <a:gd name="T0" fmla="*/ 56 w 70"/>
                <a:gd name="T1" fmla="*/ 56 h 56"/>
                <a:gd name="T2" fmla="*/ 46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5 w 70"/>
                <a:gd name="T9" fmla="*/ 56 h 56"/>
                <a:gd name="T10" fmla="*/ 0 w 70"/>
                <a:gd name="T11" fmla="*/ 0 h 56"/>
                <a:gd name="T12" fmla="*/ 10 w 70"/>
                <a:gd name="T13" fmla="*/ 0 h 56"/>
                <a:gd name="T14" fmla="*/ 21 w 70"/>
                <a:gd name="T15" fmla="*/ 38 h 56"/>
                <a:gd name="T16" fmla="*/ 31 w 70"/>
                <a:gd name="T17" fmla="*/ 0 h 56"/>
                <a:gd name="T18" fmla="*/ 40 w 70"/>
                <a:gd name="T19" fmla="*/ 0 h 56"/>
                <a:gd name="T20" fmla="*/ 50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6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6" y="56"/>
                  </a:moveTo>
                  <a:lnTo>
                    <a:pt x="46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5" y="56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1" y="38"/>
                  </a:lnTo>
                  <a:lnTo>
                    <a:pt x="31" y="0"/>
                  </a:lnTo>
                  <a:lnTo>
                    <a:pt x="40" y="0"/>
                  </a:lnTo>
                  <a:lnTo>
                    <a:pt x="50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6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43" name="Freeform 61">
              <a:extLst>
                <a:ext uri="{FF2B5EF4-FFF2-40B4-BE49-F238E27FC236}">
                  <a16:creationId xmlns:a16="http://schemas.microsoft.com/office/drawing/2014/main" id="{79F75E0D-27A7-44C1-BF19-495F4768F99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859957" y="6418333"/>
              <a:ext cx="87186" cy="102879"/>
            </a:xfrm>
            <a:custGeom>
              <a:avLst/>
              <a:gdLst>
                <a:gd name="T0" fmla="*/ 34 w 34"/>
                <a:gd name="T1" fmla="*/ 20 h 40"/>
                <a:gd name="T2" fmla="*/ 33 w 34"/>
                <a:gd name="T3" fmla="*/ 28 h 40"/>
                <a:gd name="T4" fmla="*/ 29 w 34"/>
                <a:gd name="T5" fmla="*/ 35 h 40"/>
                <a:gd name="T6" fmla="*/ 24 w 34"/>
                <a:gd name="T7" fmla="*/ 39 h 40"/>
                <a:gd name="T8" fmla="*/ 17 w 34"/>
                <a:gd name="T9" fmla="*/ 40 h 40"/>
                <a:gd name="T10" fmla="*/ 10 w 34"/>
                <a:gd name="T11" fmla="*/ 39 h 40"/>
                <a:gd name="T12" fmla="*/ 5 w 34"/>
                <a:gd name="T13" fmla="*/ 35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2 h 40"/>
                <a:gd name="T20" fmla="*/ 5 w 34"/>
                <a:gd name="T21" fmla="*/ 5 h 40"/>
                <a:gd name="T22" fmla="*/ 11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2 h 40"/>
                <a:gd name="T32" fmla="*/ 34 w 34"/>
                <a:gd name="T33" fmla="*/ 20 h 40"/>
                <a:gd name="T34" fmla="*/ 27 w 34"/>
                <a:gd name="T35" fmla="*/ 20 h 40"/>
                <a:gd name="T36" fmla="*/ 26 w 34"/>
                <a:gd name="T37" fmla="*/ 15 h 40"/>
                <a:gd name="T38" fmla="*/ 24 w 34"/>
                <a:gd name="T39" fmla="*/ 11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1 h 40"/>
                <a:gd name="T48" fmla="*/ 8 w 34"/>
                <a:gd name="T49" fmla="*/ 15 h 40"/>
                <a:gd name="T50" fmla="*/ 8 w 34"/>
                <a:gd name="T51" fmla="*/ 20 h 40"/>
                <a:gd name="T52" fmla="*/ 8 w 34"/>
                <a:gd name="T53" fmla="*/ 26 h 40"/>
                <a:gd name="T54" fmla="*/ 10 w 34"/>
                <a:gd name="T55" fmla="*/ 30 h 40"/>
                <a:gd name="T56" fmla="*/ 13 w 34"/>
                <a:gd name="T57" fmla="*/ 32 h 40"/>
                <a:gd name="T58" fmla="*/ 17 w 34"/>
                <a:gd name="T59" fmla="*/ 33 h 40"/>
                <a:gd name="T60" fmla="*/ 21 w 34"/>
                <a:gd name="T61" fmla="*/ 32 h 40"/>
                <a:gd name="T62" fmla="*/ 24 w 34"/>
                <a:gd name="T63" fmla="*/ 29 h 40"/>
                <a:gd name="T64" fmla="*/ 26 w 34"/>
                <a:gd name="T65" fmla="*/ 25 h 40"/>
                <a:gd name="T66" fmla="*/ 27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20"/>
                  </a:moveTo>
                  <a:cubicBezTo>
                    <a:pt x="34" y="23"/>
                    <a:pt x="34" y="26"/>
                    <a:pt x="33" y="28"/>
                  </a:cubicBezTo>
                  <a:cubicBezTo>
                    <a:pt x="32" y="31"/>
                    <a:pt x="31" y="33"/>
                    <a:pt x="29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2" y="40"/>
                    <a:pt x="10" y="39"/>
                  </a:cubicBezTo>
                  <a:cubicBezTo>
                    <a:pt x="8" y="38"/>
                    <a:pt x="6" y="36"/>
                    <a:pt x="5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1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7" y="4"/>
                    <a:pt x="8" y="2"/>
                    <a:pt x="11" y="1"/>
                  </a:cubicBezTo>
                  <a:cubicBezTo>
                    <a:pt x="13" y="1"/>
                    <a:pt x="15" y="0"/>
                    <a:pt x="17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4" y="17"/>
                    <a:pt x="34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3" y="10"/>
                    <a:pt x="22" y="9"/>
                    <a:pt x="21" y="8"/>
                  </a:cubicBezTo>
                  <a:cubicBezTo>
                    <a:pt x="20" y="8"/>
                    <a:pt x="18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9" y="12"/>
                    <a:pt x="9" y="13"/>
                    <a:pt x="8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8" y="26"/>
                  </a:cubicBezTo>
                  <a:cubicBezTo>
                    <a:pt x="9" y="27"/>
                    <a:pt x="10" y="28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44" name="Freeform 62">
              <a:extLst>
                <a:ext uri="{FF2B5EF4-FFF2-40B4-BE49-F238E27FC236}">
                  <a16:creationId xmlns:a16="http://schemas.microsoft.com/office/drawing/2014/main" id="{E5B9E395-C74C-4D98-8911-EE2C765D8B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8067" y="6418333"/>
              <a:ext cx="57543" cy="101135"/>
            </a:xfrm>
            <a:custGeom>
              <a:avLst/>
              <a:gdLst>
                <a:gd name="T0" fmla="*/ 21 w 23"/>
                <a:gd name="T1" fmla="*/ 9 h 39"/>
                <a:gd name="T2" fmla="*/ 18 w 23"/>
                <a:gd name="T3" fmla="*/ 8 h 39"/>
                <a:gd name="T4" fmla="*/ 15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9 w 23"/>
                <a:gd name="T21" fmla="*/ 3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8" y="8"/>
                    <a:pt x="17" y="7"/>
                    <a:pt x="15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8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9" y="3"/>
                  </a:cubicBezTo>
                  <a:cubicBezTo>
                    <a:pt x="10" y="2"/>
                    <a:pt x="11" y="2"/>
                    <a:pt x="11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1"/>
                  </a:cubicBezTo>
                  <a:cubicBezTo>
                    <a:pt x="21" y="1"/>
                    <a:pt x="22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45" name="Freeform 63">
              <a:extLst>
                <a:ext uri="{FF2B5EF4-FFF2-40B4-BE49-F238E27FC236}">
                  <a16:creationId xmlns:a16="http://schemas.microsoft.com/office/drawing/2014/main" id="{53BB8418-388C-4142-9A80-8BF00A87F7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3046" y="6383459"/>
              <a:ext cx="19181" cy="136010"/>
            </a:xfrm>
            <a:custGeom>
              <a:avLst/>
              <a:gdLst>
                <a:gd name="T0" fmla="*/ 0 w 11"/>
                <a:gd name="T1" fmla="*/ 78 h 78"/>
                <a:gd name="T2" fmla="*/ 0 w 11"/>
                <a:gd name="T3" fmla="*/ 6 h 78"/>
                <a:gd name="T4" fmla="*/ 11 w 11"/>
                <a:gd name="T5" fmla="*/ 0 h 78"/>
                <a:gd name="T6" fmla="*/ 11 w 11"/>
                <a:gd name="T7" fmla="*/ 78 h 78"/>
                <a:gd name="T8" fmla="*/ 0 w 11"/>
                <a:gd name="T9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78">
                  <a:moveTo>
                    <a:pt x="0" y="78"/>
                  </a:moveTo>
                  <a:lnTo>
                    <a:pt x="0" y="6"/>
                  </a:lnTo>
                  <a:lnTo>
                    <a:pt x="11" y="0"/>
                  </a:lnTo>
                  <a:lnTo>
                    <a:pt x="11" y="78"/>
                  </a:lnTo>
                  <a:lnTo>
                    <a:pt x="0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46" name="Freeform 64">
              <a:extLst>
                <a:ext uri="{FF2B5EF4-FFF2-40B4-BE49-F238E27FC236}">
                  <a16:creationId xmlns:a16="http://schemas.microsoft.com/office/drawing/2014/main" id="{0256DB41-B3C1-4FEB-B394-9762C00E7F7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084896" y="6383459"/>
              <a:ext cx="80211" cy="137753"/>
            </a:xfrm>
            <a:custGeom>
              <a:avLst/>
              <a:gdLst>
                <a:gd name="T0" fmla="*/ 24 w 32"/>
                <a:gd name="T1" fmla="*/ 53 h 54"/>
                <a:gd name="T2" fmla="*/ 24 w 32"/>
                <a:gd name="T3" fmla="*/ 50 h 54"/>
                <a:gd name="T4" fmla="*/ 22 w 32"/>
                <a:gd name="T5" fmla="*/ 51 h 54"/>
                <a:gd name="T6" fmla="*/ 20 w 32"/>
                <a:gd name="T7" fmla="*/ 53 h 54"/>
                <a:gd name="T8" fmla="*/ 17 w 32"/>
                <a:gd name="T9" fmla="*/ 54 h 54"/>
                <a:gd name="T10" fmla="*/ 14 w 32"/>
                <a:gd name="T11" fmla="*/ 54 h 54"/>
                <a:gd name="T12" fmla="*/ 9 w 32"/>
                <a:gd name="T13" fmla="*/ 53 h 54"/>
                <a:gd name="T14" fmla="*/ 4 w 32"/>
                <a:gd name="T15" fmla="*/ 49 h 54"/>
                <a:gd name="T16" fmla="*/ 1 w 32"/>
                <a:gd name="T17" fmla="*/ 43 h 54"/>
                <a:gd name="T18" fmla="*/ 0 w 32"/>
                <a:gd name="T19" fmla="*/ 33 h 54"/>
                <a:gd name="T20" fmla="*/ 1 w 32"/>
                <a:gd name="T21" fmla="*/ 25 h 54"/>
                <a:gd name="T22" fmla="*/ 4 w 32"/>
                <a:gd name="T23" fmla="*/ 19 h 54"/>
                <a:gd name="T24" fmla="*/ 9 w 32"/>
                <a:gd name="T25" fmla="*/ 15 h 54"/>
                <a:gd name="T26" fmla="*/ 15 w 32"/>
                <a:gd name="T27" fmla="*/ 14 h 54"/>
                <a:gd name="T28" fmla="*/ 18 w 32"/>
                <a:gd name="T29" fmla="*/ 14 h 54"/>
                <a:gd name="T30" fmla="*/ 20 w 32"/>
                <a:gd name="T31" fmla="*/ 15 h 54"/>
                <a:gd name="T32" fmla="*/ 22 w 32"/>
                <a:gd name="T33" fmla="*/ 17 h 54"/>
                <a:gd name="T34" fmla="*/ 24 w 32"/>
                <a:gd name="T35" fmla="*/ 18 h 54"/>
                <a:gd name="T36" fmla="*/ 24 w 32"/>
                <a:gd name="T37" fmla="*/ 4 h 54"/>
                <a:gd name="T38" fmla="*/ 32 w 32"/>
                <a:gd name="T39" fmla="*/ 0 h 54"/>
                <a:gd name="T40" fmla="*/ 32 w 32"/>
                <a:gd name="T41" fmla="*/ 53 h 54"/>
                <a:gd name="T42" fmla="*/ 24 w 32"/>
                <a:gd name="T43" fmla="*/ 53 h 54"/>
                <a:gd name="T44" fmla="*/ 24 w 32"/>
                <a:gd name="T45" fmla="*/ 26 h 54"/>
                <a:gd name="T46" fmla="*/ 23 w 32"/>
                <a:gd name="T47" fmla="*/ 24 h 54"/>
                <a:gd name="T48" fmla="*/ 21 w 32"/>
                <a:gd name="T49" fmla="*/ 23 h 54"/>
                <a:gd name="T50" fmla="*/ 18 w 32"/>
                <a:gd name="T51" fmla="*/ 22 h 54"/>
                <a:gd name="T52" fmla="*/ 15 w 32"/>
                <a:gd name="T53" fmla="*/ 21 h 54"/>
                <a:gd name="T54" fmla="*/ 9 w 32"/>
                <a:gd name="T55" fmla="*/ 24 h 54"/>
                <a:gd name="T56" fmla="*/ 7 w 32"/>
                <a:gd name="T57" fmla="*/ 33 h 54"/>
                <a:gd name="T58" fmla="*/ 8 w 32"/>
                <a:gd name="T59" fmla="*/ 39 h 54"/>
                <a:gd name="T60" fmla="*/ 9 w 32"/>
                <a:gd name="T61" fmla="*/ 44 h 54"/>
                <a:gd name="T62" fmla="*/ 12 w 32"/>
                <a:gd name="T63" fmla="*/ 46 h 54"/>
                <a:gd name="T64" fmla="*/ 16 w 32"/>
                <a:gd name="T65" fmla="*/ 47 h 54"/>
                <a:gd name="T66" fmla="*/ 18 w 32"/>
                <a:gd name="T67" fmla="*/ 47 h 54"/>
                <a:gd name="T68" fmla="*/ 21 w 32"/>
                <a:gd name="T69" fmla="*/ 46 h 54"/>
                <a:gd name="T70" fmla="*/ 23 w 32"/>
                <a:gd name="T71" fmla="*/ 44 h 54"/>
                <a:gd name="T72" fmla="*/ 24 w 32"/>
                <a:gd name="T73" fmla="*/ 42 h 54"/>
                <a:gd name="T74" fmla="*/ 24 w 32"/>
                <a:gd name="T75" fmla="*/ 2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2" h="54">
                  <a:moveTo>
                    <a:pt x="24" y="53"/>
                  </a:moveTo>
                  <a:cubicBezTo>
                    <a:pt x="24" y="50"/>
                    <a:pt x="24" y="50"/>
                    <a:pt x="24" y="50"/>
                  </a:cubicBezTo>
                  <a:cubicBezTo>
                    <a:pt x="24" y="50"/>
                    <a:pt x="23" y="51"/>
                    <a:pt x="22" y="51"/>
                  </a:cubicBezTo>
                  <a:cubicBezTo>
                    <a:pt x="21" y="52"/>
                    <a:pt x="21" y="52"/>
                    <a:pt x="20" y="53"/>
                  </a:cubicBezTo>
                  <a:cubicBezTo>
                    <a:pt x="19" y="53"/>
                    <a:pt x="18" y="54"/>
                    <a:pt x="17" y="54"/>
                  </a:cubicBezTo>
                  <a:cubicBezTo>
                    <a:pt x="16" y="54"/>
                    <a:pt x="15" y="54"/>
                    <a:pt x="14" y="54"/>
                  </a:cubicBezTo>
                  <a:cubicBezTo>
                    <a:pt x="12" y="54"/>
                    <a:pt x="10" y="54"/>
                    <a:pt x="9" y="53"/>
                  </a:cubicBezTo>
                  <a:cubicBezTo>
                    <a:pt x="7" y="52"/>
                    <a:pt x="5" y="51"/>
                    <a:pt x="4" y="49"/>
                  </a:cubicBezTo>
                  <a:cubicBezTo>
                    <a:pt x="3" y="48"/>
                    <a:pt x="1" y="45"/>
                    <a:pt x="1" y="43"/>
                  </a:cubicBezTo>
                  <a:cubicBezTo>
                    <a:pt x="0" y="40"/>
                    <a:pt x="0" y="37"/>
                    <a:pt x="0" y="33"/>
                  </a:cubicBezTo>
                  <a:cubicBezTo>
                    <a:pt x="0" y="30"/>
                    <a:pt x="0" y="27"/>
                    <a:pt x="1" y="25"/>
                  </a:cubicBezTo>
                  <a:cubicBezTo>
                    <a:pt x="2" y="22"/>
                    <a:pt x="3" y="20"/>
                    <a:pt x="4" y="19"/>
                  </a:cubicBezTo>
                  <a:cubicBezTo>
                    <a:pt x="6" y="17"/>
                    <a:pt x="7" y="16"/>
                    <a:pt x="9" y="15"/>
                  </a:cubicBezTo>
                  <a:cubicBezTo>
                    <a:pt x="11" y="14"/>
                    <a:pt x="13" y="14"/>
                    <a:pt x="15" y="14"/>
                  </a:cubicBezTo>
                  <a:cubicBezTo>
                    <a:pt x="16" y="14"/>
                    <a:pt x="17" y="14"/>
                    <a:pt x="18" y="14"/>
                  </a:cubicBezTo>
                  <a:cubicBezTo>
                    <a:pt x="18" y="15"/>
                    <a:pt x="19" y="15"/>
                    <a:pt x="20" y="15"/>
                  </a:cubicBezTo>
                  <a:cubicBezTo>
                    <a:pt x="21" y="16"/>
                    <a:pt x="22" y="16"/>
                    <a:pt x="22" y="17"/>
                  </a:cubicBezTo>
                  <a:cubicBezTo>
                    <a:pt x="23" y="17"/>
                    <a:pt x="24" y="18"/>
                    <a:pt x="24" y="18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53"/>
                    <a:pt x="32" y="53"/>
                    <a:pt x="32" y="53"/>
                  </a:cubicBezTo>
                  <a:lnTo>
                    <a:pt x="24" y="53"/>
                  </a:lnTo>
                  <a:close/>
                  <a:moveTo>
                    <a:pt x="24" y="26"/>
                  </a:moveTo>
                  <a:cubicBezTo>
                    <a:pt x="24" y="26"/>
                    <a:pt x="23" y="25"/>
                    <a:pt x="23" y="24"/>
                  </a:cubicBezTo>
                  <a:cubicBezTo>
                    <a:pt x="22" y="24"/>
                    <a:pt x="22" y="23"/>
                    <a:pt x="21" y="23"/>
                  </a:cubicBezTo>
                  <a:cubicBezTo>
                    <a:pt x="20" y="22"/>
                    <a:pt x="19" y="22"/>
                    <a:pt x="18" y="22"/>
                  </a:cubicBezTo>
                  <a:cubicBezTo>
                    <a:pt x="17" y="21"/>
                    <a:pt x="16" y="21"/>
                    <a:pt x="15" y="21"/>
                  </a:cubicBezTo>
                  <a:cubicBezTo>
                    <a:pt x="13" y="21"/>
                    <a:pt x="11" y="22"/>
                    <a:pt x="9" y="24"/>
                  </a:cubicBezTo>
                  <a:cubicBezTo>
                    <a:pt x="8" y="26"/>
                    <a:pt x="7" y="29"/>
                    <a:pt x="7" y="33"/>
                  </a:cubicBezTo>
                  <a:cubicBezTo>
                    <a:pt x="7" y="36"/>
                    <a:pt x="7" y="38"/>
                    <a:pt x="8" y="39"/>
                  </a:cubicBezTo>
                  <a:cubicBezTo>
                    <a:pt x="8" y="41"/>
                    <a:pt x="9" y="43"/>
                    <a:pt x="9" y="44"/>
                  </a:cubicBezTo>
                  <a:cubicBezTo>
                    <a:pt x="10" y="45"/>
                    <a:pt x="11" y="46"/>
                    <a:pt x="12" y="46"/>
                  </a:cubicBezTo>
                  <a:cubicBezTo>
                    <a:pt x="13" y="47"/>
                    <a:pt x="14" y="47"/>
                    <a:pt x="16" y="47"/>
                  </a:cubicBezTo>
                  <a:cubicBezTo>
                    <a:pt x="17" y="47"/>
                    <a:pt x="18" y="47"/>
                    <a:pt x="18" y="47"/>
                  </a:cubicBezTo>
                  <a:cubicBezTo>
                    <a:pt x="19" y="46"/>
                    <a:pt x="20" y="46"/>
                    <a:pt x="21" y="46"/>
                  </a:cubicBezTo>
                  <a:cubicBezTo>
                    <a:pt x="21" y="45"/>
                    <a:pt x="22" y="45"/>
                    <a:pt x="23" y="44"/>
                  </a:cubicBezTo>
                  <a:cubicBezTo>
                    <a:pt x="23" y="43"/>
                    <a:pt x="24" y="43"/>
                    <a:pt x="24" y="42"/>
                  </a:cubicBezTo>
                  <a:lnTo>
                    <a:pt x="24" y="2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47" name="Freeform 65">
              <a:extLst>
                <a:ext uri="{FF2B5EF4-FFF2-40B4-BE49-F238E27FC236}">
                  <a16:creationId xmlns:a16="http://schemas.microsoft.com/office/drawing/2014/main" id="{F2BC9C1F-3F30-47A6-B503-20FB179B7F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29624" y="6421821"/>
              <a:ext cx="122060" cy="97648"/>
            </a:xfrm>
            <a:custGeom>
              <a:avLst/>
              <a:gdLst>
                <a:gd name="T0" fmla="*/ 55 w 70"/>
                <a:gd name="T1" fmla="*/ 56 h 56"/>
                <a:gd name="T2" fmla="*/ 45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6 w 70"/>
                <a:gd name="T9" fmla="*/ 56 h 56"/>
                <a:gd name="T10" fmla="*/ 0 w 70"/>
                <a:gd name="T11" fmla="*/ 0 h 56"/>
                <a:gd name="T12" fmla="*/ 12 w 70"/>
                <a:gd name="T13" fmla="*/ 0 h 56"/>
                <a:gd name="T14" fmla="*/ 20 w 70"/>
                <a:gd name="T15" fmla="*/ 38 h 56"/>
                <a:gd name="T16" fmla="*/ 31 w 70"/>
                <a:gd name="T17" fmla="*/ 0 h 56"/>
                <a:gd name="T18" fmla="*/ 39 w 70"/>
                <a:gd name="T19" fmla="*/ 0 h 56"/>
                <a:gd name="T20" fmla="*/ 51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5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5" y="56"/>
                  </a:moveTo>
                  <a:lnTo>
                    <a:pt x="45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6" y="56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0" y="38"/>
                  </a:lnTo>
                  <a:lnTo>
                    <a:pt x="31" y="0"/>
                  </a:lnTo>
                  <a:lnTo>
                    <a:pt x="39" y="0"/>
                  </a:lnTo>
                  <a:lnTo>
                    <a:pt x="51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48" name="Freeform 66">
              <a:extLst>
                <a:ext uri="{FF2B5EF4-FFF2-40B4-BE49-F238E27FC236}">
                  <a16:creationId xmlns:a16="http://schemas.microsoft.com/office/drawing/2014/main" id="{F2E1921C-CA0E-4886-93CA-956A6497CF0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62147" y="6418333"/>
              <a:ext cx="88930" cy="102879"/>
            </a:xfrm>
            <a:custGeom>
              <a:avLst/>
              <a:gdLst>
                <a:gd name="T0" fmla="*/ 35 w 35"/>
                <a:gd name="T1" fmla="*/ 20 h 40"/>
                <a:gd name="T2" fmla="*/ 33 w 35"/>
                <a:gd name="T3" fmla="*/ 28 h 40"/>
                <a:gd name="T4" fmla="*/ 30 w 35"/>
                <a:gd name="T5" fmla="*/ 35 h 40"/>
                <a:gd name="T6" fmla="*/ 24 w 35"/>
                <a:gd name="T7" fmla="*/ 39 h 40"/>
                <a:gd name="T8" fmla="*/ 17 w 35"/>
                <a:gd name="T9" fmla="*/ 40 h 40"/>
                <a:gd name="T10" fmla="*/ 11 w 35"/>
                <a:gd name="T11" fmla="*/ 39 h 40"/>
                <a:gd name="T12" fmla="*/ 5 w 35"/>
                <a:gd name="T13" fmla="*/ 35 h 40"/>
                <a:gd name="T14" fmla="*/ 2 w 35"/>
                <a:gd name="T15" fmla="*/ 28 h 40"/>
                <a:gd name="T16" fmla="*/ 0 w 35"/>
                <a:gd name="T17" fmla="*/ 20 h 40"/>
                <a:gd name="T18" fmla="*/ 2 w 35"/>
                <a:gd name="T19" fmla="*/ 12 h 40"/>
                <a:gd name="T20" fmla="*/ 5 w 35"/>
                <a:gd name="T21" fmla="*/ 5 h 40"/>
                <a:gd name="T22" fmla="*/ 11 w 35"/>
                <a:gd name="T23" fmla="*/ 1 h 40"/>
                <a:gd name="T24" fmla="*/ 18 w 35"/>
                <a:gd name="T25" fmla="*/ 0 h 40"/>
                <a:gd name="T26" fmla="*/ 24 w 35"/>
                <a:gd name="T27" fmla="*/ 1 h 40"/>
                <a:gd name="T28" fmla="*/ 30 w 35"/>
                <a:gd name="T29" fmla="*/ 5 h 40"/>
                <a:gd name="T30" fmla="*/ 33 w 35"/>
                <a:gd name="T31" fmla="*/ 12 h 40"/>
                <a:gd name="T32" fmla="*/ 35 w 35"/>
                <a:gd name="T33" fmla="*/ 20 h 40"/>
                <a:gd name="T34" fmla="*/ 27 w 35"/>
                <a:gd name="T35" fmla="*/ 20 h 40"/>
                <a:gd name="T36" fmla="*/ 26 w 35"/>
                <a:gd name="T37" fmla="*/ 15 h 40"/>
                <a:gd name="T38" fmla="*/ 24 w 35"/>
                <a:gd name="T39" fmla="*/ 11 h 40"/>
                <a:gd name="T40" fmla="*/ 21 w 35"/>
                <a:gd name="T41" fmla="*/ 8 h 40"/>
                <a:gd name="T42" fmla="*/ 17 w 35"/>
                <a:gd name="T43" fmla="*/ 7 h 40"/>
                <a:gd name="T44" fmla="*/ 13 w 35"/>
                <a:gd name="T45" fmla="*/ 8 h 40"/>
                <a:gd name="T46" fmla="*/ 10 w 35"/>
                <a:gd name="T47" fmla="*/ 11 h 40"/>
                <a:gd name="T48" fmla="*/ 9 w 35"/>
                <a:gd name="T49" fmla="*/ 15 h 40"/>
                <a:gd name="T50" fmla="*/ 8 w 35"/>
                <a:gd name="T51" fmla="*/ 20 h 40"/>
                <a:gd name="T52" fmla="*/ 9 w 35"/>
                <a:gd name="T53" fmla="*/ 26 h 40"/>
                <a:gd name="T54" fmla="*/ 11 w 35"/>
                <a:gd name="T55" fmla="*/ 30 h 40"/>
                <a:gd name="T56" fmla="*/ 14 w 35"/>
                <a:gd name="T57" fmla="*/ 32 h 40"/>
                <a:gd name="T58" fmla="*/ 18 w 35"/>
                <a:gd name="T59" fmla="*/ 33 h 40"/>
                <a:gd name="T60" fmla="*/ 21 w 35"/>
                <a:gd name="T61" fmla="*/ 32 h 40"/>
                <a:gd name="T62" fmla="*/ 24 w 35"/>
                <a:gd name="T63" fmla="*/ 29 h 40"/>
                <a:gd name="T64" fmla="*/ 26 w 35"/>
                <a:gd name="T65" fmla="*/ 25 h 40"/>
                <a:gd name="T66" fmla="*/ 27 w 35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5" h="40">
                  <a:moveTo>
                    <a:pt x="35" y="20"/>
                  </a:moveTo>
                  <a:cubicBezTo>
                    <a:pt x="35" y="23"/>
                    <a:pt x="34" y="26"/>
                    <a:pt x="33" y="28"/>
                  </a:cubicBezTo>
                  <a:cubicBezTo>
                    <a:pt x="32" y="31"/>
                    <a:pt x="31" y="33"/>
                    <a:pt x="30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3" y="40"/>
                    <a:pt x="11" y="39"/>
                  </a:cubicBezTo>
                  <a:cubicBezTo>
                    <a:pt x="8" y="38"/>
                    <a:pt x="7" y="36"/>
                    <a:pt x="5" y="35"/>
                  </a:cubicBezTo>
                  <a:cubicBezTo>
                    <a:pt x="4" y="33"/>
                    <a:pt x="2" y="31"/>
                    <a:pt x="2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3" y="9"/>
                    <a:pt x="4" y="7"/>
                    <a:pt x="5" y="5"/>
                  </a:cubicBezTo>
                  <a:cubicBezTo>
                    <a:pt x="7" y="4"/>
                    <a:pt x="9" y="2"/>
                    <a:pt x="11" y="1"/>
                  </a:cubicBezTo>
                  <a:cubicBezTo>
                    <a:pt x="13" y="1"/>
                    <a:pt x="15" y="0"/>
                    <a:pt x="18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30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5" y="17"/>
                    <a:pt x="35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4" y="10"/>
                    <a:pt x="23" y="9"/>
                    <a:pt x="21" y="8"/>
                  </a:cubicBezTo>
                  <a:cubicBezTo>
                    <a:pt x="20" y="8"/>
                    <a:pt x="19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10" y="12"/>
                    <a:pt x="9" y="13"/>
                    <a:pt x="9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9" y="26"/>
                  </a:cubicBezTo>
                  <a:cubicBezTo>
                    <a:pt x="9" y="27"/>
                    <a:pt x="10" y="28"/>
                    <a:pt x="11" y="30"/>
                  </a:cubicBezTo>
                  <a:cubicBezTo>
                    <a:pt x="11" y="31"/>
                    <a:pt x="12" y="32"/>
                    <a:pt x="14" y="32"/>
                  </a:cubicBezTo>
                  <a:cubicBezTo>
                    <a:pt x="15" y="33"/>
                    <a:pt x="16" y="33"/>
                    <a:pt x="18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3" y="31"/>
                    <a:pt x="24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49" name="Freeform 67">
              <a:extLst>
                <a:ext uri="{FF2B5EF4-FFF2-40B4-BE49-F238E27FC236}">
                  <a16:creationId xmlns:a16="http://schemas.microsoft.com/office/drawing/2014/main" id="{33147323-CD74-4B45-8B3D-9FC2D6ABC4D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68514" y="6418333"/>
              <a:ext cx="59286" cy="101135"/>
            </a:xfrm>
            <a:custGeom>
              <a:avLst/>
              <a:gdLst>
                <a:gd name="T0" fmla="*/ 21 w 23"/>
                <a:gd name="T1" fmla="*/ 9 h 39"/>
                <a:gd name="T2" fmla="*/ 19 w 23"/>
                <a:gd name="T3" fmla="*/ 8 h 39"/>
                <a:gd name="T4" fmla="*/ 16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10 w 23"/>
                <a:gd name="T21" fmla="*/ 3 h 39"/>
                <a:gd name="T22" fmla="*/ 12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1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20" y="8"/>
                    <a:pt x="19" y="8"/>
                  </a:cubicBezTo>
                  <a:cubicBezTo>
                    <a:pt x="18" y="8"/>
                    <a:pt x="17" y="7"/>
                    <a:pt x="16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9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10" y="3"/>
                  </a:cubicBezTo>
                  <a:cubicBezTo>
                    <a:pt x="10" y="2"/>
                    <a:pt x="11" y="2"/>
                    <a:pt x="12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20" y="0"/>
                    <a:pt x="21" y="1"/>
                  </a:cubicBezTo>
                  <a:cubicBezTo>
                    <a:pt x="22" y="1"/>
                    <a:pt x="23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50" name="Freeform 68">
              <a:extLst>
                <a:ext uri="{FF2B5EF4-FFF2-40B4-BE49-F238E27FC236}">
                  <a16:creationId xmlns:a16="http://schemas.microsoft.com/office/drawing/2014/main" id="{646502BE-8655-4E99-B8D3-19E6C1D2B9F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5237" y="6383459"/>
              <a:ext cx="76723" cy="136010"/>
            </a:xfrm>
            <a:custGeom>
              <a:avLst/>
              <a:gdLst>
                <a:gd name="T0" fmla="*/ 31 w 44"/>
                <a:gd name="T1" fmla="*/ 78 h 78"/>
                <a:gd name="T2" fmla="*/ 19 w 44"/>
                <a:gd name="T3" fmla="*/ 50 h 78"/>
                <a:gd name="T4" fmla="*/ 10 w 44"/>
                <a:gd name="T5" fmla="*/ 61 h 78"/>
                <a:gd name="T6" fmla="*/ 10 w 44"/>
                <a:gd name="T7" fmla="*/ 78 h 78"/>
                <a:gd name="T8" fmla="*/ 0 w 44"/>
                <a:gd name="T9" fmla="*/ 78 h 78"/>
                <a:gd name="T10" fmla="*/ 0 w 44"/>
                <a:gd name="T11" fmla="*/ 6 h 78"/>
                <a:gd name="T12" fmla="*/ 10 w 44"/>
                <a:gd name="T13" fmla="*/ 0 h 78"/>
                <a:gd name="T14" fmla="*/ 10 w 44"/>
                <a:gd name="T15" fmla="*/ 47 h 78"/>
                <a:gd name="T16" fmla="*/ 28 w 44"/>
                <a:gd name="T17" fmla="*/ 22 h 78"/>
                <a:gd name="T18" fmla="*/ 41 w 44"/>
                <a:gd name="T19" fmla="*/ 22 h 78"/>
                <a:gd name="T20" fmla="*/ 26 w 44"/>
                <a:gd name="T21" fmla="*/ 41 h 78"/>
                <a:gd name="T22" fmla="*/ 44 w 44"/>
                <a:gd name="T23" fmla="*/ 78 h 78"/>
                <a:gd name="T24" fmla="*/ 31 w 44"/>
                <a:gd name="T25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4" h="78">
                  <a:moveTo>
                    <a:pt x="31" y="78"/>
                  </a:moveTo>
                  <a:lnTo>
                    <a:pt x="19" y="50"/>
                  </a:lnTo>
                  <a:lnTo>
                    <a:pt x="10" y="61"/>
                  </a:lnTo>
                  <a:lnTo>
                    <a:pt x="10" y="78"/>
                  </a:lnTo>
                  <a:lnTo>
                    <a:pt x="0" y="78"/>
                  </a:lnTo>
                  <a:lnTo>
                    <a:pt x="0" y="6"/>
                  </a:lnTo>
                  <a:lnTo>
                    <a:pt x="10" y="0"/>
                  </a:lnTo>
                  <a:lnTo>
                    <a:pt x="10" y="47"/>
                  </a:lnTo>
                  <a:lnTo>
                    <a:pt x="28" y="22"/>
                  </a:lnTo>
                  <a:lnTo>
                    <a:pt x="41" y="22"/>
                  </a:lnTo>
                  <a:lnTo>
                    <a:pt x="26" y="41"/>
                  </a:lnTo>
                  <a:lnTo>
                    <a:pt x="44" y="78"/>
                  </a:lnTo>
                  <a:lnTo>
                    <a:pt x="31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51" name="Freeform 69">
              <a:extLst>
                <a:ext uri="{FF2B5EF4-FFF2-40B4-BE49-F238E27FC236}">
                  <a16:creationId xmlns:a16="http://schemas.microsoft.com/office/drawing/2014/main" id="{7B89F1B5-6B06-45D2-838B-039A44EFFD1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28936" y="6418333"/>
              <a:ext cx="74980" cy="102879"/>
            </a:xfrm>
            <a:custGeom>
              <a:avLst/>
              <a:gdLst>
                <a:gd name="T0" fmla="*/ 28 w 29"/>
                <a:gd name="T1" fmla="*/ 4 h 40"/>
                <a:gd name="T2" fmla="*/ 25 w 29"/>
                <a:gd name="T3" fmla="*/ 10 h 40"/>
                <a:gd name="T4" fmla="*/ 20 w 29"/>
                <a:gd name="T5" fmla="*/ 8 h 40"/>
                <a:gd name="T6" fmla="*/ 15 w 29"/>
                <a:gd name="T7" fmla="*/ 7 h 40"/>
                <a:gd name="T8" fmla="*/ 11 w 29"/>
                <a:gd name="T9" fmla="*/ 8 h 40"/>
                <a:gd name="T10" fmla="*/ 9 w 29"/>
                <a:gd name="T11" fmla="*/ 10 h 40"/>
                <a:gd name="T12" fmla="*/ 10 w 29"/>
                <a:gd name="T13" fmla="*/ 12 h 40"/>
                <a:gd name="T14" fmla="*/ 11 w 29"/>
                <a:gd name="T15" fmla="*/ 13 h 40"/>
                <a:gd name="T16" fmla="*/ 13 w 29"/>
                <a:gd name="T17" fmla="*/ 14 h 40"/>
                <a:gd name="T18" fmla="*/ 17 w 29"/>
                <a:gd name="T19" fmla="*/ 16 h 40"/>
                <a:gd name="T20" fmla="*/ 22 w 29"/>
                <a:gd name="T21" fmla="*/ 18 h 40"/>
                <a:gd name="T22" fmla="*/ 26 w 29"/>
                <a:gd name="T23" fmla="*/ 21 h 40"/>
                <a:gd name="T24" fmla="*/ 29 w 29"/>
                <a:gd name="T25" fmla="*/ 24 h 40"/>
                <a:gd name="T26" fmla="*/ 29 w 29"/>
                <a:gd name="T27" fmla="*/ 29 h 40"/>
                <a:gd name="T28" fmla="*/ 28 w 29"/>
                <a:gd name="T29" fmla="*/ 34 h 40"/>
                <a:gd name="T30" fmla="*/ 25 w 29"/>
                <a:gd name="T31" fmla="*/ 38 h 40"/>
                <a:gd name="T32" fmla="*/ 21 w 29"/>
                <a:gd name="T33" fmla="*/ 40 h 40"/>
                <a:gd name="T34" fmla="*/ 15 w 29"/>
                <a:gd name="T35" fmla="*/ 40 h 40"/>
                <a:gd name="T36" fmla="*/ 7 w 29"/>
                <a:gd name="T37" fmla="*/ 39 h 40"/>
                <a:gd name="T38" fmla="*/ 0 w 29"/>
                <a:gd name="T39" fmla="*/ 35 h 40"/>
                <a:gd name="T40" fmla="*/ 4 w 29"/>
                <a:gd name="T41" fmla="*/ 30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20 w 29"/>
                <a:gd name="T53" fmla="*/ 26 h 40"/>
                <a:gd name="T54" fmla="*/ 17 w 29"/>
                <a:gd name="T55" fmla="*/ 24 h 40"/>
                <a:gd name="T56" fmla="*/ 13 w 29"/>
                <a:gd name="T57" fmla="*/ 23 h 40"/>
                <a:gd name="T58" fmla="*/ 8 w 29"/>
                <a:gd name="T59" fmla="*/ 20 h 40"/>
                <a:gd name="T60" fmla="*/ 4 w 29"/>
                <a:gd name="T61" fmla="*/ 18 h 40"/>
                <a:gd name="T62" fmla="*/ 2 w 29"/>
                <a:gd name="T63" fmla="*/ 15 h 40"/>
                <a:gd name="T64" fmla="*/ 2 w 29"/>
                <a:gd name="T65" fmla="*/ 11 h 40"/>
                <a:gd name="T66" fmla="*/ 3 w 29"/>
                <a:gd name="T67" fmla="*/ 6 h 40"/>
                <a:gd name="T68" fmla="*/ 6 w 29"/>
                <a:gd name="T69" fmla="*/ 3 h 40"/>
                <a:gd name="T70" fmla="*/ 10 w 29"/>
                <a:gd name="T71" fmla="*/ 1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5" y="10"/>
                    <a:pt x="25" y="10"/>
                    <a:pt x="25" y="10"/>
                  </a:cubicBezTo>
                  <a:cubicBezTo>
                    <a:pt x="23" y="9"/>
                    <a:pt x="22" y="8"/>
                    <a:pt x="20" y="8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2" y="7"/>
                    <a:pt x="11" y="8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1"/>
                    <a:pt x="10" y="11"/>
                    <a:pt x="10" y="12"/>
                  </a:cubicBezTo>
                  <a:cubicBezTo>
                    <a:pt x="10" y="12"/>
                    <a:pt x="10" y="13"/>
                    <a:pt x="11" y="13"/>
                  </a:cubicBezTo>
                  <a:cubicBezTo>
                    <a:pt x="11" y="13"/>
                    <a:pt x="12" y="14"/>
                    <a:pt x="13" y="14"/>
                  </a:cubicBezTo>
                  <a:cubicBezTo>
                    <a:pt x="14" y="15"/>
                    <a:pt x="15" y="15"/>
                    <a:pt x="17" y="16"/>
                  </a:cubicBezTo>
                  <a:cubicBezTo>
                    <a:pt x="19" y="17"/>
                    <a:pt x="21" y="18"/>
                    <a:pt x="22" y="18"/>
                  </a:cubicBezTo>
                  <a:cubicBezTo>
                    <a:pt x="24" y="19"/>
                    <a:pt x="25" y="20"/>
                    <a:pt x="26" y="21"/>
                  </a:cubicBezTo>
                  <a:cubicBezTo>
                    <a:pt x="27" y="22"/>
                    <a:pt x="28" y="23"/>
                    <a:pt x="29" y="24"/>
                  </a:cubicBezTo>
                  <a:cubicBezTo>
                    <a:pt x="29" y="25"/>
                    <a:pt x="29" y="27"/>
                    <a:pt x="29" y="29"/>
                  </a:cubicBezTo>
                  <a:cubicBezTo>
                    <a:pt x="29" y="31"/>
                    <a:pt x="29" y="33"/>
                    <a:pt x="28" y="34"/>
                  </a:cubicBezTo>
                  <a:cubicBezTo>
                    <a:pt x="28" y="36"/>
                    <a:pt x="26" y="37"/>
                    <a:pt x="25" y="38"/>
                  </a:cubicBezTo>
                  <a:cubicBezTo>
                    <a:pt x="24" y="39"/>
                    <a:pt x="22" y="39"/>
                    <a:pt x="21" y="40"/>
                  </a:cubicBezTo>
                  <a:cubicBezTo>
                    <a:pt x="19" y="40"/>
                    <a:pt x="17" y="40"/>
                    <a:pt x="15" y="40"/>
                  </a:cubicBezTo>
                  <a:cubicBezTo>
                    <a:pt x="13" y="40"/>
                    <a:pt x="10" y="40"/>
                    <a:pt x="7" y="39"/>
                  </a:cubicBezTo>
                  <a:cubicBezTo>
                    <a:pt x="5" y="38"/>
                    <a:pt x="2" y="37"/>
                    <a:pt x="0" y="35"/>
                  </a:cubicBezTo>
                  <a:cubicBezTo>
                    <a:pt x="4" y="30"/>
                    <a:pt x="4" y="30"/>
                    <a:pt x="4" y="30"/>
                  </a:cubicBezTo>
                  <a:cubicBezTo>
                    <a:pt x="6" y="31"/>
                    <a:pt x="7" y="32"/>
                    <a:pt x="9" y="32"/>
                  </a:cubicBezTo>
                  <a:cubicBezTo>
                    <a:pt x="11" y="33"/>
                    <a:pt x="13" y="33"/>
                    <a:pt x="15" y="33"/>
                  </a:cubicBezTo>
                  <a:cubicBezTo>
                    <a:pt x="17" y="33"/>
                    <a:pt x="19" y="33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8"/>
                    <a:pt x="21" y="27"/>
                  </a:cubicBezTo>
                  <a:cubicBezTo>
                    <a:pt x="21" y="27"/>
                    <a:pt x="20" y="26"/>
                    <a:pt x="20" y="26"/>
                  </a:cubicBezTo>
                  <a:cubicBezTo>
                    <a:pt x="19" y="25"/>
                    <a:pt x="18" y="25"/>
                    <a:pt x="17" y="24"/>
                  </a:cubicBezTo>
                  <a:cubicBezTo>
                    <a:pt x="16" y="24"/>
                    <a:pt x="15" y="23"/>
                    <a:pt x="13" y="23"/>
                  </a:cubicBezTo>
                  <a:cubicBezTo>
                    <a:pt x="11" y="22"/>
                    <a:pt x="9" y="21"/>
                    <a:pt x="8" y="20"/>
                  </a:cubicBezTo>
                  <a:cubicBezTo>
                    <a:pt x="6" y="19"/>
                    <a:pt x="5" y="19"/>
                    <a:pt x="4" y="18"/>
                  </a:cubicBezTo>
                  <a:cubicBezTo>
                    <a:pt x="3" y="17"/>
                    <a:pt x="3" y="16"/>
                    <a:pt x="2" y="15"/>
                  </a:cubicBezTo>
                  <a:cubicBezTo>
                    <a:pt x="2" y="13"/>
                    <a:pt x="2" y="12"/>
                    <a:pt x="2" y="11"/>
                  </a:cubicBezTo>
                  <a:cubicBezTo>
                    <a:pt x="2" y="9"/>
                    <a:pt x="2" y="7"/>
                    <a:pt x="3" y="6"/>
                  </a:cubicBezTo>
                  <a:cubicBezTo>
                    <a:pt x="3" y="5"/>
                    <a:pt x="4" y="4"/>
                    <a:pt x="6" y="3"/>
                  </a:cubicBezTo>
                  <a:cubicBezTo>
                    <a:pt x="7" y="2"/>
                    <a:pt x="8" y="1"/>
                    <a:pt x="10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20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52" name="Freeform 70">
              <a:extLst>
                <a:ext uri="{FF2B5EF4-FFF2-40B4-BE49-F238E27FC236}">
                  <a16:creationId xmlns:a16="http://schemas.microsoft.com/office/drawing/2014/main" id="{07A005EC-C937-4146-8D02-C00C5931EB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23096" y="6489826"/>
              <a:ext cx="27899" cy="31387"/>
            </a:xfrm>
            <a:custGeom>
              <a:avLst/>
              <a:gdLst>
                <a:gd name="T0" fmla="*/ 11 w 11"/>
                <a:gd name="T1" fmla="*/ 6 h 12"/>
                <a:gd name="T2" fmla="*/ 11 w 11"/>
                <a:gd name="T3" fmla="*/ 9 h 12"/>
                <a:gd name="T4" fmla="*/ 10 w 11"/>
                <a:gd name="T5" fmla="*/ 10 h 12"/>
                <a:gd name="T6" fmla="*/ 8 w 11"/>
                <a:gd name="T7" fmla="*/ 12 h 12"/>
                <a:gd name="T8" fmla="*/ 6 w 11"/>
                <a:gd name="T9" fmla="*/ 12 h 12"/>
                <a:gd name="T10" fmla="*/ 3 w 11"/>
                <a:gd name="T11" fmla="*/ 12 h 12"/>
                <a:gd name="T12" fmla="*/ 1 w 11"/>
                <a:gd name="T13" fmla="*/ 10 h 12"/>
                <a:gd name="T14" fmla="*/ 0 w 11"/>
                <a:gd name="T15" fmla="*/ 9 h 12"/>
                <a:gd name="T16" fmla="*/ 0 w 11"/>
                <a:gd name="T17" fmla="*/ 6 h 12"/>
                <a:gd name="T18" fmla="*/ 0 w 11"/>
                <a:gd name="T19" fmla="*/ 4 h 12"/>
                <a:gd name="T20" fmla="*/ 1 w 11"/>
                <a:gd name="T21" fmla="*/ 2 h 12"/>
                <a:gd name="T22" fmla="*/ 3 w 11"/>
                <a:gd name="T23" fmla="*/ 1 h 12"/>
                <a:gd name="T24" fmla="*/ 6 w 11"/>
                <a:gd name="T25" fmla="*/ 0 h 12"/>
                <a:gd name="T26" fmla="*/ 8 w 11"/>
                <a:gd name="T27" fmla="*/ 1 h 12"/>
                <a:gd name="T28" fmla="*/ 10 w 11"/>
                <a:gd name="T29" fmla="*/ 2 h 12"/>
                <a:gd name="T30" fmla="*/ 11 w 11"/>
                <a:gd name="T31" fmla="*/ 4 h 12"/>
                <a:gd name="T32" fmla="*/ 11 w 11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" h="12">
                  <a:moveTo>
                    <a:pt x="11" y="6"/>
                  </a:moveTo>
                  <a:cubicBezTo>
                    <a:pt x="11" y="7"/>
                    <a:pt x="11" y="8"/>
                    <a:pt x="11" y="9"/>
                  </a:cubicBezTo>
                  <a:cubicBezTo>
                    <a:pt x="11" y="9"/>
                    <a:pt x="10" y="10"/>
                    <a:pt x="10" y="10"/>
                  </a:cubicBezTo>
                  <a:cubicBezTo>
                    <a:pt x="9" y="11"/>
                    <a:pt x="9" y="11"/>
                    <a:pt x="8" y="12"/>
                  </a:cubicBezTo>
                  <a:cubicBezTo>
                    <a:pt x="7" y="12"/>
                    <a:pt x="6" y="12"/>
                    <a:pt x="6" y="12"/>
                  </a:cubicBezTo>
                  <a:cubicBezTo>
                    <a:pt x="5" y="12"/>
                    <a:pt x="4" y="12"/>
                    <a:pt x="3" y="12"/>
                  </a:cubicBezTo>
                  <a:cubicBezTo>
                    <a:pt x="3" y="11"/>
                    <a:pt x="2" y="11"/>
                    <a:pt x="1" y="10"/>
                  </a:cubicBezTo>
                  <a:cubicBezTo>
                    <a:pt x="1" y="10"/>
                    <a:pt x="1" y="9"/>
                    <a:pt x="0" y="9"/>
                  </a:cubicBezTo>
                  <a:cubicBezTo>
                    <a:pt x="0" y="8"/>
                    <a:pt x="0" y="7"/>
                    <a:pt x="0" y="6"/>
                  </a:cubicBezTo>
                  <a:cubicBezTo>
                    <a:pt x="0" y="6"/>
                    <a:pt x="0" y="5"/>
                    <a:pt x="0" y="4"/>
                  </a:cubicBezTo>
                  <a:cubicBezTo>
                    <a:pt x="1" y="3"/>
                    <a:pt x="1" y="3"/>
                    <a:pt x="1" y="2"/>
                  </a:cubicBezTo>
                  <a:cubicBezTo>
                    <a:pt x="2" y="2"/>
                    <a:pt x="3" y="1"/>
                    <a:pt x="3" y="1"/>
                  </a:cubicBezTo>
                  <a:cubicBezTo>
                    <a:pt x="4" y="1"/>
                    <a:pt x="5" y="0"/>
                    <a:pt x="6" y="0"/>
                  </a:cubicBezTo>
                  <a:cubicBezTo>
                    <a:pt x="6" y="0"/>
                    <a:pt x="7" y="1"/>
                    <a:pt x="8" y="1"/>
                  </a:cubicBezTo>
                  <a:cubicBezTo>
                    <a:pt x="9" y="1"/>
                    <a:pt x="9" y="2"/>
                    <a:pt x="10" y="2"/>
                  </a:cubicBezTo>
                  <a:cubicBezTo>
                    <a:pt x="10" y="3"/>
                    <a:pt x="11" y="3"/>
                    <a:pt x="11" y="4"/>
                  </a:cubicBezTo>
                  <a:cubicBezTo>
                    <a:pt x="11" y="5"/>
                    <a:pt x="11" y="6"/>
                    <a:pt x="11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</p:grpSp>
      <p:sp>
        <p:nvSpPr>
          <p:cNvPr id="263" name="Title 1">
            <a:extLst>
              <a:ext uri="{FF2B5EF4-FFF2-40B4-BE49-F238E27FC236}">
                <a16:creationId xmlns:a16="http://schemas.microsoft.com/office/drawing/2014/main" id="{3F36D6CC-3534-47CC-AECE-83EDA4639FB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44388" y="2158329"/>
            <a:ext cx="3998354" cy="860400"/>
          </a:xfrm>
          <a:prstGeom prst="rect">
            <a:avLst/>
          </a:prstGeom>
        </p:spPr>
        <p:txBody>
          <a:bodyPr/>
          <a:lstStyle>
            <a:lvl1pPr>
              <a:defRPr sz="2998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64" name="Subtitle 2">
            <a:extLst>
              <a:ext uri="{FF2B5EF4-FFF2-40B4-BE49-F238E27FC236}">
                <a16:creationId xmlns:a16="http://schemas.microsoft.com/office/drawing/2014/main" id="{C26FB38E-4E99-4AFB-8C8C-F03F7A963D9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44580" y="3200329"/>
            <a:ext cx="4018535" cy="64574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998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  <a:lvl2pPr marL="0" indent="0" algn="l">
              <a:buNone/>
              <a:defRPr sz="1598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9134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2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69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37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04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72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3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GB"/>
          </a:p>
        </p:txBody>
      </p:sp>
      <p:grpSp>
        <p:nvGrpSpPr>
          <p:cNvPr id="82" name="Group 4">
            <a:extLst>
              <a:ext uri="{FF2B5EF4-FFF2-40B4-BE49-F238E27FC236}">
                <a16:creationId xmlns:a16="http://schemas.microsoft.com/office/drawing/2014/main" id="{A63454B3-EB4E-450A-98AA-6B5943D89732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59392" y="4960938"/>
            <a:ext cx="1224912" cy="1435100"/>
            <a:chOff x="6529" y="3125"/>
            <a:chExt cx="772" cy="904"/>
          </a:xfrm>
        </p:grpSpPr>
        <p:sp>
          <p:nvSpPr>
            <p:cNvPr id="83" name="Freeform 5">
              <a:extLst>
                <a:ext uri="{FF2B5EF4-FFF2-40B4-BE49-F238E27FC236}">
                  <a16:creationId xmlns:a16="http://schemas.microsoft.com/office/drawing/2014/main" id="{C4ED221A-C963-42C0-91ED-C597F6BDAF9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/>
            </a:p>
          </p:txBody>
        </p:sp>
        <p:sp>
          <p:nvSpPr>
            <p:cNvPr id="84" name="Freeform 6">
              <a:extLst>
                <a:ext uri="{FF2B5EF4-FFF2-40B4-BE49-F238E27FC236}">
                  <a16:creationId xmlns:a16="http://schemas.microsoft.com/office/drawing/2014/main" id="{7956D1CB-5F24-4766-80AE-D7551538344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/>
            </a:p>
          </p:txBody>
        </p:sp>
      </p:grpSp>
    </p:spTree>
    <p:extLst>
      <p:ext uri="{BB962C8B-B14F-4D97-AF65-F5344CB8AC3E}">
        <p14:creationId xmlns:p14="http://schemas.microsoft.com/office/powerpoint/2010/main" val="372598144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2" y="294200"/>
            <a:ext cx="10972800" cy="590400"/>
          </a:xfrm>
        </p:spPr>
        <p:txBody>
          <a:bodyPr/>
          <a:lstStyle>
            <a:lvl1pPr>
              <a:defRPr sz="2398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2" name="Line 10">
            <a:extLst>
              <a:ext uri="{FF2B5EF4-FFF2-40B4-BE49-F238E27FC236}">
                <a16:creationId xmlns:a16="http://schemas.microsoft.com/office/drawing/2014/main" id="{DA9741B6-D337-4A18-8ECB-FB21A6953E44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601" y="907750"/>
            <a:ext cx="10974284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8" noProof="0" dirty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48806A2-2AA7-4EC7-8FA5-6DD8E9FC1A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B14021-CB4E-4A4F-8709-D33FAB29C8FB}" type="datetime3">
              <a:rPr lang="en-US" smtClean="0"/>
              <a:t>5 August 2022</a:t>
            </a:fld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C56F6B4-9E49-490D-8FE1-DB9035090F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Presentation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3C35AEC-478D-4BBF-9883-4CE09EB36A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AC5F387F-0A77-424D-88D8-FFE5F0CA22D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2" y="1137920"/>
            <a:ext cx="10972800" cy="49479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07552523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602" y="294200"/>
            <a:ext cx="10972800" cy="590400"/>
          </a:xfrm>
        </p:spPr>
        <p:txBody>
          <a:bodyPr/>
          <a:lstStyle>
            <a:lvl1pPr>
              <a:defRPr sz="2398">
                <a:solidFill>
                  <a:schemeClr val="bg1"/>
                </a:solidFill>
              </a:defRPr>
            </a:lvl1pPr>
          </a:lstStyle>
          <a:p>
            <a:r>
              <a:rPr lang="en-US"/>
              <a:t>Standard slide</a:t>
            </a:r>
            <a:endParaRPr lang="en-GB"/>
          </a:p>
        </p:txBody>
      </p:sp>
      <p:sp>
        <p:nvSpPr>
          <p:cNvPr id="80" name="Line 10">
            <a:extLst>
              <a:ext uri="{FF2B5EF4-FFF2-40B4-BE49-F238E27FC236}">
                <a16:creationId xmlns:a16="http://schemas.microsoft.com/office/drawing/2014/main" id="{EF8E9275-C0E0-4ABA-8699-73E5E292EC85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601" y="907750"/>
            <a:ext cx="10974284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8" noProof="0" dirty="0">
              <a:solidFill>
                <a:schemeClr val="bg1"/>
              </a:solidFill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0F0AABF-D862-4E52-856A-98A908BD81E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19B0F1-44AD-42A5-9A37-2FB41F1EC903}" type="datetime3">
              <a:rPr lang="en-US" smtClean="0"/>
              <a:t>5 August 2022</a:t>
            </a:fld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F5FDC76-F946-4827-A773-FCD68068B8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Presentation tit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ABF873B-E40B-4AF7-8D2F-967775EB8E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189328766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80593A0-4211-460E-B6CF-FE2D9CE6D9C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194853" y="1"/>
            <a:ext cx="3997149" cy="6156104"/>
          </a:xfrm>
        </p:spPr>
        <p:txBody>
          <a:bodyPr/>
          <a:lstStyle/>
          <a:p>
            <a:endParaRPr lang="en-IN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94200"/>
            <a:ext cx="7440547" cy="590400"/>
          </a:xfrm>
        </p:spPr>
        <p:txBody>
          <a:bodyPr/>
          <a:lstStyle>
            <a:lvl1pPr>
              <a:defRPr sz="2398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09601" y="1137921"/>
            <a:ext cx="7295842" cy="873760"/>
          </a:xfrm>
        </p:spPr>
        <p:txBody>
          <a:bodyPr/>
          <a:lstStyle>
            <a:lvl1pPr marL="0" indent="0">
              <a:buNone/>
              <a:defRPr sz="1798">
                <a:solidFill>
                  <a:schemeClr val="bg1"/>
                </a:solidFill>
              </a:defRPr>
            </a:lvl1pPr>
            <a:lvl2pPr marL="356260" indent="0">
              <a:buNone/>
              <a:defRPr sz="1798">
                <a:solidFill>
                  <a:schemeClr val="bg1"/>
                </a:solidFill>
              </a:defRPr>
            </a:lvl2pPr>
            <a:lvl3pPr marL="712519" indent="0">
              <a:buNone/>
              <a:defRPr sz="1598">
                <a:solidFill>
                  <a:schemeClr val="bg1"/>
                </a:solidFill>
              </a:defRPr>
            </a:lvl3pPr>
            <a:lvl4pPr marL="1068778" indent="0">
              <a:buNone/>
              <a:defRPr sz="1398">
                <a:solidFill>
                  <a:schemeClr val="bg1"/>
                </a:solidFill>
              </a:defRPr>
            </a:lvl4pPr>
            <a:lvl5pPr marL="1425038" indent="0">
              <a:buNone/>
              <a:defRPr sz="1198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78D3272-120F-430D-AFB5-E93227EEEAAF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609602" y="2311401"/>
            <a:ext cx="3578253" cy="3844704"/>
          </a:xfrm>
        </p:spPr>
        <p:txBody>
          <a:bodyPr numCol="1"/>
          <a:lstStyle>
            <a:lvl1pPr marL="0" indent="0">
              <a:buNone/>
              <a:defRPr sz="1398">
                <a:solidFill>
                  <a:schemeClr val="bg1"/>
                </a:solidFill>
              </a:defRPr>
            </a:lvl1pPr>
            <a:lvl2pPr marL="356260" indent="0">
              <a:buNone/>
              <a:defRPr sz="1798">
                <a:solidFill>
                  <a:schemeClr val="bg1"/>
                </a:solidFill>
              </a:defRPr>
            </a:lvl2pPr>
            <a:lvl3pPr marL="712519" indent="0">
              <a:buNone/>
              <a:defRPr sz="1598">
                <a:solidFill>
                  <a:schemeClr val="bg1"/>
                </a:solidFill>
              </a:defRPr>
            </a:lvl3pPr>
            <a:lvl4pPr marL="1068778" indent="0">
              <a:buNone/>
              <a:defRPr sz="1398">
                <a:solidFill>
                  <a:schemeClr val="bg1"/>
                </a:solidFill>
              </a:defRPr>
            </a:lvl4pPr>
            <a:lvl5pPr marL="1425038" indent="0">
              <a:buNone/>
              <a:defRPr sz="1198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0C7BD71A-882B-40FB-A05F-48ECC69FF73D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4327191" y="2311404"/>
            <a:ext cx="3578253" cy="1254759"/>
          </a:xfrm>
        </p:spPr>
        <p:txBody>
          <a:bodyPr numCol="1"/>
          <a:lstStyle>
            <a:lvl1pPr marL="0" indent="0">
              <a:buNone/>
              <a:defRPr sz="1398">
                <a:solidFill>
                  <a:schemeClr val="bg1"/>
                </a:solidFill>
              </a:defRPr>
            </a:lvl1pPr>
            <a:lvl2pPr marL="356260" indent="0">
              <a:buNone/>
              <a:defRPr sz="1798">
                <a:solidFill>
                  <a:schemeClr val="bg1"/>
                </a:solidFill>
              </a:defRPr>
            </a:lvl2pPr>
            <a:lvl3pPr marL="712519" indent="0">
              <a:buNone/>
              <a:defRPr sz="1598">
                <a:solidFill>
                  <a:schemeClr val="bg1"/>
                </a:solidFill>
              </a:defRPr>
            </a:lvl3pPr>
            <a:lvl4pPr marL="1068778" indent="0">
              <a:buNone/>
              <a:defRPr sz="1398">
                <a:solidFill>
                  <a:schemeClr val="bg1"/>
                </a:solidFill>
              </a:defRPr>
            </a:lvl4pPr>
            <a:lvl5pPr marL="1425038" indent="0">
              <a:buNone/>
              <a:defRPr sz="1198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D87D58C8-1517-42AA-8B2A-E449A3F6F028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327191" y="4236721"/>
            <a:ext cx="3578253" cy="1944160"/>
          </a:xfrm>
        </p:spPr>
        <p:txBody>
          <a:bodyPr numCol="1"/>
          <a:lstStyle>
            <a:lvl1pPr marL="0" indent="0">
              <a:buNone/>
              <a:defRPr sz="1798">
                <a:solidFill>
                  <a:schemeClr val="bg1"/>
                </a:solidFill>
                <a:latin typeface="Georgia" panose="02040502050405020303" pitchFamily="18" charset="0"/>
              </a:defRPr>
            </a:lvl1pPr>
            <a:lvl2pPr marL="356260" indent="0">
              <a:buNone/>
              <a:defRPr sz="1798">
                <a:solidFill>
                  <a:schemeClr val="bg1"/>
                </a:solidFill>
              </a:defRPr>
            </a:lvl2pPr>
            <a:lvl3pPr marL="712519" indent="0">
              <a:buNone/>
              <a:defRPr sz="1598">
                <a:solidFill>
                  <a:schemeClr val="bg1"/>
                </a:solidFill>
              </a:defRPr>
            </a:lvl3pPr>
            <a:lvl4pPr marL="1068778" indent="0">
              <a:buNone/>
              <a:defRPr sz="1398">
                <a:solidFill>
                  <a:schemeClr val="bg1"/>
                </a:solidFill>
              </a:defRPr>
            </a:lvl4pPr>
            <a:lvl5pPr marL="1425038" indent="0">
              <a:buNone/>
              <a:defRPr sz="1198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Quote</a:t>
            </a:r>
          </a:p>
        </p:txBody>
      </p:sp>
      <p:sp>
        <p:nvSpPr>
          <p:cNvPr id="23" name="Line 10">
            <a:extLst>
              <a:ext uri="{FF2B5EF4-FFF2-40B4-BE49-F238E27FC236}">
                <a16:creationId xmlns:a16="http://schemas.microsoft.com/office/drawing/2014/main" id="{E820DC59-E206-4DC0-9012-584F8EBAF730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602" y="907750"/>
            <a:ext cx="7719833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8" noProof="0" dirty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8FDA286-FC7C-4768-AFFF-1618056D687D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FAA65521-E907-4B6A-8E88-DD4BEE4ED137}" type="datetime3">
              <a:rPr lang="en-US" smtClean="0"/>
              <a:t>5 August 2022</a:t>
            </a:fld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9C73E4D-1EBD-404A-B8F4-9B8AD7336F3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dirty="0"/>
              <a:t>Presentation titl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159C267-49E7-46A8-B353-C5EB81154AB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GB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071413330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80593A0-4211-460E-B6CF-FE2D9CE6D9C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" y="3"/>
            <a:ext cx="2383219" cy="6857999"/>
          </a:xfrm>
        </p:spPr>
        <p:txBody>
          <a:bodyPr/>
          <a:lstStyle/>
          <a:p>
            <a:endParaRPr lang="en-IN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3891" y="294200"/>
            <a:ext cx="8887371" cy="590400"/>
          </a:xfrm>
        </p:spPr>
        <p:txBody>
          <a:bodyPr/>
          <a:lstStyle>
            <a:lvl1pPr>
              <a:defRPr sz="2398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693890" y="1137921"/>
            <a:ext cx="2741454" cy="5018184"/>
          </a:xfrm>
        </p:spPr>
        <p:txBody>
          <a:bodyPr/>
          <a:lstStyle>
            <a:lvl1pPr marL="0" indent="0">
              <a:buNone/>
              <a:defRPr sz="1798">
                <a:solidFill>
                  <a:schemeClr val="bg1"/>
                </a:solidFill>
              </a:defRPr>
            </a:lvl1pPr>
            <a:lvl2pPr marL="356260" indent="0">
              <a:buNone/>
              <a:defRPr sz="1798">
                <a:solidFill>
                  <a:schemeClr val="bg1"/>
                </a:solidFill>
              </a:defRPr>
            </a:lvl2pPr>
            <a:lvl3pPr marL="712519" indent="0">
              <a:buNone/>
              <a:defRPr sz="1598">
                <a:solidFill>
                  <a:schemeClr val="bg1"/>
                </a:solidFill>
              </a:defRPr>
            </a:lvl3pPr>
            <a:lvl4pPr marL="1068778" indent="0">
              <a:buNone/>
              <a:defRPr sz="1398">
                <a:solidFill>
                  <a:schemeClr val="bg1"/>
                </a:solidFill>
              </a:defRPr>
            </a:lvl4pPr>
            <a:lvl5pPr marL="1425038" indent="0">
              <a:buNone/>
              <a:defRPr sz="1198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78D3272-120F-430D-AFB5-E93227EEEAAF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5724102" y="1137921"/>
            <a:ext cx="2802382" cy="5018184"/>
          </a:xfrm>
        </p:spPr>
        <p:txBody>
          <a:bodyPr numCol="1"/>
          <a:lstStyle>
            <a:lvl1pPr marL="0" indent="0">
              <a:buNone/>
              <a:defRPr sz="1398">
                <a:solidFill>
                  <a:schemeClr val="bg1"/>
                </a:solidFill>
              </a:defRPr>
            </a:lvl1pPr>
            <a:lvl2pPr marL="356260" indent="0">
              <a:buNone/>
              <a:defRPr sz="1798">
                <a:solidFill>
                  <a:schemeClr val="bg1"/>
                </a:solidFill>
              </a:defRPr>
            </a:lvl2pPr>
            <a:lvl3pPr marL="712519" indent="0">
              <a:buNone/>
              <a:defRPr sz="1598">
                <a:solidFill>
                  <a:schemeClr val="bg1"/>
                </a:solidFill>
              </a:defRPr>
            </a:lvl3pPr>
            <a:lvl4pPr marL="1068778" indent="0">
              <a:buNone/>
              <a:defRPr sz="1398">
                <a:solidFill>
                  <a:schemeClr val="bg1"/>
                </a:solidFill>
              </a:defRPr>
            </a:lvl4pPr>
            <a:lvl5pPr marL="1425038" indent="0">
              <a:buNone/>
              <a:defRPr sz="1198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6FF4A6F8-D9C6-4FEE-9324-5200D308BB1F}"/>
              </a:ext>
            </a:extLst>
          </p:cNvPr>
          <p:cNvSpPr>
            <a:spLocks noGrp="1"/>
          </p:cNvSpPr>
          <p:nvPr userDrawn="1">
            <p:ph idx="12" hasCustomPrompt="1"/>
          </p:nvPr>
        </p:nvSpPr>
        <p:spPr>
          <a:xfrm>
            <a:off x="8815242" y="1137924"/>
            <a:ext cx="2767159" cy="2796151"/>
          </a:xfrm>
        </p:spPr>
        <p:txBody>
          <a:bodyPr numCol="1"/>
          <a:lstStyle>
            <a:lvl1pPr marL="0" indent="0">
              <a:buNone/>
              <a:defRPr sz="1398">
                <a:solidFill>
                  <a:schemeClr val="bg1"/>
                </a:solidFill>
              </a:defRPr>
            </a:lvl1pPr>
            <a:lvl2pPr marL="356260" indent="0">
              <a:buNone/>
              <a:defRPr sz="1798">
                <a:solidFill>
                  <a:schemeClr val="bg1"/>
                </a:solidFill>
              </a:defRPr>
            </a:lvl2pPr>
            <a:lvl3pPr marL="712519" indent="0">
              <a:buNone/>
              <a:defRPr sz="1598">
                <a:solidFill>
                  <a:schemeClr val="bg1"/>
                </a:solidFill>
              </a:defRPr>
            </a:lvl3pPr>
            <a:lvl4pPr marL="1068778" indent="0">
              <a:buNone/>
              <a:defRPr sz="1398">
                <a:solidFill>
                  <a:schemeClr val="bg1"/>
                </a:solidFill>
              </a:defRPr>
            </a:lvl4pPr>
            <a:lvl5pPr marL="1425038" indent="0">
              <a:buNone/>
              <a:defRPr sz="1198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9" name="Line 10">
            <a:extLst>
              <a:ext uri="{FF2B5EF4-FFF2-40B4-BE49-F238E27FC236}">
                <a16:creationId xmlns:a16="http://schemas.microsoft.com/office/drawing/2014/main" id="{B63A7CBA-3151-452E-BD2F-D3E65CE1595F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2693891" y="907750"/>
            <a:ext cx="8887371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8" noProof="0" dirty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57DDD53-DA5D-4F66-8EAA-913A40461E30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B2FB67F6-71E2-4CE9-9767-63F7E639F73F}" type="datetime3">
              <a:rPr lang="en-US" smtClean="0"/>
              <a:t>5 August 2022</a:t>
            </a:fld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9A18168-B280-402E-8310-35BC958D390B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 dirty="0"/>
              <a:t>Presentation titl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7D562B9-5194-4705-ABBD-89576E2CC7A3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GB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166428361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2" y="294200"/>
            <a:ext cx="10972800" cy="590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2" y="1137920"/>
            <a:ext cx="8234455" cy="48348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None/>
              <a:defRPr sz="1798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None/>
              <a:defRPr sz="1598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buNone/>
              <a:defRPr sz="1398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buNone/>
              <a:defRPr sz="1198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9" name="Line 10">
            <a:extLst>
              <a:ext uri="{FF2B5EF4-FFF2-40B4-BE49-F238E27FC236}">
                <a16:creationId xmlns:a16="http://schemas.microsoft.com/office/drawing/2014/main" id="{CF130104-FAF2-4309-9701-573F37743137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601" y="907750"/>
            <a:ext cx="10974284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8" noProof="0" dirty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0869D6F-A030-48CA-9C7C-9FC3A6F1F67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6D7102-DD97-4F84-8724-387B81A0E6ED}" type="datetime3">
              <a:rPr lang="en-US" smtClean="0"/>
              <a:t>5 August 2022</a:t>
            </a:fld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F02C3F7-BD0A-4AD4-95D8-328DA6F539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Presentation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E4422C8-68BE-4650-89F1-3BECCFF9B5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438170243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697C43D-4F1B-43DA-A0C6-DA6B6708E16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2616" y="2851522"/>
            <a:ext cx="4445485" cy="1202318"/>
          </a:xfrm>
        </p:spPr>
        <p:txBody>
          <a:bodyPr vert="horz" lIns="0" tIns="0" rIns="0" bIns="0" rtlCol="0" anchor="ctr" anchorCtr="0">
            <a:noAutofit/>
          </a:bodyPr>
          <a:lstStyle>
            <a:lvl1pPr marL="0" indent="0">
              <a:buNone/>
              <a:defRPr kumimoji="0" lang="en-IN" sz="3596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 panose="02000506000000020004" pitchFamily="2" charset="0"/>
                <a:ea typeface="+mj-ea"/>
                <a:cs typeface="+mj-cs"/>
              </a:defRPr>
            </a:lvl1pPr>
          </a:lstStyle>
          <a:p>
            <a:pPr marL="356260" marR="0" lvl="0" indent="-356260" defTabSz="1006879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Chapter Title</a:t>
            </a:r>
            <a:endParaRPr lang="en-IN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984443D1-37A3-4969-A6D3-4E99E05604B9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C1498488-8765-4B8D-9D72-8E71718AE3EF}" type="datetime3">
              <a:rPr lang="en-US" smtClean="0"/>
              <a:t>5 August 2022</a:t>
            </a:fld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AB04F4-59F4-4102-9BBD-DB62B48E184D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/>
              <a:t>Presentation tit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499AB0A-887B-46B8-BA72-781970F002C7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en-GB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742531212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628F8CDB-776D-4811-AE2C-217236ECDEC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223938" y="0"/>
            <a:ext cx="5968062" cy="6858000"/>
          </a:xfrm>
        </p:spPr>
        <p:txBody>
          <a:bodyPr/>
          <a:lstStyle/>
          <a:p>
            <a:endParaRPr lang="en-IN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26E96BA-E9E4-496B-8CA5-6DA27B8AD7E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69514" y="2578743"/>
            <a:ext cx="4535597" cy="1055708"/>
          </a:xfrm>
        </p:spPr>
        <p:txBody>
          <a:bodyPr/>
          <a:lstStyle>
            <a:lvl1pPr marL="0" indent="0">
              <a:buNone/>
              <a:defRPr sz="2998"/>
            </a:lvl1pPr>
          </a:lstStyle>
          <a:p>
            <a:pPr lvl="0"/>
            <a:r>
              <a:rPr lang="en-IN"/>
              <a:t>Chapter Title</a:t>
            </a:r>
          </a:p>
          <a:p>
            <a:pPr lvl="0"/>
            <a:r>
              <a:rPr lang="en-IN"/>
              <a:t>EY Interstate Light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1173C8A3-BA2F-497B-A214-45B02D73AF2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9514" y="3840384"/>
            <a:ext cx="4535597" cy="1055708"/>
          </a:xfrm>
        </p:spPr>
        <p:txBody>
          <a:bodyPr/>
          <a:lstStyle>
            <a:lvl1pPr marL="0" indent="0">
              <a:buNone/>
              <a:defRPr sz="1598"/>
            </a:lvl1pPr>
          </a:lstStyle>
          <a:p>
            <a:pPr lvl="0"/>
            <a:r>
              <a:rPr lang="en-IN"/>
              <a:t>text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6DB61-969F-46BA-942C-3600269FA4D1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70698E0F-C516-4EA3-9B7A-A60925844285}" type="datetime3">
              <a:rPr lang="en-US" smtClean="0"/>
              <a:t>5 August 2022</a:t>
            </a:fld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7C562FF-E912-4424-B259-AED677C026AF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 dirty="0"/>
              <a:t>Presentation tit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82C1B82-1A85-4CFD-98C3-C21698A96B67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GB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699998898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2" y="294200"/>
            <a:ext cx="10972800" cy="590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Table Placeholder 4">
            <a:extLst>
              <a:ext uri="{FF2B5EF4-FFF2-40B4-BE49-F238E27FC236}">
                <a16:creationId xmlns:a16="http://schemas.microsoft.com/office/drawing/2014/main" id="{95A2BE92-ABF7-4A82-BC35-00F28F500FED}"/>
              </a:ext>
            </a:extLst>
          </p:cNvPr>
          <p:cNvSpPr>
            <a:spLocks noGrp="1"/>
          </p:cNvSpPr>
          <p:nvPr>
            <p:ph type="tbl" sz="quarter" idx="10"/>
          </p:nvPr>
        </p:nvSpPr>
        <p:spPr>
          <a:xfrm>
            <a:off x="609600" y="1137923"/>
            <a:ext cx="4954924" cy="4267457"/>
          </a:xfrm>
        </p:spPr>
        <p:txBody>
          <a:bodyPr/>
          <a:lstStyle/>
          <a:p>
            <a:endParaRPr lang="en-IN" dirty="0"/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DA81FCAA-64D2-4A9C-B16E-9C4E3BB431B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129749" y="3813288"/>
            <a:ext cx="3087667" cy="180000"/>
          </a:xfrm>
        </p:spPr>
        <p:txBody>
          <a:bodyPr/>
          <a:lstStyle>
            <a:lvl1pPr marL="0" indent="0">
              <a:buNone/>
              <a:defRPr sz="1198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Name Surname</a:t>
            </a:r>
            <a:endParaRPr lang="en-GB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03CDC117-35F2-47B2-85B2-29CB8EE7E09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129749" y="4055931"/>
            <a:ext cx="3087667" cy="180000"/>
          </a:xfrm>
        </p:spPr>
        <p:txBody>
          <a:bodyPr/>
          <a:lstStyle>
            <a:lvl1pPr marL="0" indent="0">
              <a:buNone/>
              <a:defRPr sz="1198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Job Title to go here</a:t>
            </a:r>
            <a:endParaRPr lang="en-GB"/>
          </a:p>
        </p:txBody>
      </p:sp>
      <p:sp>
        <p:nvSpPr>
          <p:cNvPr id="14" name="Picture Placeholder 19">
            <a:extLst>
              <a:ext uri="{FF2B5EF4-FFF2-40B4-BE49-F238E27FC236}">
                <a16:creationId xmlns:a16="http://schemas.microsoft.com/office/drawing/2014/main" id="{00A15EA9-2372-4E06-83C2-1E13AB1FA62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19821" y="3578084"/>
            <a:ext cx="778554" cy="778959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9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DB83DAE-9FEB-4E9C-85BA-A34BD239275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19821" y="1137923"/>
            <a:ext cx="5462580" cy="37380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Key Takeaways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C1ABE303-7041-4312-AD03-0E872AEF99B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119821" y="1635009"/>
            <a:ext cx="5462580" cy="1611554"/>
          </a:xfrm>
        </p:spPr>
        <p:txBody>
          <a:bodyPr/>
          <a:lstStyle>
            <a:lvl1pPr marL="0" indent="0">
              <a:buNone/>
              <a:defRPr sz="1598"/>
            </a:lvl1pPr>
          </a:lstStyle>
          <a:p>
            <a:pPr lvl="0"/>
            <a:r>
              <a:rPr lang="en-US"/>
              <a:t>Content EY Interstate Light, 16pt, Lorem ipsum dolor, 12pt, </a:t>
            </a:r>
            <a:r>
              <a:rPr lang="en-US" err="1"/>
              <a:t>Utinam</a:t>
            </a:r>
            <a:r>
              <a:rPr lang="en-US"/>
              <a:t>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abhorreant</a:t>
            </a:r>
            <a:r>
              <a:rPr lang="en-US"/>
              <a:t> </a:t>
            </a:r>
            <a:r>
              <a:rPr lang="en-US" err="1"/>
              <a:t>sead</a:t>
            </a:r>
            <a:r>
              <a:rPr lang="en-US"/>
              <a:t>. </a:t>
            </a:r>
            <a:r>
              <a:rPr lang="en-US" err="1"/>
              <a:t>Putant</a:t>
            </a:r>
            <a:r>
              <a:rPr lang="en-US"/>
              <a:t> </a:t>
            </a:r>
            <a:r>
              <a:rPr lang="en-US" err="1"/>
              <a:t>probatus</a:t>
            </a:r>
            <a:r>
              <a:rPr lang="en-US"/>
              <a:t> id vis, ad his </a:t>
            </a:r>
            <a:r>
              <a:rPr lang="en-US" err="1"/>
              <a:t>meis</a:t>
            </a:r>
            <a:r>
              <a:rPr lang="en-US"/>
              <a:t> </a:t>
            </a:r>
            <a:r>
              <a:rPr lang="en-US" err="1"/>
              <a:t>habemus</a:t>
            </a:r>
            <a:r>
              <a:rPr lang="en-US"/>
              <a:t> </a:t>
            </a:r>
            <a:r>
              <a:rPr lang="en-US" err="1"/>
              <a:t>repudiare</a:t>
            </a:r>
            <a:r>
              <a:rPr lang="en-US"/>
              <a:t>, has an </a:t>
            </a:r>
            <a:r>
              <a:rPr lang="en-US" err="1"/>
              <a:t>pericula</a:t>
            </a:r>
            <a:r>
              <a:rPr lang="en-US"/>
              <a:t> </a:t>
            </a:r>
            <a:r>
              <a:rPr lang="en-US" err="1"/>
              <a:t>tractatos</a:t>
            </a:r>
            <a:r>
              <a:rPr lang="en-US"/>
              <a:t>. </a:t>
            </a:r>
            <a:r>
              <a:rPr lang="en-US" err="1"/>
              <a:t>Nec</a:t>
            </a:r>
            <a:r>
              <a:rPr lang="en-US"/>
              <a:t> </a:t>
            </a:r>
            <a:r>
              <a:rPr lang="en-US" err="1"/>
              <a:t>debitis</a:t>
            </a:r>
            <a:r>
              <a:rPr lang="en-US"/>
              <a:t> </a:t>
            </a:r>
            <a:r>
              <a:rPr lang="en-US" err="1"/>
              <a:t>dissentias</a:t>
            </a:r>
            <a:r>
              <a:rPr lang="en-US"/>
              <a:t> ad. </a:t>
            </a:r>
            <a:r>
              <a:rPr lang="en-US" err="1"/>
              <a:t>Patrioque</a:t>
            </a:r>
            <a:r>
              <a:rPr lang="en-US"/>
              <a:t> </a:t>
            </a:r>
            <a:r>
              <a:rPr lang="en-US" err="1"/>
              <a:t>voluptatum</a:t>
            </a:r>
            <a:r>
              <a:rPr lang="en-US"/>
              <a:t> </a:t>
            </a:r>
            <a:r>
              <a:rPr lang="en-US" err="1"/>
              <a:t>sed</a:t>
            </a:r>
            <a:r>
              <a:rPr lang="en-US"/>
              <a:t> ex, id </a:t>
            </a:r>
            <a:r>
              <a:rPr lang="en-US" err="1"/>
              <a:t>admodum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20" name="Line 10">
            <a:extLst>
              <a:ext uri="{FF2B5EF4-FFF2-40B4-BE49-F238E27FC236}">
                <a16:creationId xmlns:a16="http://schemas.microsoft.com/office/drawing/2014/main" id="{B69EB865-6B86-419B-923C-F7DDC68C9C66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601" y="907750"/>
            <a:ext cx="10974284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8" noProof="0" dirty="0">
              <a:solidFill>
                <a:schemeClr val="bg1"/>
              </a:solidFill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5822E28-B24F-4CF6-8F50-70ED7C22A114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A30B5B11-3029-4BDF-9283-90F5215BC815}" type="datetime3">
              <a:rPr lang="en-US" smtClean="0"/>
              <a:t>5 August 2022</a:t>
            </a:fld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865E1CD-A05B-41DC-B488-E4BA204E7AE5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 dirty="0"/>
              <a:t>Presentation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716ABDB-CF45-4001-9487-F3BA3DD8DACD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r>
              <a:rPr lang="en-GB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215808799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CD06B42-27A8-4223-AE57-EB729EB5FC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2C04E3-9852-4EE1-995A-A982B306E72F}" type="datetime3">
              <a:rPr lang="en-US" smtClean="0"/>
              <a:t>5 August 2022</a:t>
            </a:fld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C1F4AD2-0FC3-4A7D-B553-FC19C918C1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Presentation tit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7E89B92-9E6D-4E4B-A5F6-7BC8B1612D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23431111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11">
            <a:extLst>
              <a:ext uri="{FF2B5EF4-FFF2-40B4-BE49-F238E27FC236}">
                <a16:creationId xmlns:a16="http://schemas.microsoft.com/office/drawing/2014/main" id="{8F291EB0-15F5-4E9A-A38B-CE3AC1452E21}"/>
              </a:ext>
            </a:extLst>
          </p:cNvPr>
          <p:cNvSpPr txBox="1">
            <a:spLocks/>
          </p:cNvSpPr>
          <p:nvPr userDrawn="1"/>
        </p:nvSpPr>
        <p:spPr>
          <a:xfrm>
            <a:off x="477102" y="1488927"/>
            <a:ext cx="2337171" cy="858838"/>
          </a:xfrm>
          <a:prstGeom prst="rect">
            <a:avLst/>
          </a:prstGeom>
        </p:spPr>
        <p:txBody>
          <a:bodyPr/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11194" dirty="0">
                <a:solidFill>
                  <a:schemeClr val="tx2"/>
                </a:solidFill>
                <a:latin typeface="Georgia" panose="02040502050405020303" pitchFamily="18" charset="0"/>
              </a:rPr>
              <a:t>“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B5D2AC0-B4F7-4455-9AE0-201966050A6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13083" y="2526765"/>
            <a:ext cx="5289245" cy="1800000"/>
          </a:xfrm>
        </p:spPr>
        <p:txBody>
          <a:bodyPr lIns="90000" tIns="46800" rIns="90000" bIns="46800"/>
          <a:lstStyle>
            <a:lvl1pPr marL="0" indent="0">
              <a:buNone/>
              <a:defRPr lang="en-US" sz="2799" dirty="0" smtClean="0">
                <a:latin typeface="Georgia" panose="02040502050405020303" pitchFamily="18" charset="0"/>
              </a:defRPr>
            </a:lvl1pPr>
          </a:lstStyle>
          <a:p>
            <a:pPr marL="356438" lvl="0" indent="-356438">
              <a:spcBef>
                <a:spcPts val="0"/>
              </a:spcBef>
            </a:pPr>
            <a:r>
              <a:rPr lang="en-US" dirty="0"/>
              <a:t>Edit Master text styles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F1BA83A2-78F0-4F7E-836B-9B4B87820F9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3083" y="4632765"/>
            <a:ext cx="5289245" cy="316838"/>
          </a:xfrm>
        </p:spPr>
        <p:txBody>
          <a:bodyPr lIns="90000" tIns="46800" rIns="90000" bIns="46800"/>
          <a:lstStyle>
            <a:lvl1pPr marL="0" indent="0" algn="l" defTabSz="913943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70000"/>
              <a:buFont typeface="Arial" pitchFamily="34" charset="0"/>
              <a:buNone/>
              <a:defRPr lang="en-US" sz="1599" kern="1200" dirty="0" smtClean="0">
                <a:solidFill>
                  <a:srgbClr val="2E2E38"/>
                </a:solidFill>
                <a:latin typeface="+mn-lt"/>
                <a:ea typeface="+mn-ea"/>
                <a:cs typeface="+mn-cs"/>
              </a:defRPr>
            </a:lvl1pPr>
            <a:lvl2pPr marL="356438" indent="0">
              <a:buNone/>
              <a:defRPr lang="en-US" sz="1999" smtClean="0">
                <a:latin typeface="+mn-lt"/>
              </a:defRPr>
            </a:lvl2pPr>
            <a:lvl3pPr>
              <a:defRPr lang="en-US" sz="1799" smtClean="0">
                <a:latin typeface="+mn-lt"/>
              </a:defRPr>
            </a:lvl3pPr>
            <a:lvl4pPr>
              <a:defRPr lang="en-US" sz="1599" smtClean="0">
                <a:latin typeface="+mn-lt"/>
              </a:defRPr>
            </a:lvl4pPr>
            <a:lvl5pPr>
              <a:defRPr lang="en-IN" sz="1599">
                <a:latin typeface="+mn-lt"/>
              </a:defRPr>
            </a:lvl5pPr>
          </a:lstStyle>
          <a:p>
            <a:pPr marL="0" lvl="0" indent="0">
              <a:spcBef>
                <a:spcPts val="0"/>
              </a:spcBef>
              <a:buNone/>
            </a:pPr>
            <a:r>
              <a:rPr lang="en-US" dirty="0"/>
              <a:t>Name Surname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034CE9DD-CE12-4D9F-8FD6-A2522F36C8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13083" y="4971442"/>
            <a:ext cx="5289245" cy="316838"/>
          </a:xfrm>
        </p:spPr>
        <p:txBody>
          <a:bodyPr lIns="90000" tIns="46800" rIns="90000" bIns="46800"/>
          <a:lstStyle>
            <a:lvl1pPr marL="0" indent="0" algn="l" defTabSz="913943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70000"/>
              <a:buFont typeface="Arial" pitchFamily="34" charset="0"/>
              <a:buNone/>
              <a:defRPr lang="en-US" sz="1599" kern="1200" dirty="0" smtClean="0">
                <a:solidFill>
                  <a:srgbClr val="2E2E38"/>
                </a:solidFill>
                <a:latin typeface="+mn-lt"/>
                <a:ea typeface="+mn-ea"/>
                <a:cs typeface="+mn-cs"/>
              </a:defRPr>
            </a:lvl1pPr>
            <a:lvl2pPr marL="356438" indent="0">
              <a:buNone/>
              <a:defRPr lang="en-US" sz="1999" smtClean="0">
                <a:latin typeface="+mn-lt"/>
              </a:defRPr>
            </a:lvl2pPr>
            <a:lvl3pPr>
              <a:defRPr lang="en-US" sz="1799" smtClean="0">
                <a:latin typeface="+mn-lt"/>
              </a:defRPr>
            </a:lvl3pPr>
            <a:lvl4pPr>
              <a:defRPr lang="en-US" sz="1599" smtClean="0">
                <a:latin typeface="+mn-lt"/>
              </a:defRPr>
            </a:lvl4pPr>
            <a:lvl5pPr>
              <a:defRPr lang="en-IN" sz="1599">
                <a:latin typeface="+mn-lt"/>
              </a:defRPr>
            </a:lvl5pPr>
          </a:lstStyle>
          <a:p>
            <a:pPr marL="0" lvl="0" indent="0">
              <a:spcBef>
                <a:spcPts val="0"/>
              </a:spcBef>
              <a:buNone/>
            </a:pPr>
            <a:r>
              <a:rPr lang="en-US" dirty="0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548030687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E28D7EA5-A532-4D8B-9984-8F3D1FEA98D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451378" y="2060235"/>
            <a:ext cx="5289245" cy="3025522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lang="en-US" sz="2798" dirty="0" smtClean="0">
                <a:latin typeface="Georgia" panose="02040502050405020303" pitchFamily="18" charset="0"/>
              </a:defRPr>
            </a:lvl1pPr>
          </a:lstStyle>
          <a:p>
            <a:pPr marL="356260" lvl="0" indent="-356260" algn="ctr">
              <a:spcBef>
                <a:spcPts val="0"/>
              </a:spcBef>
            </a:pPr>
            <a:r>
              <a:rPr lang="en-US"/>
              <a:t>Edit Master text styles</a:t>
            </a:r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9F9B9C3C-16F2-40B2-A460-0480520ECF8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451378" y="5506678"/>
            <a:ext cx="5289245" cy="316838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lang="en-US" sz="1598" dirty="0" smtClean="0">
                <a:solidFill>
                  <a:srgbClr val="FFE600"/>
                </a:solidFill>
                <a:latin typeface="+mn-lt"/>
              </a:defRPr>
            </a:lvl1pPr>
          </a:lstStyle>
          <a:p>
            <a:pPr marL="356260" lvl="0" indent="-356260" algn="ctr">
              <a:spcBef>
                <a:spcPts val="0"/>
              </a:spcBef>
              <a:spcAft>
                <a:spcPts val="600"/>
              </a:spcAft>
            </a:pPr>
            <a:r>
              <a:rPr lang="en-US"/>
              <a:t>Name Surname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8E04541C-CC5D-4455-8271-73223AE0A88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451378" y="5818717"/>
            <a:ext cx="5289245" cy="316838"/>
          </a:xfrm>
        </p:spPr>
        <p:txBody>
          <a:bodyPr vert="horz" lIns="0" tIns="0" rIns="0" bIns="0" rtlCol="0" anchor="t" anchorCtr="0">
            <a:noAutofit/>
          </a:bodyPr>
          <a:lstStyle>
            <a:lvl1pPr marL="0" indent="0" algn="ctr">
              <a:buNone/>
              <a:defRPr lang="en-US" sz="1598" dirty="0" smtClean="0">
                <a:latin typeface="+mn-lt"/>
              </a:defRPr>
            </a:lvl1pPr>
          </a:lstStyle>
          <a:p>
            <a:pPr marL="356260" lvl="0" indent="-356260" algn="ctr">
              <a:spcBef>
                <a:spcPts val="0"/>
              </a:spcBef>
              <a:spcAft>
                <a:spcPts val="600"/>
              </a:spcAft>
            </a:pPr>
            <a:r>
              <a:rPr lang="en-US"/>
              <a:t>Job Title</a:t>
            </a:r>
          </a:p>
        </p:txBody>
      </p:sp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FBD672D3-B116-471A-8511-D80D5D920D93}"/>
              </a:ext>
            </a:extLst>
          </p:cNvPr>
          <p:cNvSpPr txBox="1">
            <a:spLocks/>
          </p:cNvSpPr>
          <p:nvPr userDrawn="1"/>
        </p:nvSpPr>
        <p:spPr>
          <a:xfrm>
            <a:off x="4927415" y="979790"/>
            <a:ext cx="2337171" cy="8826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GB" sz="11188" dirty="0">
                <a:solidFill>
                  <a:schemeClr val="tx2"/>
                </a:solidFill>
                <a:latin typeface="Georgia" panose="02040502050405020303" pitchFamily="18" charset="0"/>
              </a:rPr>
              <a:t>“ </a:t>
            </a:r>
          </a:p>
        </p:txBody>
      </p:sp>
    </p:spTree>
    <p:extLst>
      <p:ext uri="{BB962C8B-B14F-4D97-AF65-F5344CB8AC3E}">
        <p14:creationId xmlns:p14="http://schemas.microsoft.com/office/powerpoint/2010/main" val="1260194167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11">
            <a:extLst>
              <a:ext uri="{FF2B5EF4-FFF2-40B4-BE49-F238E27FC236}">
                <a16:creationId xmlns:a16="http://schemas.microsoft.com/office/drawing/2014/main" id="{8F291EB0-15F5-4E9A-A38B-CE3AC1452E21}"/>
              </a:ext>
            </a:extLst>
          </p:cNvPr>
          <p:cNvSpPr txBox="1">
            <a:spLocks/>
          </p:cNvSpPr>
          <p:nvPr userDrawn="1"/>
        </p:nvSpPr>
        <p:spPr>
          <a:xfrm>
            <a:off x="477102" y="1488927"/>
            <a:ext cx="2337171" cy="858838"/>
          </a:xfrm>
          <a:prstGeom prst="rect">
            <a:avLst/>
          </a:prstGeom>
        </p:spPr>
        <p:txBody>
          <a:bodyPr/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11188" dirty="0">
                <a:solidFill>
                  <a:schemeClr val="tx2"/>
                </a:solidFill>
                <a:latin typeface="Georgia" panose="02040502050405020303" pitchFamily="18" charset="0"/>
              </a:rPr>
              <a:t>“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B5D2AC0-B4F7-4455-9AE0-201966050A6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13084" y="2526765"/>
            <a:ext cx="5289245" cy="1800000"/>
          </a:xfrm>
        </p:spPr>
        <p:txBody>
          <a:bodyPr lIns="90000" tIns="46800" rIns="90000" bIns="46800"/>
          <a:lstStyle>
            <a:lvl1pPr marL="0" indent="0">
              <a:buNone/>
              <a:defRPr lang="en-US" sz="2798" dirty="0" smtClean="0">
                <a:latin typeface="Georgia" panose="02040502050405020303" pitchFamily="18" charset="0"/>
              </a:defRPr>
            </a:lvl1pPr>
          </a:lstStyle>
          <a:p>
            <a:pPr marL="356260" lvl="0" indent="-356260">
              <a:spcBef>
                <a:spcPts val="0"/>
              </a:spcBef>
            </a:pPr>
            <a:r>
              <a:rPr lang="en-US"/>
              <a:t>Edit Master text styles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F1BA83A2-78F0-4F7E-836B-9B4B87820F9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3084" y="4632765"/>
            <a:ext cx="5289245" cy="316838"/>
          </a:xfrm>
        </p:spPr>
        <p:txBody>
          <a:bodyPr lIns="90000" tIns="46800" rIns="90000" bIns="46800"/>
          <a:lstStyle>
            <a:lvl1pPr marL="0" indent="0" algn="l" defTabSz="913486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70000"/>
              <a:buFont typeface="Arial" pitchFamily="34" charset="0"/>
              <a:buNone/>
              <a:defRPr lang="en-US" sz="1598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56260" indent="0">
              <a:buNone/>
              <a:defRPr lang="en-US" sz="1998" smtClean="0">
                <a:latin typeface="+mn-lt"/>
              </a:defRPr>
            </a:lvl2pPr>
            <a:lvl3pPr>
              <a:defRPr lang="en-US" sz="1798" smtClean="0">
                <a:latin typeface="+mn-lt"/>
              </a:defRPr>
            </a:lvl3pPr>
            <a:lvl4pPr>
              <a:defRPr lang="en-US" sz="1598" smtClean="0">
                <a:latin typeface="+mn-lt"/>
              </a:defRPr>
            </a:lvl4pPr>
            <a:lvl5pPr>
              <a:defRPr lang="en-IN" sz="1598">
                <a:latin typeface="+mn-lt"/>
              </a:defRPr>
            </a:lvl5pPr>
          </a:lstStyle>
          <a:p>
            <a:pPr marL="0" lvl="0" indent="0">
              <a:spcBef>
                <a:spcPts val="0"/>
              </a:spcBef>
              <a:buNone/>
            </a:pPr>
            <a:r>
              <a:rPr lang="en-US"/>
              <a:t>Name Surname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034CE9DD-CE12-4D9F-8FD6-A2522F36C8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13084" y="4971442"/>
            <a:ext cx="5289245" cy="316838"/>
          </a:xfrm>
        </p:spPr>
        <p:txBody>
          <a:bodyPr lIns="90000" tIns="46800" rIns="90000" bIns="46800"/>
          <a:lstStyle>
            <a:lvl1pPr marL="0" indent="0" algn="l" defTabSz="913486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70000"/>
              <a:buFont typeface="Arial" pitchFamily="34" charset="0"/>
              <a:buNone/>
              <a:defRPr lang="en-US" sz="1598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56260" indent="0">
              <a:buNone/>
              <a:defRPr lang="en-US" sz="1998" smtClean="0">
                <a:latin typeface="+mn-lt"/>
              </a:defRPr>
            </a:lvl2pPr>
            <a:lvl3pPr>
              <a:defRPr lang="en-US" sz="1798" smtClean="0">
                <a:latin typeface="+mn-lt"/>
              </a:defRPr>
            </a:lvl3pPr>
            <a:lvl4pPr>
              <a:defRPr lang="en-US" sz="1598" smtClean="0">
                <a:latin typeface="+mn-lt"/>
              </a:defRPr>
            </a:lvl4pPr>
            <a:lvl5pPr>
              <a:defRPr lang="en-IN" sz="1598">
                <a:latin typeface="+mn-lt"/>
              </a:defRPr>
            </a:lvl5pPr>
          </a:lstStyle>
          <a:p>
            <a:pPr marL="0" lvl="0" indent="0">
              <a:spcBef>
                <a:spcPts val="0"/>
              </a:spcBef>
              <a:buNone/>
            </a:pPr>
            <a:r>
              <a:rPr lang="en-US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324266558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andard slide_no_first_level_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2" y="294200"/>
            <a:ext cx="10972800" cy="590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2" y="1137920"/>
            <a:ext cx="8234455" cy="483480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356260">
              <a:defRPr>
                <a:solidFill>
                  <a:schemeClr val="bg1"/>
                </a:solidFill>
              </a:defRPr>
            </a:lvl2pPr>
            <a:lvl3pPr marL="712519">
              <a:defRPr>
                <a:solidFill>
                  <a:schemeClr val="bg1"/>
                </a:solidFill>
              </a:defRPr>
            </a:lvl3pPr>
            <a:lvl4pPr marL="1068778">
              <a:defRPr>
                <a:solidFill>
                  <a:schemeClr val="bg1"/>
                </a:solidFill>
              </a:defRPr>
            </a:lvl4pPr>
            <a:lvl5pPr marL="1425038">
              <a:defRPr sz="1198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Line 10">
            <a:extLst>
              <a:ext uri="{FF2B5EF4-FFF2-40B4-BE49-F238E27FC236}">
                <a16:creationId xmlns:a16="http://schemas.microsoft.com/office/drawing/2014/main" id="{8D4CA674-C969-4C5C-9EA4-6D41FE961DE2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601" y="907750"/>
            <a:ext cx="10974284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8" noProof="0" dirty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7DAEB49-9ADD-490C-B904-979B3953B8C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FB490B-7BF8-4509-9F0D-5A2D3FE1A9A1}" type="datetime3">
              <a:rPr lang="en-US" smtClean="0"/>
              <a:t>5 August 2022</a:t>
            </a:fld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6528C68-2511-4745-B448-A5AA41E7BFE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Presentation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B5C8157-0191-4E69-819F-DB44376867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898189797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, no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2" y="294200"/>
            <a:ext cx="10972800" cy="59088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Line 10">
            <a:extLst>
              <a:ext uri="{FF2B5EF4-FFF2-40B4-BE49-F238E27FC236}">
                <a16:creationId xmlns:a16="http://schemas.microsoft.com/office/drawing/2014/main" id="{97A26880-8DD7-4A78-ADAF-91ED2E744A7C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601" y="907750"/>
            <a:ext cx="10974284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8" noProof="0" dirty="0">
              <a:solidFill>
                <a:schemeClr val="bg1"/>
              </a:solidFill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B88B559-CD59-4D3D-87C0-5D51BCF9B7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DC6652-D330-42A9-B2DB-FD7DBFE6E7CE}" type="datetime3">
              <a:rPr lang="en-US" smtClean="0"/>
              <a:t>5 August 2022</a:t>
            </a:fld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36FB98F-FBCE-4F2C-978B-A5576B5774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Presentation tit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1A95690-F0A7-4101-82DB-B17CE6B7A4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909137366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lumns, no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2" y="294200"/>
            <a:ext cx="10972800" cy="59088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1" y="1137919"/>
            <a:ext cx="5384800" cy="4834800"/>
          </a:xfrm>
        </p:spPr>
        <p:txBody>
          <a:bodyPr/>
          <a:lstStyle>
            <a:lvl1pPr>
              <a:defRPr sz="1998">
                <a:solidFill>
                  <a:schemeClr val="bg1"/>
                </a:solidFill>
              </a:defRPr>
            </a:lvl1pPr>
            <a:lvl2pPr>
              <a:defRPr sz="1798">
                <a:solidFill>
                  <a:schemeClr val="bg1"/>
                </a:solidFill>
              </a:defRPr>
            </a:lvl2pPr>
            <a:lvl3pPr>
              <a:defRPr sz="1598">
                <a:solidFill>
                  <a:schemeClr val="bg1"/>
                </a:solidFill>
              </a:defRPr>
            </a:lvl3pPr>
            <a:lvl4pPr>
              <a:defRPr sz="1398">
                <a:solidFill>
                  <a:schemeClr val="bg1"/>
                </a:solidFill>
              </a:defRPr>
            </a:lvl4pPr>
            <a:lvl5pPr>
              <a:defRPr sz="1198">
                <a:solidFill>
                  <a:schemeClr val="bg1"/>
                </a:solidFill>
              </a:defRPr>
            </a:lvl5pPr>
            <a:lvl6pPr>
              <a:defRPr sz="1798"/>
            </a:lvl6pPr>
            <a:lvl7pPr>
              <a:defRPr sz="1798"/>
            </a:lvl7pPr>
            <a:lvl8pPr>
              <a:defRPr sz="1798"/>
            </a:lvl8pPr>
            <a:lvl9pPr>
              <a:defRPr sz="1798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2" y="1137919"/>
            <a:ext cx="5384800" cy="4834800"/>
          </a:xfrm>
        </p:spPr>
        <p:txBody>
          <a:bodyPr/>
          <a:lstStyle>
            <a:lvl1pPr>
              <a:defRPr sz="1998">
                <a:solidFill>
                  <a:schemeClr val="bg1"/>
                </a:solidFill>
              </a:defRPr>
            </a:lvl1pPr>
            <a:lvl2pPr>
              <a:defRPr sz="1798">
                <a:solidFill>
                  <a:schemeClr val="bg1"/>
                </a:solidFill>
              </a:defRPr>
            </a:lvl2pPr>
            <a:lvl3pPr>
              <a:defRPr sz="1598">
                <a:solidFill>
                  <a:schemeClr val="bg1"/>
                </a:solidFill>
              </a:defRPr>
            </a:lvl3pPr>
            <a:lvl4pPr>
              <a:defRPr sz="1398">
                <a:solidFill>
                  <a:schemeClr val="bg1"/>
                </a:solidFill>
              </a:defRPr>
            </a:lvl4pPr>
            <a:lvl5pPr>
              <a:defRPr sz="1198">
                <a:solidFill>
                  <a:schemeClr val="bg1"/>
                </a:solidFill>
              </a:defRPr>
            </a:lvl5pPr>
            <a:lvl6pPr>
              <a:defRPr sz="1798"/>
            </a:lvl6pPr>
            <a:lvl7pPr>
              <a:defRPr sz="1798"/>
            </a:lvl7pPr>
            <a:lvl8pPr>
              <a:defRPr sz="1798"/>
            </a:lvl8pPr>
            <a:lvl9pPr>
              <a:defRPr sz="1798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Line 10">
            <a:extLst>
              <a:ext uri="{FF2B5EF4-FFF2-40B4-BE49-F238E27FC236}">
                <a16:creationId xmlns:a16="http://schemas.microsoft.com/office/drawing/2014/main" id="{9B070B28-7AAC-47E5-9EB5-96B8B8B88057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601" y="907750"/>
            <a:ext cx="10974284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8" noProof="0" dirty="0">
              <a:solidFill>
                <a:schemeClr val="bg1"/>
              </a:solidFill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20B9B26-E95B-4DC1-A613-4C0C0933C72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48B339-892E-45B1-8EC6-9663C993893D}" type="datetime3">
              <a:rPr lang="en-US" smtClean="0"/>
              <a:t>5 August 2022</a:t>
            </a:fld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D7373D8-2AB5-4625-822C-B1F2B5CDC39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Presentation titl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76E3B4B-D68B-4AFA-A20D-2ECE69120F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642796595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with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12329" y="1869443"/>
            <a:ext cx="5390400" cy="4256075"/>
          </a:xfrm>
        </p:spPr>
        <p:txBody>
          <a:bodyPr/>
          <a:lstStyle>
            <a:lvl1pPr>
              <a:defRPr sz="1998">
                <a:solidFill>
                  <a:schemeClr val="bg1"/>
                </a:solidFill>
              </a:defRPr>
            </a:lvl1pPr>
            <a:lvl2pPr>
              <a:defRPr sz="1798">
                <a:solidFill>
                  <a:schemeClr val="bg1"/>
                </a:solidFill>
              </a:defRPr>
            </a:lvl2pPr>
            <a:lvl3pPr>
              <a:defRPr sz="1598">
                <a:solidFill>
                  <a:schemeClr val="bg1"/>
                </a:solidFill>
              </a:defRPr>
            </a:lvl3pPr>
            <a:lvl4pPr>
              <a:defRPr sz="1398">
                <a:solidFill>
                  <a:schemeClr val="bg1"/>
                </a:solidFill>
              </a:defRPr>
            </a:lvl4pPr>
            <a:lvl5pPr>
              <a:defRPr sz="1198">
                <a:solidFill>
                  <a:schemeClr val="bg1"/>
                </a:solidFill>
              </a:defRPr>
            </a:lvl5pPr>
            <a:lvl6pPr>
              <a:defRPr sz="1798"/>
            </a:lvl6pPr>
            <a:lvl7pPr>
              <a:defRPr sz="1798"/>
            </a:lvl7pPr>
            <a:lvl8pPr>
              <a:defRPr sz="1798"/>
            </a:lvl8pPr>
            <a:lvl9pPr>
              <a:defRPr sz="1798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6405" y="1869443"/>
            <a:ext cx="5390400" cy="4256075"/>
          </a:xfrm>
        </p:spPr>
        <p:txBody>
          <a:bodyPr/>
          <a:lstStyle>
            <a:lvl1pPr>
              <a:defRPr sz="1998">
                <a:solidFill>
                  <a:schemeClr val="bg1"/>
                </a:solidFill>
              </a:defRPr>
            </a:lvl1pPr>
            <a:lvl2pPr>
              <a:defRPr sz="1798">
                <a:solidFill>
                  <a:schemeClr val="bg1"/>
                </a:solidFill>
              </a:defRPr>
            </a:lvl2pPr>
            <a:lvl3pPr>
              <a:defRPr sz="1598">
                <a:solidFill>
                  <a:schemeClr val="bg1"/>
                </a:solidFill>
              </a:defRPr>
            </a:lvl3pPr>
            <a:lvl4pPr>
              <a:defRPr sz="1398">
                <a:solidFill>
                  <a:schemeClr val="bg1"/>
                </a:solidFill>
              </a:defRPr>
            </a:lvl4pPr>
            <a:lvl5pPr>
              <a:defRPr sz="1198">
                <a:solidFill>
                  <a:schemeClr val="bg1"/>
                </a:solidFill>
              </a:defRPr>
            </a:lvl5pPr>
            <a:lvl6pPr>
              <a:defRPr sz="1798"/>
            </a:lvl6pPr>
            <a:lvl7pPr>
              <a:defRPr sz="1798"/>
            </a:lvl7pPr>
            <a:lvl8pPr>
              <a:defRPr sz="1798"/>
            </a:lvl8pPr>
            <a:lvl9pPr>
              <a:defRPr sz="1798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609601" y="1137920"/>
            <a:ext cx="5390400" cy="640800"/>
          </a:xfrm>
        </p:spPr>
        <p:txBody>
          <a:bodyPr anchor="t" anchorCtr="0"/>
          <a:lstStyle>
            <a:lvl1pPr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196405" y="1137920"/>
            <a:ext cx="5390400" cy="640800"/>
          </a:xfrm>
        </p:spPr>
        <p:txBody>
          <a:bodyPr anchor="t" anchorCtr="0"/>
          <a:lstStyle>
            <a:lvl1pPr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2" y="294200"/>
            <a:ext cx="10972800" cy="59088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Line 10">
            <a:extLst>
              <a:ext uri="{FF2B5EF4-FFF2-40B4-BE49-F238E27FC236}">
                <a16:creationId xmlns:a16="http://schemas.microsoft.com/office/drawing/2014/main" id="{9773E7D9-2434-4381-A00D-27B62C086733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601" y="907750"/>
            <a:ext cx="10974284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8" noProof="0" dirty="0">
              <a:solidFill>
                <a:schemeClr val="bg1"/>
              </a:solidFill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09FCCF0-19BC-4024-9BCA-E14DB77EAF2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53C96D42-85A7-4FB8-81C2-A76989CD2C0B}" type="datetime3">
              <a:rPr lang="en-US" smtClean="0"/>
              <a:t>5 August 2022</a:t>
            </a:fld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2B54F7E-BDC4-4386-B2E2-1FC66609D14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dirty="0"/>
              <a:t>Presentation titl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94FBF9A-EC9A-41E4-A24C-ECB5DC15CCD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GB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274995986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2344F6A-D6D0-4CE3-8495-873C004D38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59601614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cused da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139B669-D18F-448E-A005-0A353671C9C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39BF9A-0D1B-456C-90FD-7DD4E43985FE}" type="datetime3">
              <a:rPr lang="en-US" smtClean="0"/>
              <a:t>5 August 2022</a:t>
            </a:fld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7031300-352D-4FEE-9216-28FB241372A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Presentation tit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AADEB71-FD7D-4974-99DD-0F48E04667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853273357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570B882-5FC5-4C48-9562-890886DDEDF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8A09A2-12AE-4A08-9E31-994E3910808B}" type="datetime3">
              <a:rPr lang="en-US" smtClean="0"/>
              <a:t>5 August 2022</a:t>
            </a:fld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92E7899-FE60-4FDA-8608-58147D0918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Presentation tit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AA32B5C-3285-477F-B755-A6F2F0F4D3A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8136753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37416E9-5919-4213-81D7-5E74B3B61EA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D55BA1-5616-41A0-A230-900CC53918C9}" type="datetime3">
              <a:rPr lang="en-US" smtClean="0"/>
              <a:t>5 August 2022</a:t>
            </a:fld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BDFF1B2-A745-40FB-B885-B3638A4F417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Presentation tit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DC9AD96-7B7E-4E05-90E8-1F98943B07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00129252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E28D7EA5-A532-4D8B-9984-8F3D1FEA98D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451378" y="2060235"/>
            <a:ext cx="5289245" cy="3025522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lang="en-US" sz="2799" dirty="0" smtClean="0">
                <a:latin typeface="Georgia" panose="02040502050405020303" pitchFamily="18" charset="0"/>
              </a:defRPr>
            </a:lvl1pPr>
          </a:lstStyle>
          <a:p>
            <a:pPr marL="356438" lvl="0" indent="-356438" algn="ctr">
              <a:spcBef>
                <a:spcPts val="0"/>
              </a:spcBef>
            </a:pPr>
            <a:r>
              <a:rPr lang="en-US" dirty="0"/>
              <a:t>Edit Master text styles</a:t>
            </a:r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9F9B9C3C-16F2-40B2-A460-0480520ECF8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451378" y="5506678"/>
            <a:ext cx="5289245" cy="316838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lang="en-US" sz="1599" dirty="0" smtClean="0">
                <a:solidFill>
                  <a:srgbClr val="2E2E38"/>
                </a:solidFill>
                <a:latin typeface="+mn-lt"/>
              </a:defRPr>
            </a:lvl1pPr>
          </a:lstStyle>
          <a:p>
            <a:pPr marL="356438" lvl="0" indent="-356438" algn="ctr">
              <a:spcBef>
                <a:spcPts val="0"/>
              </a:spcBef>
              <a:spcAft>
                <a:spcPts val="600"/>
              </a:spcAft>
            </a:pPr>
            <a:r>
              <a:rPr lang="en-US" dirty="0"/>
              <a:t>Name Surname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8E04541C-CC5D-4455-8271-73223AE0A88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451378" y="5818717"/>
            <a:ext cx="5289245" cy="316838"/>
          </a:xfrm>
        </p:spPr>
        <p:txBody>
          <a:bodyPr vert="horz" lIns="0" tIns="0" rIns="0" bIns="0" rtlCol="0" anchor="t" anchorCtr="0">
            <a:noAutofit/>
          </a:bodyPr>
          <a:lstStyle>
            <a:lvl1pPr marL="0" indent="0" algn="ctr">
              <a:buNone/>
              <a:defRPr lang="en-US" sz="1599" dirty="0" smtClean="0">
                <a:solidFill>
                  <a:srgbClr val="2E2E38"/>
                </a:solidFill>
                <a:latin typeface="+mn-lt"/>
              </a:defRPr>
            </a:lvl1pPr>
          </a:lstStyle>
          <a:p>
            <a:pPr marL="356438" lvl="0" indent="-356438" algn="ctr">
              <a:spcBef>
                <a:spcPts val="0"/>
              </a:spcBef>
              <a:spcAft>
                <a:spcPts val="600"/>
              </a:spcAft>
            </a:pPr>
            <a:r>
              <a:rPr lang="en-US" dirty="0"/>
              <a:t>Job Title</a:t>
            </a:r>
          </a:p>
        </p:txBody>
      </p:sp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FBD672D3-B116-471A-8511-D80D5D920D93}"/>
              </a:ext>
            </a:extLst>
          </p:cNvPr>
          <p:cNvSpPr txBox="1">
            <a:spLocks/>
          </p:cNvSpPr>
          <p:nvPr userDrawn="1"/>
        </p:nvSpPr>
        <p:spPr>
          <a:xfrm>
            <a:off x="4927415" y="979788"/>
            <a:ext cx="2337171" cy="8826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GB" sz="11194" dirty="0">
                <a:solidFill>
                  <a:schemeClr val="tx2"/>
                </a:solidFill>
                <a:latin typeface="Georgia" panose="02040502050405020303" pitchFamily="18" charset="0"/>
              </a:rPr>
              <a:t>“ </a:t>
            </a:r>
          </a:p>
        </p:txBody>
      </p:sp>
    </p:spTree>
    <p:extLst>
      <p:ext uri="{BB962C8B-B14F-4D97-AF65-F5344CB8AC3E}">
        <p14:creationId xmlns:p14="http://schemas.microsoft.com/office/powerpoint/2010/main" val="4224251438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07706057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edia Placeholder 2">
            <a:extLst>
              <a:ext uri="{FF2B5EF4-FFF2-40B4-BE49-F238E27FC236}">
                <a16:creationId xmlns:a16="http://schemas.microsoft.com/office/drawing/2014/main" id="{0052CFA6-7CF5-41BD-9D94-2D0DAE108428}"/>
              </a:ext>
            </a:extLst>
          </p:cNvPr>
          <p:cNvSpPr>
            <a:spLocks noGrp="1"/>
          </p:cNvSpPr>
          <p:nvPr>
            <p:ph type="media" sz="quarter" idx="10" hasCustomPrompt="1"/>
          </p:nvPr>
        </p:nvSpPr>
        <p:spPr>
          <a:xfrm>
            <a:off x="0" y="0"/>
            <a:ext cx="12192000" cy="6858000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IN" dirty="0"/>
              <a:t>Video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11B3654-4C35-482F-B580-02C23F975B9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ECB31890-3905-4699-8A54-4A643E2FBD12}" type="datetime3">
              <a:rPr lang="en-US" smtClean="0"/>
              <a:t>5 August 2022</a:t>
            </a:fld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62EFEC5-10C4-4E79-B06E-F14B8F305F91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/>
              <a:t>Presentation tit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CC05763-C066-4818-A1DF-64ED4D64BE2E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en-GB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384660885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nal leg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AC129049-E3D5-4C0A-BB1F-72BEDB1FB59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74" y="0"/>
            <a:ext cx="12185653" cy="6858000"/>
          </a:xfrm>
          <a:prstGeom prst="rect">
            <a:avLst/>
          </a:prstGeom>
        </p:spPr>
      </p:pic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607483" y="719139"/>
            <a:ext cx="4675200" cy="5210062"/>
          </a:xfrm>
        </p:spPr>
        <p:txBody>
          <a:bodyPr/>
          <a:lstStyle>
            <a:lvl1pPr marL="0" indent="0" algn="l" defTabSz="994368" rtl="0" fontAlgn="base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SzPct val="100000"/>
              <a:buNone/>
              <a:defRPr lang="en-US" sz="1198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1pPr>
            <a:lvl2pPr marL="0" indent="0" algn="l" defTabSz="994368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900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2pPr>
            <a:lvl3pPr marL="176037" indent="-176037" algn="l" defTabSz="994368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900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3pPr>
            <a:lvl4pPr marL="0" indent="0" algn="l" defTabSz="994368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8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4pPr>
            <a:lvl5pPr marL="188725" indent="-188725" algn="l" defTabSz="994368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800" kern="1200" noProof="0" dirty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74017179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inal leg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Content Placeholder 3">
            <a:extLst>
              <a:ext uri="{FF2B5EF4-FFF2-40B4-BE49-F238E27FC236}">
                <a16:creationId xmlns:a16="http://schemas.microsoft.com/office/drawing/2014/main" id="{501A2F11-32A0-4526-A5F7-F4382DA5B47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50" y="0"/>
            <a:ext cx="12185653" cy="6858000"/>
          </a:xfrm>
          <a:prstGeom prst="rect">
            <a:avLst/>
          </a:prstGeom>
        </p:spPr>
      </p:pic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607483" y="719139"/>
            <a:ext cx="4675200" cy="5210062"/>
          </a:xfrm>
        </p:spPr>
        <p:txBody>
          <a:bodyPr/>
          <a:lstStyle>
            <a:lvl1pPr marL="0" indent="0" algn="l" defTabSz="994368" rtl="0" fontAlgn="base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SzPct val="100000"/>
              <a:buNone/>
              <a:defRPr lang="en-US" sz="1198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1pPr>
            <a:lvl2pPr marL="0" indent="0" algn="l" defTabSz="994368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900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2pPr>
            <a:lvl3pPr marL="176037" indent="-176037" algn="l" defTabSz="994368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900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3pPr>
            <a:lvl4pPr marL="0" indent="0" algn="l" defTabSz="994368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8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4pPr>
            <a:lvl5pPr marL="188725" indent="-188725" algn="l" defTabSz="994368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800" kern="1200" noProof="0" dirty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1793687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Final leg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E83BDE2E-2BCF-4140-945E-7D5610CDE4C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50" y="0"/>
            <a:ext cx="12185658" cy="6858000"/>
          </a:xfrm>
          <a:prstGeom prst="rect">
            <a:avLst/>
          </a:prstGeom>
        </p:spPr>
      </p:pic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607483" y="719139"/>
            <a:ext cx="4675200" cy="5210062"/>
          </a:xfrm>
        </p:spPr>
        <p:txBody>
          <a:bodyPr/>
          <a:lstStyle>
            <a:lvl1pPr marL="0" indent="0" algn="l" defTabSz="994368" rtl="0" fontAlgn="base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SzPct val="100000"/>
              <a:buNone/>
              <a:defRPr lang="en-US" sz="1198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1pPr>
            <a:lvl2pPr marL="0" indent="0" algn="l" defTabSz="994368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900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2pPr>
            <a:lvl3pPr marL="176037" indent="-176037" algn="l" defTabSz="994368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900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3pPr>
            <a:lvl4pPr marL="0" indent="0" algn="l" defTabSz="994368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8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4pPr>
            <a:lvl5pPr marL="188725" indent="-188725" algn="l" defTabSz="994368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800" kern="1200" noProof="0" dirty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37290782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02160472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56">
            <a:extLst>
              <a:ext uri="{FF2B5EF4-FFF2-40B4-BE49-F238E27FC236}">
                <a16:creationId xmlns:a16="http://schemas.microsoft.com/office/drawing/2014/main" id="{13A7AC18-CF42-4EC5-8D40-441EAE30A06C}"/>
              </a:ext>
            </a:extLst>
          </p:cNvPr>
          <p:cNvSpPr/>
          <p:nvPr userDrawn="1"/>
        </p:nvSpPr>
        <p:spPr>
          <a:xfrm>
            <a:off x="497857" y="795662"/>
            <a:ext cx="4927845" cy="3581484"/>
          </a:xfrm>
          <a:custGeom>
            <a:avLst/>
            <a:gdLst>
              <a:gd name="connsiteX0" fmla="*/ 4238387 w 4257675"/>
              <a:gd name="connsiteY0" fmla="*/ 0 h 3092804"/>
              <a:gd name="connsiteX1" fmla="*/ 4257675 w 4257675"/>
              <a:gd name="connsiteY1" fmla="*/ 0 h 3092804"/>
              <a:gd name="connsiteX2" fmla="*/ 4257675 w 4257675"/>
              <a:gd name="connsiteY2" fmla="*/ 3092804 h 3092804"/>
              <a:gd name="connsiteX3" fmla="*/ 0 w 4257675"/>
              <a:gd name="connsiteY3" fmla="*/ 3092804 h 3092804"/>
              <a:gd name="connsiteX4" fmla="*/ 0 w 4257675"/>
              <a:gd name="connsiteY4" fmla="*/ 747342 h 30928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7675" h="3092804">
                <a:moveTo>
                  <a:pt x="4238387" y="0"/>
                </a:moveTo>
                <a:lnTo>
                  <a:pt x="4257675" y="0"/>
                </a:lnTo>
                <a:lnTo>
                  <a:pt x="4257675" y="3092804"/>
                </a:lnTo>
                <a:lnTo>
                  <a:pt x="0" y="3092804"/>
                </a:lnTo>
                <a:lnTo>
                  <a:pt x="0" y="747342"/>
                </a:lnTo>
                <a:close/>
              </a:path>
            </a:pathLst>
          </a:custGeom>
          <a:solidFill>
            <a:srgbClr val="FFE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 dirty="0"/>
          </a:p>
        </p:txBody>
      </p:sp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775100" y="1954221"/>
            <a:ext cx="4326679" cy="979702"/>
          </a:xfrm>
        </p:spPr>
        <p:txBody>
          <a:bodyPr/>
          <a:lstStyle>
            <a:lvl1pPr>
              <a:defRPr sz="2998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2" name="Subtitle 2"/>
          <p:cNvSpPr>
            <a:spLocks noGrp="1"/>
          </p:cNvSpPr>
          <p:nvPr>
            <p:ph type="subTitle" idx="1"/>
          </p:nvPr>
        </p:nvSpPr>
        <p:spPr>
          <a:xfrm>
            <a:off x="775100" y="3046161"/>
            <a:ext cx="4326679" cy="1046323"/>
          </a:xfrm>
        </p:spPr>
        <p:txBody>
          <a:bodyPr/>
          <a:lstStyle>
            <a:lvl1pPr marL="0" indent="0" algn="l">
              <a:spcAft>
                <a:spcPts val="1198"/>
              </a:spcAft>
              <a:buNone/>
              <a:defRPr sz="1998">
                <a:solidFill>
                  <a:schemeClr val="bg1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598" b="1">
                <a:solidFill>
                  <a:srgbClr val="404040"/>
                </a:solidFill>
              </a:defRPr>
            </a:lvl2pPr>
            <a:lvl3pPr marL="9134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2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69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37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04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72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3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GB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F93BD223-2224-476C-AB5C-300C248C1618}"/>
              </a:ext>
            </a:extLst>
          </p:cNvPr>
          <p:cNvCxnSpPr>
            <a:cxnSpLocks/>
          </p:cNvCxnSpPr>
          <p:nvPr userDrawn="1"/>
        </p:nvCxnSpPr>
        <p:spPr>
          <a:xfrm>
            <a:off x="1332491" y="5709060"/>
            <a:ext cx="8117873" cy="0"/>
          </a:xfrm>
          <a:prstGeom prst="line">
            <a:avLst/>
          </a:prstGeom>
          <a:ln>
            <a:solidFill>
              <a:srgbClr val="82829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651B4C43-E5F8-400E-A971-58A3766B1BF0}"/>
              </a:ext>
            </a:extLst>
          </p:cNvPr>
          <p:cNvSpPr txBox="1"/>
          <p:nvPr userDrawn="1"/>
        </p:nvSpPr>
        <p:spPr>
          <a:xfrm>
            <a:off x="461745" y="5605203"/>
            <a:ext cx="1044529" cy="197581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r>
              <a:rPr lang="en-GB" sz="1198" dirty="0">
                <a:solidFill>
                  <a:srgbClr val="828290"/>
                </a:solidFill>
                <a:latin typeface="EYInterstate Light" panose="02000506000000020004" pitchFamily="2" charset="0"/>
              </a:rPr>
              <a:t>Written by</a:t>
            </a:r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A9465B6B-DFD4-4E0C-9ACE-E88CA22204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332491" y="6019189"/>
            <a:ext cx="3087667" cy="180000"/>
          </a:xfrm>
        </p:spPr>
        <p:txBody>
          <a:bodyPr/>
          <a:lstStyle>
            <a:lvl1pPr marL="0" indent="0">
              <a:buNone/>
              <a:defRPr sz="1198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Name Surname</a:t>
            </a:r>
            <a:endParaRPr lang="en-GB"/>
          </a:p>
        </p:txBody>
      </p:sp>
      <p:sp>
        <p:nvSpPr>
          <p:cNvPr id="13" name="Text Placeholder 16">
            <a:extLst>
              <a:ext uri="{FF2B5EF4-FFF2-40B4-BE49-F238E27FC236}">
                <a16:creationId xmlns:a16="http://schemas.microsoft.com/office/drawing/2014/main" id="{A1F2ED22-5637-4AB8-ABD8-3693A6EA55F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332491" y="6216807"/>
            <a:ext cx="3087667" cy="180000"/>
          </a:xfrm>
        </p:spPr>
        <p:txBody>
          <a:bodyPr/>
          <a:lstStyle>
            <a:lvl1pPr marL="0" indent="0">
              <a:buNone/>
              <a:defRPr sz="1198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Job Title</a:t>
            </a:r>
            <a:endParaRPr lang="en-GB"/>
          </a:p>
        </p:txBody>
      </p:sp>
      <p:sp>
        <p:nvSpPr>
          <p:cNvPr id="14" name="Picture Placeholder 19">
            <a:extLst>
              <a:ext uri="{FF2B5EF4-FFF2-40B4-BE49-F238E27FC236}">
                <a16:creationId xmlns:a16="http://schemas.microsoft.com/office/drawing/2014/main" id="{29A5E1BC-8F6B-43EF-9FF6-8242E7708BD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61743" y="5914642"/>
            <a:ext cx="575700" cy="576000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9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grpSp>
        <p:nvGrpSpPr>
          <p:cNvPr id="2" name="Group 4">
            <a:extLst>
              <a:ext uri="{FF2B5EF4-FFF2-40B4-BE49-F238E27FC236}">
                <a16:creationId xmlns:a16="http://schemas.microsoft.com/office/drawing/2014/main" id="{63F02F42-4916-4588-807F-4BB7367EB0EC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59392" y="4960938"/>
            <a:ext cx="1224912" cy="1435100"/>
            <a:chOff x="6529" y="3125"/>
            <a:chExt cx="772" cy="904"/>
          </a:xfrm>
        </p:grpSpPr>
        <p:sp>
          <p:nvSpPr>
            <p:cNvPr id="4" name="Freeform 5">
              <a:extLst>
                <a:ext uri="{FF2B5EF4-FFF2-40B4-BE49-F238E27FC236}">
                  <a16:creationId xmlns:a16="http://schemas.microsoft.com/office/drawing/2014/main" id="{0BD928C5-1C7D-4599-A7E9-8AB1B188C6A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/>
            </a:p>
          </p:txBody>
        </p:sp>
        <p:sp>
          <p:nvSpPr>
            <p:cNvPr id="5" name="Freeform 6">
              <a:extLst>
                <a:ext uri="{FF2B5EF4-FFF2-40B4-BE49-F238E27FC236}">
                  <a16:creationId xmlns:a16="http://schemas.microsoft.com/office/drawing/2014/main" id="{37C281E8-2924-471F-A849-26C37A059B4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/>
            </a:p>
          </p:txBody>
        </p:sp>
      </p:grpSp>
    </p:spTree>
    <p:extLst>
      <p:ext uri="{BB962C8B-B14F-4D97-AF65-F5344CB8AC3E}">
        <p14:creationId xmlns:p14="http://schemas.microsoft.com/office/powerpoint/2010/main" val="9066275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2">
          <p15:clr>
            <a:srgbClr val="FBAE40"/>
          </p15:clr>
        </p15:guide>
      </p15:sldGuideLst>
    </p:ext>
  </p:extLst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Approved question ta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6" name="Group 185">
            <a:extLst>
              <a:ext uri="{FF2B5EF4-FFF2-40B4-BE49-F238E27FC236}">
                <a16:creationId xmlns:a16="http://schemas.microsoft.com/office/drawing/2014/main" id="{9CDE954B-B280-441B-9B2D-3DC58AAE3926}"/>
              </a:ext>
            </a:extLst>
          </p:cNvPr>
          <p:cNvGrpSpPr/>
          <p:nvPr userDrawn="1"/>
        </p:nvGrpSpPr>
        <p:grpSpPr>
          <a:xfrm>
            <a:off x="497856" y="5826615"/>
            <a:ext cx="3876004" cy="570195"/>
            <a:chOff x="498115" y="5951018"/>
            <a:chExt cx="3878023" cy="570195"/>
          </a:xfrm>
        </p:grpSpPr>
        <p:sp>
          <p:nvSpPr>
            <p:cNvPr id="187" name="Rectangle 186">
              <a:extLst>
                <a:ext uri="{FF2B5EF4-FFF2-40B4-BE49-F238E27FC236}">
                  <a16:creationId xmlns:a16="http://schemas.microsoft.com/office/drawing/2014/main" id="{93D8FAC8-9530-49D4-8284-D35D1B1509D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98115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/>
            </a:p>
          </p:txBody>
        </p:sp>
        <p:sp>
          <p:nvSpPr>
            <p:cNvPr id="188" name="Rectangle 6">
              <a:extLst>
                <a:ext uri="{FF2B5EF4-FFF2-40B4-BE49-F238E27FC236}">
                  <a16:creationId xmlns:a16="http://schemas.microsoft.com/office/drawing/2014/main" id="{FD924F44-93C1-4254-B594-53DB14FD995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9341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/>
            </a:p>
          </p:txBody>
        </p:sp>
        <p:sp>
          <p:nvSpPr>
            <p:cNvPr id="189" name="Rectangle 7">
              <a:extLst>
                <a:ext uri="{FF2B5EF4-FFF2-40B4-BE49-F238E27FC236}">
                  <a16:creationId xmlns:a16="http://schemas.microsoft.com/office/drawing/2014/main" id="{2A2DA425-7935-45A1-B63F-2D14CF8D5F9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9045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/>
            </a:p>
          </p:txBody>
        </p:sp>
        <p:sp>
          <p:nvSpPr>
            <p:cNvPr id="190" name="Freeform 8">
              <a:extLst>
                <a:ext uri="{FF2B5EF4-FFF2-40B4-BE49-F238E27FC236}">
                  <a16:creationId xmlns:a16="http://schemas.microsoft.com/office/drawing/2014/main" id="{91EFF75E-13E7-4E35-B108-D9FD5E9C802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181188"/>
              <a:ext cx="94161" cy="130778"/>
            </a:xfrm>
            <a:custGeom>
              <a:avLst/>
              <a:gdLst>
                <a:gd name="T0" fmla="*/ 32 w 54"/>
                <a:gd name="T1" fmla="*/ 11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1 h 75"/>
                <a:gd name="T8" fmla="*/ 0 w 54"/>
                <a:gd name="T9" fmla="*/ 11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1 h 75"/>
                <a:gd name="T16" fmla="*/ 32 w 54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1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1"/>
                  </a:lnTo>
                  <a:lnTo>
                    <a:pt x="32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191" name="Freeform 9">
              <a:extLst>
                <a:ext uri="{FF2B5EF4-FFF2-40B4-BE49-F238E27FC236}">
                  <a16:creationId xmlns:a16="http://schemas.microsoft.com/office/drawing/2014/main" id="{4411951F-E009-4FE7-B2EC-47771CA8E17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174213"/>
              <a:ext cx="78468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192" name="Freeform 10">
              <a:extLst>
                <a:ext uri="{FF2B5EF4-FFF2-40B4-BE49-F238E27FC236}">
                  <a16:creationId xmlns:a16="http://schemas.microsoft.com/office/drawing/2014/main" id="{B28EE49C-5F5A-49C6-AEB8-6D12DDF344E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193" name="Freeform 11">
              <a:extLst>
                <a:ext uri="{FF2B5EF4-FFF2-40B4-BE49-F238E27FC236}">
                  <a16:creationId xmlns:a16="http://schemas.microsoft.com/office/drawing/2014/main" id="{6E2B7D76-D660-491F-8B04-169C6F138B0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174213"/>
              <a:ext cx="83698" cy="139497"/>
            </a:xfrm>
            <a:custGeom>
              <a:avLst/>
              <a:gdLst>
                <a:gd name="T0" fmla="*/ 33 w 33"/>
                <a:gd name="T1" fmla="*/ 35 h 55"/>
                <a:gd name="T2" fmla="*/ 31 w 33"/>
                <a:gd name="T3" fmla="*/ 44 h 55"/>
                <a:gd name="T4" fmla="*/ 28 w 33"/>
                <a:gd name="T5" fmla="*/ 50 h 55"/>
                <a:gd name="T6" fmla="*/ 23 w 33"/>
                <a:gd name="T7" fmla="*/ 53 h 55"/>
                <a:gd name="T8" fmla="*/ 17 w 33"/>
                <a:gd name="T9" fmla="*/ 55 h 55"/>
                <a:gd name="T10" fmla="*/ 12 w 33"/>
                <a:gd name="T11" fmla="*/ 53 h 55"/>
                <a:gd name="T12" fmla="*/ 8 w 33"/>
                <a:gd name="T13" fmla="*/ 50 h 55"/>
                <a:gd name="T14" fmla="*/ 8 w 33"/>
                <a:gd name="T15" fmla="*/ 54 h 55"/>
                <a:gd name="T16" fmla="*/ 0 w 33"/>
                <a:gd name="T17" fmla="*/ 54 h 55"/>
                <a:gd name="T18" fmla="*/ 0 w 33"/>
                <a:gd name="T19" fmla="*/ 4 h 55"/>
                <a:gd name="T20" fmla="*/ 8 w 33"/>
                <a:gd name="T21" fmla="*/ 0 h 55"/>
                <a:gd name="T22" fmla="*/ 8 w 33"/>
                <a:gd name="T23" fmla="*/ 19 h 55"/>
                <a:gd name="T24" fmla="*/ 10 w 33"/>
                <a:gd name="T25" fmla="*/ 17 h 55"/>
                <a:gd name="T26" fmla="*/ 12 w 33"/>
                <a:gd name="T27" fmla="*/ 16 h 55"/>
                <a:gd name="T28" fmla="*/ 14 w 33"/>
                <a:gd name="T29" fmla="*/ 15 h 55"/>
                <a:gd name="T30" fmla="*/ 18 w 33"/>
                <a:gd name="T31" fmla="*/ 15 h 55"/>
                <a:gd name="T32" fmla="*/ 24 w 33"/>
                <a:gd name="T33" fmla="*/ 16 h 55"/>
                <a:gd name="T34" fmla="*/ 28 w 33"/>
                <a:gd name="T35" fmla="*/ 19 h 55"/>
                <a:gd name="T36" fmla="*/ 31 w 33"/>
                <a:gd name="T37" fmla="*/ 26 h 55"/>
                <a:gd name="T38" fmla="*/ 33 w 33"/>
                <a:gd name="T39" fmla="*/ 35 h 55"/>
                <a:gd name="T40" fmla="*/ 25 w 33"/>
                <a:gd name="T41" fmla="*/ 35 h 55"/>
                <a:gd name="T42" fmla="*/ 23 w 33"/>
                <a:gd name="T43" fmla="*/ 25 h 55"/>
                <a:gd name="T44" fmla="*/ 16 w 33"/>
                <a:gd name="T45" fmla="*/ 22 h 55"/>
                <a:gd name="T46" fmla="*/ 14 w 33"/>
                <a:gd name="T47" fmla="*/ 22 h 55"/>
                <a:gd name="T48" fmla="*/ 11 w 33"/>
                <a:gd name="T49" fmla="*/ 23 h 55"/>
                <a:gd name="T50" fmla="*/ 9 w 33"/>
                <a:gd name="T51" fmla="*/ 25 h 55"/>
                <a:gd name="T52" fmla="*/ 8 w 33"/>
                <a:gd name="T53" fmla="*/ 26 h 55"/>
                <a:gd name="T54" fmla="*/ 8 w 33"/>
                <a:gd name="T55" fmla="*/ 43 h 55"/>
                <a:gd name="T56" fmla="*/ 9 w 33"/>
                <a:gd name="T57" fmla="*/ 44 h 55"/>
                <a:gd name="T58" fmla="*/ 11 w 33"/>
                <a:gd name="T59" fmla="*/ 46 h 55"/>
                <a:gd name="T60" fmla="*/ 14 w 33"/>
                <a:gd name="T61" fmla="*/ 47 h 55"/>
                <a:gd name="T62" fmla="*/ 17 w 33"/>
                <a:gd name="T63" fmla="*/ 48 h 55"/>
                <a:gd name="T64" fmla="*/ 23 w 33"/>
                <a:gd name="T65" fmla="*/ 45 h 55"/>
                <a:gd name="T66" fmla="*/ 25 w 33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5">
                  <a:moveTo>
                    <a:pt x="33" y="35"/>
                  </a:moveTo>
                  <a:cubicBezTo>
                    <a:pt x="33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7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6" y="55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8"/>
                    <a:pt x="10" y="17"/>
                  </a:cubicBezTo>
                  <a:cubicBezTo>
                    <a:pt x="11" y="17"/>
                    <a:pt x="11" y="16"/>
                    <a:pt x="12" y="16"/>
                  </a:cubicBezTo>
                  <a:cubicBezTo>
                    <a:pt x="13" y="16"/>
                    <a:pt x="13" y="15"/>
                    <a:pt x="14" y="15"/>
                  </a:cubicBezTo>
                  <a:cubicBezTo>
                    <a:pt x="15" y="15"/>
                    <a:pt x="16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30" y="21"/>
                    <a:pt x="31" y="23"/>
                    <a:pt x="31" y="26"/>
                  </a:cubicBezTo>
                  <a:cubicBezTo>
                    <a:pt x="32" y="28"/>
                    <a:pt x="33" y="32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5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1" y="23"/>
                    <a:pt x="10" y="24"/>
                    <a:pt x="9" y="25"/>
                  </a:cubicBezTo>
                  <a:cubicBezTo>
                    <a:pt x="9" y="25"/>
                    <a:pt x="8" y="26"/>
                    <a:pt x="8" y="26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8" y="43"/>
                    <a:pt x="9" y="44"/>
                    <a:pt x="9" y="44"/>
                  </a:cubicBezTo>
                  <a:cubicBezTo>
                    <a:pt x="10" y="45"/>
                    <a:pt x="11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6" y="48"/>
                    <a:pt x="17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194" name="Freeform 12">
              <a:extLst>
                <a:ext uri="{FF2B5EF4-FFF2-40B4-BE49-F238E27FC236}">
                  <a16:creationId xmlns:a16="http://schemas.microsoft.com/office/drawing/2014/main" id="{41BE51DE-402B-48B5-99C8-D8BB9A32DF3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195" name="Freeform 13">
              <a:extLst>
                <a:ext uri="{FF2B5EF4-FFF2-40B4-BE49-F238E27FC236}">
                  <a16:creationId xmlns:a16="http://schemas.microsoft.com/office/drawing/2014/main" id="{8D5E878B-8859-44FA-A69D-DCE630AAB0D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1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2" y="54"/>
                    <a:pt x="11" y="54"/>
                  </a:cubicBezTo>
                  <a:cubicBezTo>
                    <a:pt x="10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2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196" name="Freeform 14">
              <a:extLst>
                <a:ext uri="{FF2B5EF4-FFF2-40B4-BE49-F238E27FC236}">
                  <a16:creationId xmlns:a16="http://schemas.microsoft.com/office/drawing/2014/main" id="{08D55808-ECDC-4E9B-84ED-7301E9E716C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197" name="Freeform 15">
              <a:extLst>
                <a:ext uri="{FF2B5EF4-FFF2-40B4-BE49-F238E27FC236}">
                  <a16:creationId xmlns:a16="http://schemas.microsoft.com/office/drawing/2014/main" id="{3436B310-313E-4A53-A70D-CA0D0D97FE7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0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2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0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3" y="31"/>
                    <a:pt x="24" y="30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0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7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198" name="Freeform 16">
              <a:extLst>
                <a:ext uri="{FF2B5EF4-FFF2-40B4-BE49-F238E27FC236}">
                  <a16:creationId xmlns:a16="http://schemas.microsoft.com/office/drawing/2014/main" id="{F3CE55A9-AE55-4169-A58D-8171D9916EC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212575"/>
              <a:ext cx="55799" cy="99391"/>
            </a:xfrm>
            <a:custGeom>
              <a:avLst/>
              <a:gdLst>
                <a:gd name="T0" fmla="*/ 20 w 22"/>
                <a:gd name="T1" fmla="*/ 8 h 39"/>
                <a:gd name="T2" fmla="*/ 18 w 22"/>
                <a:gd name="T3" fmla="*/ 7 h 39"/>
                <a:gd name="T4" fmla="*/ 15 w 22"/>
                <a:gd name="T5" fmla="*/ 7 h 39"/>
                <a:gd name="T6" fmla="*/ 9 w 22"/>
                <a:gd name="T7" fmla="*/ 9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0 h 39"/>
                <a:gd name="T16" fmla="*/ 7 w 22"/>
                <a:gd name="T17" fmla="*/ 0 h 39"/>
                <a:gd name="T18" fmla="*/ 7 w 22"/>
                <a:gd name="T19" fmla="*/ 4 h 39"/>
                <a:gd name="T20" fmla="*/ 9 w 22"/>
                <a:gd name="T21" fmla="*/ 2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0 h 39"/>
                <a:gd name="T30" fmla="*/ 22 w 22"/>
                <a:gd name="T31" fmla="*/ 1 h 39"/>
                <a:gd name="T32" fmla="*/ 20 w 22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2" y="7"/>
                    <a:pt x="10" y="8"/>
                    <a:pt x="9" y="9"/>
                  </a:cubicBezTo>
                  <a:cubicBezTo>
                    <a:pt x="8" y="11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9" y="2"/>
                    <a:pt x="10" y="1"/>
                    <a:pt x="11" y="1"/>
                  </a:cubicBezTo>
                  <a:cubicBezTo>
                    <a:pt x="11" y="0"/>
                    <a:pt x="12" y="0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0"/>
                  </a:cubicBezTo>
                  <a:cubicBezTo>
                    <a:pt x="21" y="0"/>
                    <a:pt x="22" y="1"/>
                    <a:pt x="22" y="1"/>
                  </a:cubicBezTo>
                  <a:lnTo>
                    <a:pt x="20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199" name="Freeform 17">
              <a:extLst>
                <a:ext uri="{FF2B5EF4-FFF2-40B4-BE49-F238E27FC236}">
                  <a16:creationId xmlns:a16="http://schemas.microsoft.com/office/drawing/2014/main" id="{FA01BC48-4605-46FC-A7AC-192C7DBCA0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00" name="Freeform 18">
              <a:extLst>
                <a:ext uri="{FF2B5EF4-FFF2-40B4-BE49-F238E27FC236}">
                  <a16:creationId xmlns:a16="http://schemas.microsoft.com/office/drawing/2014/main" id="{870190F3-472B-4296-B88D-D6904B9F30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2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8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9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01" name="Freeform 19">
              <a:extLst>
                <a:ext uri="{FF2B5EF4-FFF2-40B4-BE49-F238E27FC236}">
                  <a16:creationId xmlns:a16="http://schemas.microsoft.com/office/drawing/2014/main" id="{6CEA0F2B-4AAB-4A16-B7F1-CFCB0C0DCEE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02" name="Freeform 20">
              <a:extLst>
                <a:ext uri="{FF2B5EF4-FFF2-40B4-BE49-F238E27FC236}">
                  <a16:creationId xmlns:a16="http://schemas.microsoft.com/office/drawing/2014/main" id="{CD64F657-7EE7-4AF2-ADE4-160C87E64D6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30922" y="6212575"/>
              <a:ext cx="80211" cy="134265"/>
            </a:xfrm>
            <a:custGeom>
              <a:avLst/>
              <a:gdLst>
                <a:gd name="T0" fmla="*/ 25 w 32"/>
                <a:gd name="T1" fmla="*/ 53 h 53"/>
                <a:gd name="T2" fmla="*/ 25 w 32"/>
                <a:gd name="T3" fmla="*/ 35 h 53"/>
                <a:gd name="T4" fmla="*/ 20 w 32"/>
                <a:gd name="T5" fmla="*/ 38 h 53"/>
                <a:gd name="T6" fmla="*/ 15 w 32"/>
                <a:gd name="T7" fmla="*/ 40 h 53"/>
                <a:gd name="T8" fmla="*/ 9 w 32"/>
                <a:gd name="T9" fmla="*/ 38 h 53"/>
                <a:gd name="T10" fmla="*/ 4 w 32"/>
                <a:gd name="T11" fmla="*/ 35 h 53"/>
                <a:gd name="T12" fmla="*/ 1 w 32"/>
                <a:gd name="T13" fmla="*/ 28 h 53"/>
                <a:gd name="T14" fmla="*/ 0 w 32"/>
                <a:gd name="T15" fmla="*/ 19 h 53"/>
                <a:gd name="T16" fmla="*/ 1 w 32"/>
                <a:gd name="T17" fmla="*/ 10 h 53"/>
                <a:gd name="T18" fmla="*/ 4 w 32"/>
                <a:gd name="T19" fmla="*/ 4 h 53"/>
                <a:gd name="T20" fmla="*/ 9 w 32"/>
                <a:gd name="T21" fmla="*/ 1 h 53"/>
                <a:gd name="T22" fmla="*/ 15 w 32"/>
                <a:gd name="T23" fmla="*/ 0 h 53"/>
                <a:gd name="T24" fmla="*/ 18 w 32"/>
                <a:gd name="T25" fmla="*/ 0 h 53"/>
                <a:gd name="T26" fmla="*/ 20 w 32"/>
                <a:gd name="T27" fmla="*/ 1 h 53"/>
                <a:gd name="T28" fmla="*/ 23 w 32"/>
                <a:gd name="T29" fmla="*/ 2 h 53"/>
                <a:gd name="T30" fmla="*/ 25 w 32"/>
                <a:gd name="T31" fmla="*/ 4 h 53"/>
                <a:gd name="T32" fmla="*/ 25 w 32"/>
                <a:gd name="T33" fmla="*/ 0 h 53"/>
                <a:gd name="T34" fmla="*/ 32 w 32"/>
                <a:gd name="T35" fmla="*/ 0 h 53"/>
                <a:gd name="T36" fmla="*/ 32 w 32"/>
                <a:gd name="T37" fmla="*/ 49 h 53"/>
                <a:gd name="T38" fmla="*/ 25 w 32"/>
                <a:gd name="T39" fmla="*/ 53 h 53"/>
                <a:gd name="T40" fmla="*/ 25 w 32"/>
                <a:gd name="T41" fmla="*/ 12 h 53"/>
                <a:gd name="T42" fmla="*/ 23 w 32"/>
                <a:gd name="T43" fmla="*/ 10 h 53"/>
                <a:gd name="T44" fmla="*/ 21 w 32"/>
                <a:gd name="T45" fmla="*/ 8 h 53"/>
                <a:gd name="T46" fmla="*/ 18 w 32"/>
                <a:gd name="T47" fmla="*/ 7 h 53"/>
                <a:gd name="T48" fmla="*/ 16 w 32"/>
                <a:gd name="T49" fmla="*/ 7 h 53"/>
                <a:gd name="T50" fmla="*/ 9 w 32"/>
                <a:gd name="T51" fmla="*/ 10 h 53"/>
                <a:gd name="T52" fmla="*/ 7 w 32"/>
                <a:gd name="T53" fmla="*/ 19 h 53"/>
                <a:gd name="T54" fmla="*/ 10 w 32"/>
                <a:gd name="T55" fmla="*/ 29 h 53"/>
                <a:gd name="T56" fmla="*/ 16 w 32"/>
                <a:gd name="T57" fmla="*/ 33 h 53"/>
                <a:gd name="T58" fmla="*/ 21 w 32"/>
                <a:gd name="T59" fmla="*/ 31 h 53"/>
                <a:gd name="T60" fmla="*/ 25 w 32"/>
                <a:gd name="T61" fmla="*/ 28 h 53"/>
                <a:gd name="T62" fmla="*/ 25 w 32"/>
                <a:gd name="T63" fmla="*/ 1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2" h="53">
                  <a:moveTo>
                    <a:pt x="25" y="53"/>
                  </a:moveTo>
                  <a:cubicBezTo>
                    <a:pt x="25" y="35"/>
                    <a:pt x="25" y="35"/>
                    <a:pt x="25" y="35"/>
                  </a:cubicBezTo>
                  <a:cubicBezTo>
                    <a:pt x="23" y="36"/>
                    <a:pt x="22" y="37"/>
                    <a:pt x="20" y="38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3" y="40"/>
                    <a:pt x="11" y="39"/>
                    <a:pt x="9" y="38"/>
                  </a:cubicBezTo>
                  <a:cubicBezTo>
                    <a:pt x="7" y="38"/>
                    <a:pt x="5" y="36"/>
                    <a:pt x="4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0" y="26"/>
                    <a:pt x="0" y="23"/>
                    <a:pt x="0" y="19"/>
                  </a:cubicBezTo>
                  <a:cubicBezTo>
                    <a:pt x="0" y="16"/>
                    <a:pt x="0" y="13"/>
                    <a:pt x="1" y="10"/>
                  </a:cubicBezTo>
                  <a:cubicBezTo>
                    <a:pt x="2" y="8"/>
                    <a:pt x="3" y="6"/>
                    <a:pt x="4" y="4"/>
                  </a:cubicBezTo>
                  <a:cubicBezTo>
                    <a:pt x="6" y="3"/>
                    <a:pt x="7" y="2"/>
                    <a:pt x="9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6" y="0"/>
                    <a:pt x="17" y="0"/>
                    <a:pt x="18" y="0"/>
                  </a:cubicBezTo>
                  <a:cubicBezTo>
                    <a:pt x="19" y="0"/>
                    <a:pt x="20" y="0"/>
                    <a:pt x="20" y="1"/>
                  </a:cubicBezTo>
                  <a:cubicBezTo>
                    <a:pt x="21" y="1"/>
                    <a:pt x="22" y="2"/>
                    <a:pt x="23" y="2"/>
                  </a:cubicBezTo>
                  <a:cubicBezTo>
                    <a:pt x="23" y="3"/>
                    <a:pt x="24" y="3"/>
                    <a:pt x="25" y="4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49"/>
                    <a:pt x="32" y="49"/>
                    <a:pt x="32" y="49"/>
                  </a:cubicBezTo>
                  <a:lnTo>
                    <a:pt x="25" y="53"/>
                  </a:lnTo>
                  <a:close/>
                  <a:moveTo>
                    <a:pt x="25" y="12"/>
                  </a:moveTo>
                  <a:cubicBezTo>
                    <a:pt x="24" y="11"/>
                    <a:pt x="24" y="10"/>
                    <a:pt x="23" y="10"/>
                  </a:cubicBezTo>
                  <a:cubicBezTo>
                    <a:pt x="23" y="9"/>
                    <a:pt x="22" y="9"/>
                    <a:pt x="21" y="8"/>
                  </a:cubicBezTo>
                  <a:cubicBezTo>
                    <a:pt x="20" y="8"/>
                    <a:pt x="19" y="7"/>
                    <a:pt x="18" y="7"/>
                  </a:cubicBezTo>
                  <a:cubicBezTo>
                    <a:pt x="18" y="7"/>
                    <a:pt x="17" y="7"/>
                    <a:pt x="16" y="7"/>
                  </a:cubicBezTo>
                  <a:cubicBezTo>
                    <a:pt x="13" y="7"/>
                    <a:pt x="11" y="8"/>
                    <a:pt x="9" y="10"/>
                  </a:cubicBezTo>
                  <a:cubicBezTo>
                    <a:pt x="8" y="12"/>
                    <a:pt x="7" y="15"/>
                    <a:pt x="7" y="19"/>
                  </a:cubicBezTo>
                  <a:cubicBezTo>
                    <a:pt x="7" y="23"/>
                    <a:pt x="8" y="27"/>
                    <a:pt x="10" y="29"/>
                  </a:cubicBezTo>
                  <a:cubicBezTo>
                    <a:pt x="11" y="31"/>
                    <a:pt x="13" y="33"/>
                    <a:pt x="16" y="33"/>
                  </a:cubicBezTo>
                  <a:cubicBezTo>
                    <a:pt x="18" y="33"/>
                    <a:pt x="19" y="32"/>
                    <a:pt x="21" y="31"/>
                  </a:cubicBezTo>
                  <a:cubicBezTo>
                    <a:pt x="22" y="30"/>
                    <a:pt x="24" y="29"/>
                    <a:pt x="25" y="28"/>
                  </a:cubicBezTo>
                  <a:lnTo>
                    <a:pt x="25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03" name="Freeform 21">
              <a:extLst>
                <a:ext uri="{FF2B5EF4-FFF2-40B4-BE49-F238E27FC236}">
                  <a16:creationId xmlns:a16="http://schemas.microsoft.com/office/drawing/2014/main" id="{FA80A690-9084-4519-8D88-A01963C0236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35545" y="6212575"/>
              <a:ext cx="78468" cy="101135"/>
            </a:xfrm>
            <a:custGeom>
              <a:avLst/>
              <a:gdLst>
                <a:gd name="T0" fmla="*/ 24 w 31"/>
                <a:gd name="T1" fmla="*/ 39 h 40"/>
                <a:gd name="T2" fmla="*/ 24 w 31"/>
                <a:gd name="T3" fmla="*/ 35 h 40"/>
                <a:gd name="T4" fmla="*/ 20 w 31"/>
                <a:gd name="T5" fmla="*/ 38 h 40"/>
                <a:gd name="T6" fmla="*/ 14 w 31"/>
                <a:gd name="T7" fmla="*/ 40 h 40"/>
                <a:gd name="T8" fmla="*/ 4 w 31"/>
                <a:gd name="T9" fmla="*/ 35 h 40"/>
                <a:gd name="T10" fmla="*/ 0 w 31"/>
                <a:gd name="T11" fmla="*/ 22 h 40"/>
                <a:gd name="T12" fmla="*/ 0 w 31"/>
                <a:gd name="T13" fmla="*/ 0 h 40"/>
                <a:gd name="T14" fmla="*/ 8 w 31"/>
                <a:gd name="T15" fmla="*/ 0 h 40"/>
                <a:gd name="T16" fmla="*/ 8 w 31"/>
                <a:gd name="T17" fmla="*/ 22 h 40"/>
                <a:gd name="T18" fmla="*/ 10 w 31"/>
                <a:gd name="T19" fmla="*/ 30 h 40"/>
                <a:gd name="T20" fmla="*/ 16 w 31"/>
                <a:gd name="T21" fmla="*/ 33 h 40"/>
                <a:gd name="T22" fmla="*/ 22 w 31"/>
                <a:gd name="T23" fmla="*/ 30 h 40"/>
                <a:gd name="T24" fmla="*/ 24 w 31"/>
                <a:gd name="T25" fmla="*/ 23 h 40"/>
                <a:gd name="T26" fmla="*/ 24 w 31"/>
                <a:gd name="T27" fmla="*/ 0 h 40"/>
                <a:gd name="T28" fmla="*/ 31 w 31"/>
                <a:gd name="T29" fmla="*/ 0 h 40"/>
                <a:gd name="T30" fmla="*/ 31 w 31"/>
                <a:gd name="T31" fmla="*/ 39 h 40"/>
                <a:gd name="T32" fmla="*/ 24 w 31"/>
                <a:gd name="T33" fmla="*/ 39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1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2" y="38"/>
                    <a:pt x="20" y="38"/>
                  </a:cubicBezTo>
                  <a:cubicBezTo>
                    <a:pt x="18" y="39"/>
                    <a:pt x="16" y="40"/>
                    <a:pt x="14" y="40"/>
                  </a:cubicBezTo>
                  <a:cubicBezTo>
                    <a:pt x="10" y="40"/>
                    <a:pt x="6" y="38"/>
                    <a:pt x="4" y="35"/>
                  </a:cubicBezTo>
                  <a:cubicBezTo>
                    <a:pt x="2" y="32"/>
                    <a:pt x="0" y="28"/>
                    <a:pt x="0" y="2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6"/>
                    <a:pt x="9" y="28"/>
                    <a:pt x="10" y="30"/>
                  </a:cubicBezTo>
                  <a:cubicBezTo>
                    <a:pt x="11" y="32"/>
                    <a:pt x="13" y="33"/>
                    <a:pt x="16" y="33"/>
                  </a:cubicBezTo>
                  <a:cubicBezTo>
                    <a:pt x="18" y="33"/>
                    <a:pt x="20" y="32"/>
                    <a:pt x="22" y="30"/>
                  </a:cubicBezTo>
                  <a:cubicBezTo>
                    <a:pt x="23" y="28"/>
                    <a:pt x="24" y="26"/>
                    <a:pt x="24" y="23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4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04" name="Freeform 22">
              <a:extLst>
                <a:ext uri="{FF2B5EF4-FFF2-40B4-BE49-F238E27FC236}">
                  <a16:creationId xmlns:a16="http://schemas.microsoft.com/office/drawing/2014/main" id="{E847401D-2482-482A-AC12-D2E83C13546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93493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1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2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05" name="Freeform 23">
              <a:extLst>
                <a:ext uri="{FF2B5EF4-FFF2-40B4-BE49-F238E27FC236}">
                  <a16:creationId xmlns:a16="http://schemas.microsoft.com/office/drawing/2014/main" id="{86054F72-4509-4465-B9A8-8DAE3EFD35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30841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1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4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7 w 29"/>
                <a:gd name="T55" fmla="*/ 24 h 40"/>
                <a:gd name="T56" fmla="*/ 13 w 29"/>
                <a:gd name="T57" fmla="*/ 22 h 40"/>
                <a:gd name="T58" fmla="*/ 8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2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3" y="6"/>
                    <a:pt x="11" y="7"/>
                    <a:pt x="10" y="7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1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9" y="25"/>
                    <a:pt x="18" y="24"/>
                    <a:pt x="17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8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3" y="15"/>
                    <a:pt x="2" y="14"/>
                  </a:cubicBezTo>
                  <a:cubicBezTo>
                    <a:pt x="2" y="13"/>
                    <a:pt x="2" y="12"/>
                    <a:pt x="2" y="10"/>
                  </a:cubicBezTo>
                  <a:cubicBezTo>
                    <a:pt x="2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06" name="Freeform 24">
              <a:extLst>
                <a:ext uri="{FF2B5EF4-FFF2-40B4-BE49-F238E27FC236}">
                  <a16:creationId xmlns:a16="http://schemas.microsoft.com/office/drawing/2014/main" id="{813850E4-4B62-4FDA-ABD6-F5A5AA5E7C2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1802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07" name="Freeform 25">
              <a:extLst>
                <a:ext uri="{FF2B5EF4-FFF2-40B4-BE49-F238E27FC236}">
                  <a16:creationId xmlns:a16="http://schemas.microsoft.com/office/drawing/2014/main" id="{1B4F0124-2FAE-4D54-9ECC-E88A8031BBD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194750" y="6175958"/>
              <a:ext cx="24412" cy="136010"/>
            </a:xfrm>
            <a:custGeom>
              <a:avLst/>
              <a:gdLst>
                <a:gd name="T0" fmla="*/ 10 w 10"/>
                <a:gd name="T1" fmla="*/ 5 h 53"/>
                <a:gd name="T2" fmla="*/ 9 w 10"/>
                <a:gd name="T3" fmla="*/ 6 h 53"/>
                <a:gd name="T4" fmla="*/ 8 w 10"/>
                <a:gd name="T5" fmla="*/ 8 h 53"/>
                <a:gd name="T6" fmla="*/ 7 w 10"/>
                <a:gd name="T7" fmla="*/ 9 h 53"/>
                <a:gd name="T8" fmla="*/ 5 w 10"/>
                <a:gd name="T9" fmla="*/ 9 h 53"/>
                <a:gd name="T10" fmla="*/ 3 w 10"/>
                <a:gd name="T11" fmla="*/ 9 h 53"/>
                <a:gd name="T12" fmla="*/ 1 w 10"/>
                <a:gd name="T13" fmla="*/ 8 h 53"/>
                <a:gd name="T14" fmla="*/ 0 w 10"/>
                <a:gd name="T15" fmla="*/ 6 h 53"/>
                <a:gd name="T16" fmla="*/ 0 w 10"/>
                <a:gd name="T17" fmla="*/ 5 h 53"/>
                <a:gd name="T18" fmla="*/ 0 w 10"/>
                <a:gd name="T19" fmla="*/ 3 h 53"/>
                <a:gd name="T20" fmla="*/ 1 w 10"/>
                <a:gd name="T21" fmla="*/ 1 h 53"/>
                <a:gd name="T22" fmla="*/ 3 w 10"/>
                <a:gd name="T23" fmla="*/ 0 h 53"/>
                <a:gd name="T24" fmla="*/ 5 w 10"/>
                <a:gd name="T25" fmla="*/ 0 h 53"/>
                <a:gd name="T26" fmla="*/ 7 w 10"/>
                <a:gd name="T27" fmla="*/ 0 h 53"/>
                <a:gd name="T28" fmla="*/ 8 w 10"/>
                <a:gd name="T29" fmla="*/ 1 h 53"/>
                <a:gd name="T30" fmla="*/ 9 w 10"/>
                <a:gd name="T31" fmla="*/ 3 h 53"/>
                <a:gd name="T32" fmla="*/ 10 w 10"/>
                <a:gd name="T33" fmla="*/ 5 h 53"/>
                <a:gd name="T34" fmla="*/ 1 w 10"/>
                <a:gd name="T35" fmla="*/ 53 h 53"/>
                <a:gd name="T36" fmla="*/ 1 w 10"/>
                <a:gd name="T37" fmla="*/ 14 h 53"/>
                <a:gd name="T38" fmla="*/ 9 w 10"/>
                <a:gd name="T39" fmla="*/ 14 h 53"/>
                <a:gd name="T40" fmla="*/ 9 w 10"/>
                <a:gd name="T41" fmla="*/ 53 h 53"/>
                <a:gd name="T42" fmla="*/ 1 w 10"/>
                <a:gd name="T43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" h="53">
                  <a:moveTo>
                    <a:pt x="10" y="5"/>
                  </a:moveTo>
                  <a:cubicBezTo>
                    <a:pt x="10" y="5"/>
                    <a:pt x="10" y="6"/>
                    <a:pt x="9" y="6"/>
                  </a:cubicBezTo>
                  <a:cubicBezTo>
                    <a:pt x="9" y="7"/>
                    <a:pt x="9" y="8"/>
                    <a:pt x="8" y="8"/>
                  </a:cubicBezTo>
                  <a:cubicBezTo>
                    <a:pt x="8" y="8"/>
                    <a:pt x="7" y="9"/>
                    <a:pt x="7" y="9"/>
                  </a:cubicBezTo>
                  <a:cubicBezTo>
                    <a:pt x="6" y="9"/>
                    <a:pt x="6" y="9"/>
                    <a:pt x="5" y="9"/>
                  </a:cubicBezTo>
                  <a:cubicBezTo>
                    <a:pt x="4" y="9"/>
                    <a:pt x="4" y="9"/>
                    <a:pt x="3" y="9"/>
                  </a:cubicBezTo>
                  <a:cubicBezTo>
                    <a:pt x="2" y="9"/>
                    <a:pt x="2" y="8"/>
                    <a:pt x="1" y="8"/>
                  </a:cubicBezTo>
                  <a:cubicBezTo>
                    <a:pt x="1" y="8"/>
                    <a:pt x="1" y="7"/>
                    <a:pt x="0" y="6"/>
                  </a:cubicBezTo>
                  <a:cubicBezTo>
                    <a:pt x="0" y="6"/>
                    <a:pt x="0" y="5"/>
                    <a:pt x="0" y="5"/>
                  </a:cubicBezTo>
                  <a:cubicBezTo>
                    <a:pt x="0" y="4"/>
                    <a:pt x="0" y="3"/>
                    <a:pt x="0" y="3"/>
                  </a:cubicBezTo>
                  <a:cubicBezTo>
                    <a:pt x="1" y="2"/>
                    <a:pt x="1" y="2"/>
                    <a:pt x="1" y="1"/>
                  </a:cubicBezTo>
                  <a:cubicBezTo>
                    <a:pt x="2" y="1"/>
                    <a:pt x="2" y="0"/>
                    <a:pt x="3" y="0"/>
                  </a:cubicBezTo>
                  <a:cubicBezTo>
                    <a:pt x="4" y="0"/>
                    <a:pt x="4" y="0"/>
                    <a:pt x="5" y="0"/>
                  </a:cubicBezTo>
                  <a:cubicBezTo>
                    <a:pt x="6" y="0"/>
                    <a:pt x="6" y="0"/>
                    <a:pt x="7" y="0"/>
                  </a:cubicBezTo>
                  <a:cubicBezTo>
                    <a:pt x="7" y="0"/>
                    <a:pt x="8" y="1"/>
                    <a:pt x="8" y="1"/>
                  </a:cubicBezTo>
                  <a:cubicBezTo>
                    <a:pt x="9" y="2"/>
                    <a:pt x="9" y="2"/>
                    <a:pt x="9" y="3"/>
                  </a:cubicBezTo>
                  <a:cubicBezTo>
                    <a:pt x="10" y="3"/>
                    <a:pt x="10" y="4"/>
                    <a:pt x="10" y="5"/>
                  </a:cubicBezTo>
                  <a:close/>
                  <a:moveTo>
                    <a:pt x="1" y="53"/>
                  </a:moveTo>
                  <a:cubicBezTo>
                    <a:pt x="1" y="14"/>
                    <a:pt x="1" y="14"/>
                    <a:pt x="1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53"/>
                    <a:pt x="9" y="53"/>
                    <a:pt x="9" y="53"/>
                  </a:cubicBezTo>
                  <a:lnTo>
                    <a:pt x="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08" name="Freeform 26">
              <a:extLst>
                <a:ext uri="{FF2B5EF4-FFF2-40B4-BE49-F238E27FC236}">
                  <a16:creationId xmlns:a16="http://schemas.microsoft.com/office/drawing/2014/main" id="{2A730E5F-DF9C-488E-B4E0-EE9F501529E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236599" y="6212575"/>
              <a:ext cx="87186" cy="101135"/>
            </a:xfrm>
            <a:custGeom>
              <a:avLst/>
              <a:gdLst>
                <a:gd name="T0" fmla="*/ 34 w 34"/>
                <a:gd name="T1" fmla="*/ 19 h 40"/>
                <a:gd name="T2" fmla="*/ 33 w 34"/>
                <a:gd name="T3" fmla="*/ 28 h 40"/>
                <a:gd name="T4" fmla="*/ 29 w 34"/>
                <a:gd name="T5" fmla="*/ 34 h 40"/>
                <a:gd name="T6" fmla="*/ 24 w 34"/>
                <a:gd name="T7" fmla="*/ 38 h 40"/>
                <a:gd name="T8" fmla="*/ 17 w 34"/>
                <a:gd name="T9" fmla="*/ 40 h 40"/>
                <a:gd name="T10" fmla="*/ 10 w 34"/>
                <a:gd name="T11" fmla="*/ 38 h 40"/>
                <a:gd name="T12" fmla="*/ 5 w 34"/>
                <a:gd name="T13" fmla="*/ 34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1 h 40"/>
                <a:gd name="T20" fmla="*/ 5 w 34"/>
                <a:gd name="T21" fmla="*/ 5 h 40"/>
                <a:gd name="T22" fmla="*/ 10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1 h 40"/>
                <a:gd name="T32" fmla="*/ 34 w 34"/>
                <a:gd name="T33" fmla="*/ 19 h 40"/>
                <a:gd name="T34" fmla="*/ 26 w 34"/>
                <a:gd name="T35" fmla="*/ 20 h 40"/>
                <a:gd name="T36" fmla="*/ 26 w 34"/>
                <a:gd name="T37" fmla="*/ 14 h 40"/>
                <a:gd name="T38" fmla="*/ 24 w 34"/>
                <a:gd name="T39" fmla="*/ 10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0 h 40"/>
                <a:gd name="T48" fmla="*/ 8 w 34"/>
                <a:gd name="T49" fmla="*/ 14 h 40"/>
                <a:gd name="T50" fmla="*/ 7 w 34"/>
                <a:gd name="T51" fmla="*/ 19 h 40"/>
                <a:gd name="T52" fmla="*/ 8 w 34"/>
                <a:gd name="T53" fmla="*/ 25 h 40"/>
                <a:gd name="T54" fmla="*/ 10 w 34"/>
                <a:gd name="T55" fmla="*/ 29 h 40"/>
                <a:gd name="T56" fmla="*/ 13 w 34"/>
                <a:gd name="T57" fmla="*/ 32 h 40"/>
                <a:gd name="T58" fmla="*/ 17 w 34"/>
                <a:gd name="T59" fmla="*/ 32 h 40"/>
                <a:gd name="T60" fmla="*/ 21 w 34"/>
                <a:gd name="T61" fmla="*/ 31 h 40"/>
                <a:gd name="T62" fmla="*/ 24 w 34"/>
                <a:gd name="T63" fmla="*/ 29 h 40"/>
                <a:gd name="T64" fmla="*/ 26 w 34"/>
                <a:gd name="T65" fmla="*/ 25 h 40"/>
                <a:gd name="T66" fmla="*/ 26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19"/>
                  </a:moveTo>
                  <a:cubicBezTo>
                    <a:pt x="34" y="23"/>
                    <a:pt x="34" y="25"/>
                    <a:pt x="33" y="28"/>
                  </a:cubicBezTo>
                  <a:cubicBezTo>
                    <a:pt x="32" y="30"/>
                    <a:pt x="31" y="33"/>
                    <a:pt x="29" y="34"/>
                  </a:cubicBezTo>
                  <a:cubicBezTo>
                    <a:pt x="28" y="36"/>
                    <a:pt x="26" y="37"/>
                    <a:pt x="24" y="38"/>
                  </a:cubicBezTo>
                  <a:cubicBezTo>
                    <a:pt x="21" y="39"/>
                    <a:pt x="19" y="40"/>
                    <a:pt x="17" y="40"/>
                  </a:cubicBezTo>
                  <a:cubicBezTo>
                    <a:pt x="14" y="40"/>
                    <a:pt x="12" y="39"/>
                    <a:pt x="10" y="38"/>
                  </a:cubicBezTo>
                  <a:cubicBezTo>
                    <a:pt x="8" y="37"/>
                    <a:pt x="6" y="36"/>
                    <a:pt x="5" y="34"/>
                  </a:cubicBezTo>
                  <a:cubicBezTo>
                    <a:pt x="3" y="32"/>
                    <a:pt x="2" y="30"/>
                    <a:pt x="1" y="28"/>
                  </a:cubicBezTo>
                  <a:cubicBezTo>
                    <a:pt x="0" y="25"/>
                    <a:pt x="0" y="23"/>
                    <a:pt x="0" y="20"/>
                  </a:cubicBezTo>
                  <a:cubicBezTo>
                    <a:pt x="0" y="16"/>
                    <a:pt x="0" y="14"/>
                    <a:pt x="1" y="11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8" y="3"/>
                    <a:pt x="29" y="5"/>
                  </a:cubicBezTo>
                  <a:cubicBezTo>
                    <a:pt x="31" y="7"/>
                    <a:pt x="32" y="9"/>
                    <a:pt x="33" y="11"/>
                  </a:cubicBezTo>
                  <a:cubicBezTo>
                    <a:pt x="34" y="14"/>
                    <a:pt x="34" y="16"/>
                    <a:pt x="34" y="19"/>
                  </a:cubicBezTo>
                  <a:close/>
                  <a:moveTo>
                    <a:pt x="26" y="20"/>
                  </a:moveTo>
                  <a:cubicBezTo>
                    <a:pt x="26" y="18"/>
                    <a:pt x="26" y="16"/>
                    <a:pt x="26" y="14"/>
                  </a:cubicBezTo>
                  <a:cubicBezTo>
                    <a:pt x="25" y="13"/>
                    <a:pt x="25" y="11"/>
                    <a:pt x="24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19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11"/>
                    <a:pt x="8" y="13"/>
                    <a:pt x="8" y="14"/>
                  </a:cubicBezTo>
                  <a:cubicBezTo>
                    <a:pt x="8" y="16"/>
                    <a:pt x="7" y="17"/>
                    <a:pt x="7" y="19"/>
                  </a:cubicBezTo>
                  <a:cubicBezTo>
                    <a:pt x="7" y="21"/>
                    <a:pt x="8" y="23"/>
                    <a:pt x="8" y="25"/>
                  </a:cubicBezTo>
                  <a:cubicBezTo>
                    <a:pt x="9" y="27"/>
                    <a:pt x="9" y="28"/>
                    <a:pt x="10" y="29"/>
                  </a:cubicBezTo>
                  <a:cubicBezTo>
                    <a:pt x="11" y="30"/>
                    <a:pt x="12" y="31"/>
                    <a:pt x="13" y="32"/>
                  </a:cubicBezTo>
                  <a:cubicBezTo>
                    <a:pt x="14" y="32"/>
                    <a:pt x="16" y="32"/>
                    <a:pt x="17" y="32"/>
                  </a:cubicBezTo>
                  <a:cubicBezTo>
                    <a:pt x="18" y="32"/>
                    <a:pt x="20" y="32"/>
                    <a:pt x="21" y="31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7"/>
                    <a:pt x="25" y="26"/>
                    <a:pt x="26" y="25"/>
                  </a:cubicBezTo>
                  <a:cubicBezTo>
                    <a:pt x="26" y="23"/>
                    <a:pt x="26" y="21"/>
                    <a:pt x="26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09" name="Freeform 27">
              <a:extLst>
                <a:ext uri="{FF2B5EF4-FFF2-40B4-BE49-F238E27FC236}">
                  <a16:creationId xmlns:a16="http://schemas.microsoft.com/office/drawing/2014/main" id="{39861D7E-D8DA-436F-9E2F-5C08A8BFB4D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44710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1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9 w 31"/>
                <a:gd name="T11" fmla="*/ 9 h 39"/>
                <a:gd name="T12" fmla="*/ 8 w 31"/>
                <a:gd name="T13" fmla="*/ 12 h 39"/>
                <a:gd name="T14" fmla="*/ 7 w 31"/>
                <a:gd name="T15" fmla="*/ 16 h 39"/>
                <a:gd name="T16" fmla="*/ 7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7 w 31"/>
                <a:gd name="T23" fmla="*/ 0 h 39"/>
                <a:gd name="T24" fmla="*/ 7 w 31"/>
                <a:gd name="T25" fmla="*/ 4 h 39"/>
                <a:gd name="T26" fmla="*/ 9 w 31"/>
                <a:gd name="T27" fmla="*/ 2 h 39"/>
                <a:gd name="T28" fmla="*/ 11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7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1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9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7" y="15"/>
                    <a:pt x="7" y="16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9" y="0"/>
                    <a:pt x="21" y="0"/>
                    <a:pt x="23" y="1"/>
                  </a:cubicBezTo>
                  <a:cubicBezTo>
                    <a:pt x="25" y="1"/>
                    <a:pt x="26" y="2"/>
                    <a:pt x="27" y="4"/>
                  </a:cubicBezTo>
                  <a:cubicBezTo>
                    <a:pt x="28" y="5"/>
                    <a:pt x="29" y="7"/>
                    <a:pt x="30" y="9"/>
                  </a:cubicBezTo>
                  <a:cubicBezTo>
                    <a:pt x="30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10" name="Freeform 28">
              <a:extLst>
                <a:ext uri="{FF2B5EF4-FFF2-40B4-BE49-F238E27FC236}">
                  <a16:creationId xmlns:a16="http://schemas.microsoft.com/office/drawing/2014/main" id="{8B038F9F-6A9C-4E57-A659-0090AF47059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45845" y="6284068"/>
              <a:ext cx="31387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4 w 12"/>
                <a:gd name="T11" fmla="*/ 11 h 12"/>
                <a:gd name="T12" fmla="*/ 2 w 12"/>
                <a:gd name="T13" fmla="*/ 10 h 12"/>
                <a:gd name="T14" fmla="*/ 1 w 12"/>
                <a:gd name="T15" fmla="*/ 8 h 12"/>
                <a:gd name="T16" fmla="*/ 0 w 12"/>
                <a:gd name="T17" fmla="*/ 6 h 12"/>
                <a:gd name="T18" fmla="*/ 1 w 12"/>
                <a:gd name="T19" fmla="*/ 4 h 12"/>
                <a:gd name="T20" fmla="*/ 2 w 12"/>
                <a:gd name="T21" fmla="*/ 2 h 12"/>
                <a:gd name="T22" fmla="*/ 4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4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1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1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4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11" name="Freeform 29">
              <a:extLst>
                <a:ext uri="{FF2B5EF4-FFF2-40B4-BE49-F238E27FC236}">
                  <a16:creationId xmlns:a16="http://schemas.microsoft.com/office/drawing/2014/main" id="{15E4EB7D-754D-4053-9A23-596C7CFDA98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0006" y="6181188"/>
              <a:ext cx="97648" cy="130778"/>
            </a:xfrm>
            <a:custGeom>
              <a:avLst/>
              <a:gdLst>
                <a:gd name="T0" fmla="*/ 34 w 56"/>
                <a:gd name="T1" fmla="*/ 11 h 75"/>
                <a:gd name="T2" fmla="*/ 34 w 56"/>
                <a:gd name="T3" fmla="*/ 75 h 75"/>
                <a:gd name="T4" fmla="*/ 22 w 56"/>
                <a:gd name="T5" fmla="*/ 75 h 75"/>
                <a:gd name="T6" fmla="*/ 22 w 56"/>
                <a:gd name="T7" fmla="*/ 11 h 75"/>
                <a:gd name="T8" fmla="*/ 0 w 56"/>
                <a:gd name="T9" fmla="*/ 11 h 75"/>
                <a:gd name="T10" fmla="*/ 0 w 56"/>
                <a:gd name="T11" fmla="*/ 0 h 75"/>
                <a:gd name="T12" fmla="*/ 56 w 56"/>
                <a:gd name="T13" fmla="*/ 0 h 75"/>
                <a:gd name="T14" fmla="*/ 56 w 56"/>
                <a:gd name="T15" fmla="*/ 11 h 75"/>
                <a:gd name="T16" fmla="*/ 34 w 56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6" h="75">
                  <a:moveTo>
                    <a:pt x="34" y="11"/>
                  </a:moveTo>
                  <a:lnTo>
                    <a:pt x="34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6" y="0"/>
                  </a:lnTo>
                  <a:lnTo>
                    <a:pt x="56" y="11"/>
                  </a:lnTo>
                  <a:lnTo>
                    <a:pt x="34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12" name="Freeform 30">
              <a:extLst>
                <a:ext uri="{FF2B5EF4-FFF2-40B4-BE49-F238E27FC236}">
                  <a16:creationId xmlns:a16="http://schemas.microsoft.com/office/drawing/2014/main" id="{28E147CB-2B8F-497B-B00B-C25E679DC5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51603" y="6174213"/>
              <a:ext cx="80211" cy="137753"/>
            </a:xfrm>
            <a:custGeom>
              <a:avLst/>
              <a:gdLst>
                <a:gd name="T0" fmla="*/ 24 w 31"/>
                <a:gd name="T1" fmla="*/ 54 h 54"/>
                <a:gd name="T2" fmla="*/ 24 w 31"/>
                <a:gd name="T3" fmla="*/ 32 h 54"/>
                <a:gd name="T4" fmla="*/ 22 w 31"/>
                <a:gd name="T5" fmla="*/ 24 h 54"/>
                <a:gd name="T6" fmla="*/ 16 w 31"/>
                <a:gd name="T7" fmla="*/ 22 h 54"/>
                <a:gd name="T8" fmla="*/ 13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8 w 31"/>
                <a:gd name="T15" fmla="*/ 31 h 54"/>
                <a:gd name="T16" fmla="*/ 8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8 w 31"/>
                <a:gd name="T23" fmla="*/ 0 h 54"/>
                <a:gd name="T24" fmla="*/ 8 w 31"/>
                <a:gd name="T25" fmla="*/ 19 h 54"/>
                <a:gd name="T26" fmla="*/ 10 w 31"/>
                <a:gd name="T27" fmla="*/ 17 h 54"/>
                <a:gd name="T28" fmla="*/ 12 w 31"/>
                <a:gd name="T29" fmla="*/ 16 h 54"/>
                <a:gd name="T30" fmla="*/ 15 w 31"/>
                <a:gd name="T31" fmla="*/ 15 h 54"/>
                <a:gd name="T32" fmla="*/ 18 w 31"/>
                <a:gd name="T33" fmla="*/ 15 h 54"/>
                <a:gd name="T34" fmla="*/ 24 w 31"/>
                <a:gd name="T35" fmla="*/ 16 h 54"/>
                <a:gd name="T36" fmla="*/ 28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4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4" y="54"/>
                  </a:moveTo>
                  <a:cubicBezTo>
                    <a:pt x="24" y="32"/>
                    <a:pt x="24" y="32"/>
                    <a:pt x="24" y="32"/>
                  </a:cubicBezTo>
                  <a:cubicBezTo>
                    <a:pt x="24" y="28"/>
                    <a:pt x="23" y="26"/>
                    <a:pt x="22" y="24"/>
                  </a:cubicBezTo>
                  <a:cubicBezTo>
                    <a:pt x="21" y="22"/>
                    <a:pt x="19" y="22"/>
                    <a:pt x="16" y="22"/>
                  </a:cubicBezTo>
                  <a:cubicBezTo>
                    <a:pt x="15" y="22"/>
                    <a:pt x="14" y="22"/>
                    <a:pt x="13" y="22"/>
                  </a:cubicBezTo>
                  <a:cubicBezTo>
                    <a:pt x="12" y="22"/>
                    <a:pt x="11" y="23"/>
                    <a:pt x="10" y="24"/>
                  </a:cubicBezTo>
                  <a:cubicBezTo>
                    <a:pt x="9" y="25"/>
                    <a:pt x="9" y="26"/>
                    <a:pt x="8" y="27"/>
                  </a:cubicBezTo>
                  <a:cubicBezTo>
                    <a:pt x="8" y="28"/>
                    <a:pt x="8" y="30"/>
                    <a:pt x="8" y="31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3" y="15"/>
                    <a:pt x="14" y="15"/>
                    <a:pt x="15" y="15"/>
                  </a:cubicBezTo>
                  <a:cubicBezTo>
                    <a:pt x="16" y="15"/>
                    <a:pt x="17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29" y="20"/>
                    <a:pt x="30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4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13" name="Freeform 31">
              <a:extLst>
                <a:ext uri="{FF2B5EF4-FFF2-40B4-BE49-F238E27FC236}">
                  <a16:creationId xmlns:a16="http://schemas.microsoft.com/office/drawing/2014/main" id="{E68BC676-C787-429D-B59B-1A5CE062F78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50996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1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14" name="Freeform 32">
              <a:extLst>
                <a:ext uri="{FF2B5EF4-FFF2-40B4-BE49-F238E27FC236}">
                  <a16:creationId xmlns:a16="http://schemas.microsoft.com/office/drawing/2014/main" id="{71266960-73CB-44B9-9A97-81085898914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02698" y="6174213"/>
              <a:ext cx="80211" cy="139497"/>
            </a:xfrm>
            <a:custGeom>
              <a:avLst/>
              <a:gdLst>
                <a:gd name="T0" fmla="*/ 32 w 32"/>
                <a:gd name="T1" fmla="*/ 35 h 55"/>
                <a:gd name="T2" fmla="*/ 31 w 32"/>
                <a:gd name="T3" fmla="*/ 44 h 55"/>
                <a:gd name="T4" fmla="*/ 28 w 32"/>
                <a:gd name="T5" fmla="*/ 50 h 55"/>
                <a:gd name="T6" fmla="*/ 23 w 32"/>
                <a:gd name="T7" fmla="*/ 53 h 55"/>
                <a:gd name="T8" fmla="*/ 17 w 32"/>
                <a:gd name="T9" fmla="*/ 55 h 55"/>
                <a:gd name="T10" fmla="*/ 12 w 32"/>
                <a:gd name="T11" fmla="*/ 53 h 55"/>
                <a:gd name="T12" fmla="*/ 7 w 32"/>
                <a:gd name="T13" fmla="*/ 50 h 55"/>
                <a:gd name="T14" fmla="*/ 7 w 32"/>
                <a:gd name="T15" fmla="*/ 54 h 55"/>
                <a:gd name="T16" fmla="*/ 0 w 32"/>
                <a:gd name="T17" fmla="*/ 54 h 55"/>
                <a:gd name="T18" fmla="*/ 0 w 32"/>
                <a:gd name="T19" fmla="*/ 4 h 55"/>
                <a:gd name="T20" fmla="*/ 7 w 32"/>
                <a:gd name="T21" fmla="*/ 0 h 55"/>
                <a:gd name="T22" fmla="*/ 7 w 32"/>
                <a:gd name="T23" fmla="*/ 19 h 55"/>
                <a:gd name="T24" fmla="*/ 10 w 32"/>
                <a:gd name="T25" fmla="*/ 17 h 55"/>
                <a:gd name="T26" fmla="*/ 12 w 32"/>
                <a:gd name="T27" fmla="*/ 16 h 55"/>
                <a:gd name="T28" fmla="*/ 14 w 32"/>
                <a:gd name="T29" fmla="*/ 15 h 55"/>
                <a:gd name="T30" fmla="*/ 17 w 32"/>
                <a:gd name="T31" fmla="*/ 15 h 55"/>
                <a:gd name="T32" fmla="*/ 23 w 32"/>
                <a:gd name="T33" fmla="*/ 16 h 55"/>
                <a:gd name="T34" fmla="*/ 28 w 32"/>
                <a:gd name="T35" fmla="*/ 19 h 55"/>
                <a:gd name="T36" fmla="*/ 31 w 32"/>
                <a:gd name="T37" fmla="*/ 26 h 55"/>
                <a:gd name="T38" fmla="*/ 32 w 32"/>
                <a:gd name="T39" fmla="*/ 35 h 55"/>
                <a:gd name="T40" fmla="*/ 25 w 32"/>
                <a:gd name="T41" fmla="*/ 35 h 55"/>
                <a:gd name="T42" fmla="*/ 23 w 32"/>
                <a:gd name="T43" fmla="*/ 25 h 55"/>
                <a:gd name="T44" fmla="*/ 16 w 32"/>
                <a:gd name="T45" fmla="*/ 22 h 55"/>
                <a:gd name="T46" fmla="*/ 14 w 32"/>
                <a:gd name="T47" fmla="*/ 22 h 55"/>
                <a:gd name="T48" fmla="*/ 11 w 32"/>
                <a:gd name="T49" fmla="*/ 23 h 55"/>
                <a:gd name="T50" fmla="*/ 9 w 32"/>
                <a:gd name="T51" fmla="*/ 25 h 55"/>
                <a:gd name="T52" fmla="*/ 7 w 32"/>
                <a:gd name="T53" fmla="*/ 26 h 55"/>
                <a:gd name="T54" fmla="*/ 7 w 32"/>
                <a:gd name="T55" fmla="*/ 43 h 55"/>
                <a:gd name="T56" fmla="*/ 9 w 32"/>
                <a:gd name="T57" fmla="*/ 44 h 55"/>
                <a:gd name="T58" fmla="*/ 11 w 32"/>
                <a:gd name="T59" fmla="*/ 46 h 55"/>
                <a:gd name="T60" fmla="*/ 14 w 32"/>
                <a:gd name="T61" fmla="*/ 47 h 55"/>
                <a:gd name="T62" fmla="*/ 16 w 32"/>
                <a:gd name="T63" fmla="*/ 48 h 55"/>
                <a:gd name="T64" fmla="*/ 23 w 32"/>
                <a:gd name="T65" fmla="*/ 45 h 55"/>
                <a:gd name="T66" fmla="*/ 25 w 32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2" h="55">
                  <a:moveTo>
                    <a:pt x="32" y="35"/>
                  </a:moveTo>
                  <a:cubicBezTo>
                    <a:pt x="32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6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5" y="55"/>
                    <a:pt x="13" y="54"/>
                    <a:pt x="12" y="53"/>
                  </a:cubicBezTo>
                  <a:cubicBezTo>
                    <a:pt x="10" y="52"/>
                    <a:pt x="9" y="51"/>
                    <a:pt x="7" y="50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6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20" y="15"/>
                    <a:pt x="21" y="15"/>
                    <a:pt x="23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29" y="21"/>
                    <a:pt x="30" y="23"/>
                    <a:pt x="31" y="26"/>
                  </a:cubicBezTo>
                  <a:cubicBezTo>
                    <a:pt x="32" y="28"/>
                    <a:pt x="32" y="32"/>
                    <a:pt x="32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4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0" y="23"/>
                    <a:pt x="10" y="24"/>
                    <a:pt x="9" y="25"/>
                  </a:cubicBezTo>
                  <a:cubicBezTo>
                    <a:pt x="8" y="25"/>
                    <a:pt x="8" y="26"/>
                    <a:pt x="7" y="26"/>
                  </a:cubicBezTo>
                  <a:cubicBezTo>
                    <a:pt x="7" y="43"/>
                    <a:pt x="7" y="43"/>
                    <a:pt x="7" y="43"/>
                  </a:cubicBezTo>
                  <a:cubicBezTo>
                    <a:pt x="8" y="43"/>
                    <a:pt x="8" y="44"/>
                    <a:pt x="9" y="44"/>
                  </a:cubicBezTo>
                  <a:cubicBezTo>
                    <a:pt x="10" y="45"/>
                    <a:pt x="10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5" y="48"/>
                    <a:pt x="16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15" name="Freeform 33">
              <a:extLst>
                <a:ext uri="{FF2B5EF4-FFF2-40B4-BE49-F238E27FC236}">
                  <a16:creationId xmlns:a16="http://schemas.microsoft.com/office/drawing/2014/main" id="{3FF3AC5A-B742-4B29-8E04-03A71D82B9A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9860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8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8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3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7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16" name="Freeform 34">
              <a:extLst>
                <a:ext uri="{FF2B5EF4-FFF2-40B4-BE49-F238E27FC236}">
                  <a16:creationId xmlns:a16="http://schemas.microsoft.com/office/drawing/2014/main" id="{0C912743-E24B-4E48-8196-5FBD1ECEE9A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625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3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17" name="Freeform 35">
              <a:extLst>
                <a:ext uri="{FF2B5EF4-FFF2-40B4-BE49-F238E27FC236}">
                  <a16:creationId xmlns:a16="http://schemas.microsoft.com/office/drawing/2014/main" id="{6E2F01F4-1410-4FE1-B043-EA97A1541F3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64256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7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6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7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18" name="Freeform 36">
              <a:extLst>
                <a:ext uri="{FF2B5EF4-FFF2-40B4-BE49-F238E27FC236}">
                  <a16:creationId xmlns:a16="http://schemas.microsoft.com/office/drawing/2014/main" id="{58ACFF1C-49F0-414E-B9E3-DE4E9FFAA38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2340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19" name="Freeform 37">
              <a:extLst>
                <a:ext uri="{FF2B5EF4-FFF2-40B4-BE49-F238E27FC236}">
                  <a16:creationId xmlns:a16="http://schemas.microsoft.com/office/drawing/2014/main" id="{DACBD04B-22FF-4A4F-8B29-A2F31A0542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36884" y="6212575"/>
              <a:ext cx="59286" cy="99391"/>
            </a:xfrm>
            <a:custGeom>
              <a:avLst/>
              <a:gdLst>
                <a:gd name="T0" fmla="*/ 21 w 23"/>
                <a:gd name="T1" fmla="*/ 8 h 39"/>
                <a:gd name="T2" fmla="*/ 19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9" y="7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20" name="Freeform 38">
              <a:extLst>
                <a:ext uri="{FF2B5EF4-FFF2-40B4-BE49-F238E27FC236}">
                  <a16:creationId xmlns:a16="http://schemas.microsoft.com/office/drawing/2014/main" id="{A13F6E37-C22B-4FD3-ADFE-9C53ECB446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51969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21" name="Freeform 39">
              <a:extLst>
                <a:ext uri="{FF2B5EF4-FFF2-40B4-BE49-F238E27FC236}">
                  <a16:creationId xmlns:a16="http://schemas.microsoft.com/office/drawing/2014/main" id="{76256F1D-405A-49F9-8592-A899623F2D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30436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22" name="Freeform 40">
              <a:extLst>
                <a:ext uri="{FF2B5EF4-FFF2-40B4-BE49-F238E27FC236}">
                  <a16:creationId xmlns:a16="http://schemas.microsoft.com/office/drawing/2014/main" id="{2F9CAE14-DB05-4B70-867F-3F6164BDB74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62808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23" name="Freeform 41">
              <a:extLst>
                <a:ext uri="{FF2B5EF4-FFF2-40B4-BE49-F238E27FC236}">
                  <a16:creationId xmlns:a16="http://schemas.microsoft.com/office/drawing/2014/main" id="{30C7B10F-7027-41F9-BEE2-F1575CB690D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772813" y="6212575"/>
              <a:ext cx="81955" cy="101135"/>
            </a:xfrm>
            <a:custGeom>
              <a:avLst/>
              <a:gdLst>
                <a:gd name="T0" fmla="*/ 24 w 32"/>
                <a:gd name="T1" fmla="*/ 39 h 40"/>
                <a:gd name="T2" fmla="*/ 24 w 32"/>
                <a:gd name="T3" fmla="*/ 35 h 40"/>
                <a:gd name="T4" fmla="*/ 22 w 32"/>
                <a:gd name="T5" fmla="*/ 37 h 40"/>
                <a:gd name="T6" fmla="*/ 20 w 32"/>
                <a:gd name="T7" fmla="*/ 38 h 40"/>
                <a:gd name="T8" fmla="*/ 17 w 32"/>
                <a:gd name="T9" fmla="*/ 39 h 40"/>
                <a:gd name="T10" fmla="*/ 14 w 32"/>
                <a:gd name="T11" fmla="*/ 40 h 40"/>
                <a:gd name="T12" fmla="*/ 9 w 32"/>
                <a:gd name="T13" fmla="*/ 39 h 40"/>
                <a:gd name="T14" fmla="*/ 5 w 32"/>
                <a:gd name="T15" fmla="*/ 37 h 40"/>
                <a:gd name="T16" fmla="*/ 2 w 32"/>
                <a:gd name="T17" fmla="*/ 33 h 40"/>
                <a:gd name="T18" fmla="*/ 0 w 32"/>
                <a:gd name="T19" fmla="*/ 27 h 40"/>
                <a:gd name="T20" fmla="*/ 2 w 32"/>
                <a:gd name="T21" fmla="*/ 21 h 40"/>
                <a:gd name="T22" fmla="*/ 5 w 32"/>
                <a:gd name="T23" fmla="*/ 17 h 40"/>
                <a:gd name="T24" fmla="*/ 10 w 32"/>
                <a:gd name="T25" fmla="*/ 15 h 40"/>
                <a:gd name="T26" fmla="*/ 16 w 32"/>
                <a:gd name="T27" fmla="*/ 14 h 40"/>
                <a:gd name="T28" fmla="*/ 21 w 32"/>
                <a:gd name="T29" fmla="*/ 15 h 40"/>
                <a:gd name="T30" fmla="*/ 24 w 32"/>
                <a:gd name="T31" fmla="*/ 16 h 40"/>
                <a:gd name="T32" fmla="*/ 24 w 32"/>
                <a:gd name="T33" fmla="*/ 13 h 40"/>
                <a:gd name="T34" fmla="*/ 22 w 32"/>
                <a:gd name="T35" fmla="*/ 8 h 40"/>
                <a:gd name="T36" fmla="*/ 17 w 32"/>
                <a:gd name="T37" fmla="*/ 6 h 40"/>
                <a:gd name="T38" fmla="*/ 12 w 32"/>
                <a:gd name="T39" fmla="*/ 7 h 40"/>
                <a:gd name="T40" fmla="*/ 7 w 32"/>
                <a:gd name="T41" fmla="*/ 9 h 40"/>
                <a:gd name="T42" fmla="*/ 4 w 32"/>
                <a:gd name="T43" fmla="*/ 3 h 40"/>
                <a:gd name="T44" fmla="*/ 10 w 32"/>
                <a:gd name="T45" fmla="*/ 0 h 40"/>
                <a:gd name="T46" fmla="*/ 17 w 32"/>
                <a:gd name="T47" fmla="*/ 0 h 40"/>
                <a:gd name="T48" fmla="*/ 23 w 32"/>
                <a:gd name="T49" fmla="*/ 0 h 40"/>
                <a:gd name="T50" fmla="*/ 28 w 32"/>
                <a:gd name="T51" fmla="*/ 3 h 40"/>
                <a:gd name="T52" fmla="*/ 31 w 32"/>
                <a:gd name="T53" fmla="*/ 7 h 40"/>
                <a:gd name="T54" fmla="*/ 32 w 32"/>
                <a:gd name="T55" fmla="*/ 12 h 40"/>
                <a:gd name="T56" fmla="*/ 32 w 32"/>
                <a:gd name="T57" fmla="*/ 39 h 40"/>
                <a:gd name="T58" fmla="*/ 24 w 32"/>
                <a:gd name="T59" fmla="*/ 39 h 40"/>
                <a:gd name="T60" fmla="*/ 24 w 32"/>
                <a:gd name="T61" fmla="*/ 22 h 40"/>
                <a:gd name="T62" fmla="*/ 22 w 32"/>
                <a:gd name="T63" fmla="*/ 22 h 40"/>
                <a:gd name="T64" fmla="*/ 21 w 32"/>
                <a:gd name="T65" fmla="*/ 21 h 40"/>
                <a:gd name="T66" fmla="*/ 18 w 32"/>
                <a:gd name="T67" fmla="*/ 21 h 40"/>
                <a:gd name="T68" fmla="*/ 16 w 32"/>
                <a:gd name="T69" fmla="*/ 21 h 40"/>
                <a:gd name="T70" fmla="*/ 10 w 32"/>
                <a:gd name="T71" fmla="*/ 22 h 40"/>
                <a:gd name="T72" fmla="*/ 8 w 32"/>
                <a:gd name="T73" fmla="*/ 26 h 40"/>
                <a:gd name="T74" fmla="*/ 8 w 32"/>
                <a:gd name="T75" fmla="*/ 29 h 40"/>
                <a:gd name="T76" fmla="*/ 10 w 32"/>
                <a:gd name="T77" fmla="*/ 31 h 40"/>
                <a:gd name="T78" fmla="*/ 12 w 32"/>
                <a:gd name="T79" fmla="*/ 32 h 40"/>
                <a:gd name="T80" fmla="*/ 15 w 32"/>
                <a:gd name="T81" fmla="*/ 33 h 40"/>
                <a:gd name="T82" fmla="*/ 18 w 32"/>
                <a:gd name="T83" fmla="*/ 32 h 40"/>
                <a:gd name="T84" fmla="*/ 21 w 32"/>
                <a:gd name="T85" fmla="*/ 31 h 40"/>
                <a:gd name="T86" fmla="*/ 23 w 32"/>
                <a:gd name="T87" fmla="*/ 30 h 40"/>
                <a:gd name="T88" fmla="*/ 24 w 32"/>
                <a:gd name="T89" fmla="*/ 28 h 40"/>
                <a:gd name="T90" fmla="*/ 24 w 32"/>
                <a:gd name="T91" fmla="*/ 2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2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3" y="37"/>
                    <a:pt x="22" y="37"/>
                  </a:cubicBezTo>
                  <a:cubicBezTo>
                    <a:pt x="21" y="37"/>
                    <a:pt x="21" y="38"/>
                    <a:pt x="20" y="38"/>
                  </a:cubicBezTo>
                  <a:cubicBezTo>
                    <a:pt x="19" y="39"/>
                    <a:pt x="18" y="39"/>
                    <a:pt x="17" y="39"/>
                  </a:cubicBezTo>
                  <a:cubicBezTo>
                    <a:pt x="16" y="39"/>
                    <a:pt x="15" y="40"/>
                    <a:pt x="14" y="40"/>
                  </a:cubicBezTo>
                  <a:cubicBezTo>
                    <a:pt x="12" y="40"/>
                    <a:pt x="11" y="39"/>
                    <a:pt x="9" y="39"/>
                  </a:cubicBezTo>
                  <a:cubicBezTo>
                    <a:pt x="7" y="38"/>
                    <a:pt x="6" y="38"/>
                    <a:pt x="5" y="37"/>
                  </a:cubicBezTo>
                  <a:cubicBezTo>
                    <a:pt x="3" y="36"/>
                    <a:pt x="2" y="34"/>
                    <a:pt x="2" y="33"/>
                  </a:cubicBezTo>
                  <a:cubicBezTo>
                    <a:pt x="1" y="31"/>
                    <a:pt x="0" y="29"/>
                    <a:pt x="0" y="27"/>
                  </a:cubicBezTo>
                  <a:cubicBezTo>
                    <a:pt x="0" y="24"/>
                    <a:pt x="1" y="23"/>
                    <a:pt x="2" y="21"/>
                  </a:cubicBezTo>
                  <a:cubicBezTo>
                    <a:pt x="2" y="20"/>
                    <a:pt x="3" y="18"/>
                    <a:pt x="5" y="17"/>
                  </a:cubicBezTo>
                  <a:cubicBezTo>
                    <a:pt x="6" y="16"/>
                    <a:pt x="8" y="15"/>
                    <a:pt x="10" y="15"/>
                  </a:cubicBezTo>
                  <a:cubicBezTo>
                    <a:pt x="12" y="14"/>
                    <a:pt x="14" y="14"/>
                    <a:pt x="16" y="14"/>
                  </a:cubicBezTo>
                  <a:cubicBezTo>
                    <a:pt x="18" y="14"/>
                    <a:pt x="19" y="14"/>
                    <a:pt x="21" y="15"/>
                  </a:cubicBezTo>
                  <a:cubicBezTo>
                    <a:pt x="22" y="15"/>
                    <a:pt x="23" y="15"/>
                    <a:pt x="24" y="16"/>
                  </a:cubicBezTo>
                  <a:cubicBezTo>
                    <a:pt x="24" y="13"/>
                    <a:pt x="24" y="13"/>
                    <a:pt x="24" y="13"/>
                  </a:cubicBezTo>
                  <a:cubicBezTo>
                    <a:pt x="24" y="11"/>
                    <a:pt x="24" y="9"/>
                    <a:pt x="22" y="8"/>
                  </a:cubicBezTo>
                  <a:cubicBezTo>
                    <a:pt x="21" y="7"/>
                    <a:pt x="19" y="6"/>
                    <a:pt x="17" y="6"/>
                  </a:cubicBezTo>
                  <a:cubicBezTo>
                    <a:pt x="15" y="6"/>
                    <a:pt x="13" y="6"/>
                    <a:pt x="12" y="7"/>
                  </a:cubicBezTo>
                  <a:cubicBezTo>
                    <a:pt x="10" y="7"/>
                    <a:pt x="9" y="8"/>
                    <a:pt x="7" y="9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6" y="2"/>
                    <a:pt x="8" y="1"/>
                    <a:pt x="10" y="0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19" y="0"/>
                    <a:pt x="21" y="0"/>
                    <a:pt x="23" y="0"/>
                  </a:cubicBezTo>
                  <a:cubicBezTo>
                    <a:pt x="25" y="1"/>
                    <a:pt x="26" y="2"/>
                    <a:pt x="28" y="3"/>
                  </a:cubicBezTo>
                  <a:cubicBezTo>
                    <a:pt x="29" y="4"/>
                    <a:pt x="30" y="5"/>
                    <a:pt x="31" y="7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2" y="39"/>
                    <a:pt x="32" y="39"/>
                    <a:pt x="32" y="39"/>
                  </a:cubicBezTo>
                  <a:lnTo>
                    <a:pt x="24" y="39"/>
                  </a:lnTo>
                  <a:close/>
                  <a:moveTo>
                    <a:pt x="24" y="22"/>
                  </a:moveTo>
                  <a:cubicBezTo>
                    <a:pt x="24" y="22"/>
                    <a:pt x="23" y="22"/>
                    <a:pt x="22" y="22"/>
                  </a:cubicBezTo>
                  <a:cubicBezTo>
                    <a:pt x="22" y="21"/>
                    <a:pt x="21" y="21"/>
                    <a:pt x="21" y="21"/>
                  </a:cubicBezTo>
                  <a:cubicBezTo>
                    <a:pt x="20" y="21"/>
                    <a:pt x="19" y="21"/>
                    <a:pt x="18" y="21"/>
                  </a:cubicBezTo>
                  <a:cubicBezTo>
                    <a:pt x="17" y="21"/>
                    <a:pt x="17" y="21"/>
                    <a:pt x="16" y="21"/>
                  </a:cubicBezTo>
                  <a:cubicBezTo>
                    <a:pt x="13" y="21"/>
                    <a:pt x="11" y="21"/>
                    <a:pt x="10" y="22"/>
                  </a:cubicBezTo>
                  <a:cubicBezTo>
                    <a:pt x="8" y="23"/>
                    <a:pt x="8" y="25"/>
                    <a:pt x="8" y="26"/>
                  </a:cubicBezTo>
                  <a:cubicBezTo>
                    <a:pt x="8" y="28"/>
                    <a:pt x="8" y="29"/>
                    <a:pt x="8" y="29"/>
                  </a:cubicBezTo>
                  <a:cubicBezTo>
                    <a:pt x="9" y="30"/>
                    <a:pt x="9" y="31"/>
                    <a:pt x="10" y="31"/>
                  </a:cubicBezTo>
                  <a:cubicBezTo>
                    <a:pt x="10" y="32"/>
                    <a:pt x="11" y="32"/>
                    <a:pt x="12" y="32"/>
                  </a:cubicBezTo>
                  <a:cubicBezTo>
                    <a:pt x="13" y="33"/>
                    <a:pt x="14" y="33"/>
                    <a:pt x="15" y="33"/>
                  </a:cubicBezTo>
                  <a:cubicBezTo>
                    <a:pt x="16" y="33"/>
                    <a:pt x="17" y="33"/>
                    <a:pt x="18" y="32"/>
                  </a:cubicBezTo>
                  <a:cubicBezTo>
                    <a:pt x="19" y="32"/>
                    <a:pt x="20" y="32"/>
                    <a:pt x="21" y="31"/>
                  </a:cubicBezTo>
                  <a:cubicBezTo>
                    <a:pt x="21" y="31"/>
                    <a:pt x="22" y="30"/>
                    <a:pt x="23" y="30"/>
                  </a:cubicBezTo>
                  <a:cubicBezTo>
                    <a:pt x="23" y="29"/>
                    <a:pt x="24" y="28"/>
                    <a:pt x="24" y="28"/>
                  </a:cubicBezTo>
                  <a:lnTo>
                    <a:pt x="24" y="2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24" name="Freeform 42">
              <a:extLst>
                <a:ext uri="{FF2B5EF4-FFF2-40B4-BE49-F238E27FC236}">
                  <a16:creationId xmlns:a16="http://schemas.microsoft.com/office/drawing/2014/main" id="{16B384B2-A2D9-4CB4-AF87-AF1004852B5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77436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2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10 w 31"/>
                <a:gd name="T11" fmla="*/ 9 h 39"/>
                <a:gd name="T12" fmla="*/ 8 w 31"/>
                <a:gd name="T13" fmla="*/ 12 h 39"/>
                <a:gd name="T14" fmla="*/ 8 w 31"/>
                <a:gd name="T15" fmla="*/ 16 h 39"/>
                <a:gd name="T16" fmla="*/ 8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8 w 31"/>
                <a:gd name="T23" fmla="*/ 0 h 39"/>
                <a:gd name="T24" fmla="*/ 8 w 31"/>
                <a:gd name="T25" fmla="*/ 4 h 39"/>
                <a:gd name="T26" fmla="*/ 9 w 31"/>
                <a:gd name="T27" fmla="*/ 2 h 39"/>
                <a:gd name="T28" fmla="*/ 12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8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2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10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8" y="15"/>
                    <a:pt x="8" y="16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2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20" y="0"/>
                    <a:pt x="22" y="0"/>
                    <a:pt x="23" y="1"/>
                  </a:cubicBezTo>
                  <a:cubicBezTo>
                    <a:pt x="25" y="1"/>
                    <a:pt x="26" y="2"/>
                    <a:pt x="28" y="4"/>
                  </a:cubicBezTo>
                  <a:cubicBezTo>
                    <a:pt x="29" y="5"/>
                    <a:pt x="29" y="7"/>
                    <a:pt x="30" y="9"/>
                  </a:cubicBezTo>
                  <a:cubicBezTo>
                    <a:pt x="31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25" name="Freeform 43">
              <a:extLst>
                <a:ext uri="{FF2B5EF4-FFF2-40B4-BE49-F238E27FC236}">
                  <a16:creationId xmlns:a16="http://schemas.microsoft.com/office/drawing/2014/main" id="{DC309D60-84B9-4652-BEF1-F71EFAD3A40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75084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0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3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6 w 29"/>
                <a:gd name="T55" fmla="*/ 24 h 40"/>
                <a:gd name="T56" fmla="*/ 13 w 29"/>
                <a:gd name="T57" fmla="*/ 22 h 40"/>
                <a:gd name="T58" fmla="*/ 7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1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2" y="6"/>
                    <a:pt x="11" y="7"/>
                    <a:pt x="10" y="7"/>
                  </a:cubicBezTo>
                  <a:cubicBezTo>
                    <a:pt x="9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1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8" y="25"/>
                    <a:pt x="18" y="24"/>
                    <a:pt x="16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7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2" y="15"/>
                    <a:pt x="2" y="14"/>
                  </a:cubicBezTo>
                  <a:cubicBezTo>
                    <a:pt x="2" y="13"/>
                    <a:pt x="1" y="12"/>
                    <a:pt x="1" y="10"/>
                  </a:cubicBezTo>
                  <a:cubicBezTo>
                    <a:pt x="1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26" name="Freeform 44">
              <a:extLst>
                <a:ext uri="{FF2B5EF4-FFF2-40B4-BE49-F238E27FC236}">
                  <a16:creationId xmlns:a16="http://schemas.microsoft.com/office/drawing/2014/main" id="{A4440044-5486-483F-B652-7EE3849461B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58782" y="6212575"/>
              <a:ext cx="122060" cy="99391"/>
            </a:xfrm>
            <a:custGeom>
              <a:avLst/>
              <a:gdLst>
                <a:gd name="T0" fmla="*/ 55 w 70"/>
                <a:gd name="T1" fmla="*/ 57 h 57"/>
                <a:gd name="T2" fmla="*/ 45 w 70"/>
                <a:gd name="T3" fmla="*/ 57 h 57"/>
                <a:gd name="T4" fmla="*/ 35 w 70"/>
                <a:gd name="T5" fmla="*/ 17 h 57"/>
                <a:gd name="T6" fmla="*/ 25 w 70"/>
                <a:gd name="T7" fmla="*/ 57 h 57"/>
                <a:gd name="T8" fmla="*/ 14 w 70"/>
                <a:gd name="T9" fmla="*/ 57 h 57"/>
                <a:gd name="T10" fmla="*/ 0 w 70"/>
                <a:gd name="T11" fmla="*/ 0 h 57"/>
                <a:gd name="T12" fmla="*/ 10 w 70"/>
                <a:gd name="T13" fmla="*/ 0 h 57"/>
                <a:gd name="T14" fmla="*/ 20 w 70"/>
                <a:gd name="T15" fmla="*/ 39 h 57"/>
                <a:gd name="T16" fmla="*/ 30 w 70"/>
                <a:gd name="T17" fmla="*/ 0 h 57"/>
                <a:gd name="T18" fmla="*/ 39 w 70"/>
                <a:gd name="T19" fmla="*/ 0 h 57"/>
                <a:gd name="T20" fmla="*/ 49 w 70"/>
                <a:gd name="T21" fmla="*/ 39 h 57"/>
                <a:gd name="T22" fmla="*/ 60 w 70"/>
                <a:gd name="T23" fmla="*/ 0 h 57"/>
                <a:gd name="T24" fmla="*/ 70 w 70"/>
                <a:gd name="T25" fmla="*/ 0 h 57"/>
                <a:gd name="T26" fmla="*/ 55 w 70"/>
                <a:gd name="T27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7">
                  <a:moveTo>
                    <a:pt x="55" y="57"/>
                  </a:moveTo>
                  <a:lnTo>
                    <a:pt x="45" y="57"/>
                  </a:lnTo>
                  <a:lnTo>
                    <a:pt x="35" y="17"/>
                  </a:lnTo>
                  <a:lnTo>
                    <a:pt x="25" y="57"/>
                  </a:lnTo>
                  <a:lnTo>
                    <a:pt x="14" y="57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0" y="39"/>
                  </a:lnTo>
                  <a:lnTo>
                    <a:pt x="30" y="0"/>
                  </a:lnTo>
                  <a:lnTo>
                    <a:pt x="39" y="0"/>
                  </a:lnTo>
                  <a:lnTo>
                    <a:pt x="49" y="39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27" name="Freeform 45">
              <a:extLst>
                <a:ext uri="{FF2B5EF4-FFF2-40B4-BE49-F238E27FC236}">
                  <a16:creationId xmlns:a16="http://schemas.microsoft.com/office/drawing/2014/main" id="{446771E9-EA09-4256-8955-FE392C07AFC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1913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28" name="Freeform 46">
              <a:extLst>
                <a:ext uri="{FF2B5EF4-FFF2-40B4-BE49-F238E27FC236}">
                  <a16:creationId xmlns:a16="http://schemas.microsoft.com/office/drawing/2014/main" id="{FE985025-CAA5-44F2-9174-87CD1D8BA18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95927" y="6212575"/>
              <a:ext cx="57543" cy="99391"/>
            </a:xfrm>
            <a:custGeom>
              <a:avLst/>
              <a:gdLst>
                <a:gd name="T0" fmla="*/ 21 w 23"/>
                <a:gd name="T1" fmla="*/ 8 h 39"/>
                <a:gd name="T2" fmla="*/ 18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6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0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29" name="Freeform 47">
              <a:extLst>
                <a:ext uri="{FF2B5EF4-FFF2-40B4-BE49-F238E27FC236}">
                  <a16:creationId xmlns:a16="http://schemas.microsoft.com/office/drawing/2014/main" id="{1105FBBE-AD06-4F22-94D8-E2E98185FA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6494" y="6284068"/>
              <a:ext cx="29644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3 w 12"/>
                <a:gd name="T11" fmla="*/ 11 h 12"/>
                <a:gd name="T12" fmla="*/ 2 w 12"/>
                <a:gd name="T13" fmla="*/ 10 h 12"/>
                <a:gd name="T14" fmla="*/ 0 w 12"/>
                <a:gd name="T15" fmla="*/ 8 h 12"/>
                <a:gd name="T16" fmla="*/ 0 w 12"/>
                <a:gd name="T17" fmla="*/ 6 h 12"/>
                <a:gd name="T18" fmla="*/ 0 w 12"/>
                <a:gd name="T19" fmla="*/ 4 h 12"/>
                <a:gd name="T20" fmla="*/ 2 w 12"/>
                <a:gd name="T21" fmla="*/ 2 h 12"/>
                <a:gd name="T22" fmla="*/ 3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3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0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3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30" name="Freeform 48">
              <a:extLst>
                <a:ext uri="{FF2B5EF4-FFF2-40B4-BE49-F238E27FC236}">
                  <a16:creationId xmlns:a16="http://schemas.microsoft.com/office/drawing/2014/main" id="{8141824A-6AD4-4B53-B837-71461DD538C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388691"/>
              <a:ext cx="94161" cy="130778"/>
            </a:xfrm>
            <a:custGeom>
              <a:avLst/>
              <a:gdLst>
                <a:gd name="T0" fmla="*/ 32 w 54"/>
                <a:gd name="T1" fmla="*/ 12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2 h 75"/>
                <a:gd name="T8" fmla="*/ 0 w 54"/>
                <a:gd name="T9" fmla="*/ 12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2 h 75"/>
                <a:gd name="T16" fmla="*/ 32 w 54"/>
                <a:gd name="T17" fmla="*/ 12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2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2"/>
                  </a:lnTo>
                  <a:lnTo>
                    <a:pt x="0" y="12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2"/>
                  </a:lnTo>
                  <a:lnTo>
                    <a:pt x="32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31" name="Freeform 49">
              <a:extLst>
                <a:ext uri="{FF2B5EF4-FFF2-40B4-BE49-F238E27FC236}">
                  <a16:creationId xmlns:a16="http://schemas.microsoft.com/office/drawing/2014/main" id="{1CEF1D95-CD6C-417A-9539-CB4DBAA5E07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383459"/>
              <a:ext cx="78468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9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1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7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7"/>
                    <a:pt x="9" y="17"/>
                  </a:cubicBezTo>
                  <a:cubicBezTo>
                    <a:pt x="10" y="16"/>
                    <a:pt x="10" y="16"/>
                    <a:pt x="11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32" name="Freeform 50">
              <a:extLst>
                <a:ext uri="{FF2B5EF4-FFF2-40B4-BE49-F238E27FC236}">
                  <a16:creationId xmlns:a16="http://schemas.microsoft.com/office/drawing/2014/main" id="{BF6CB5D3-9648-4D73-AB7C-5374814E5BA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418333"/>
              <a:ext cx="85443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7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3 w 33"/>
                <a:gd name="T73" fmla="*/ 8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9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2" y="32"/>
                    <a:pt x="23" y="32"/>
                    <a:pt x="23" y="32"/>
                  </a:cubicBezTo>
                  <a:cubicBezTo>
                    <a:pt x="24" y="31"/>
                    <a:pt x="25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1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5" y="13"/>
                  </a:cubicBezTo>
                  <a:cubicBezTo>
                    <a:pt x="24" y="12"/>
                    <a:pt x="24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33" name="Freeform 51">
              <a:extLst>
                <a:ext uri="{FF2B5EF4-FFF2-40B4-BE49-F238E27FC236}">
                  <a16:creationId xmlns:a16="http://schemas.microsoft.com/office/drawing/2014/main" id="{55F0E322-3AEE-482E-8E59-9FB04FACA93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383459"/>
              <a:ext cx="83698" cy="137753"/>
            </a:xfrm>
            <a:custGeom>
              <a:avLst/>
              <a:gdLst>
                <a:gd name="T0" fmla="*/ 33 w 33"/>
                <a:gd name="T1" fmla="*/ 35 h 54"/>
                <a:gd name="T2" fmla="*/ 31 w 33"/>
                <a:gd name="T3" fmla="*/ 43 h 54"/>
                <a:gd name="T4" fmla="*/ 28 w 33"/>
                <a:gd name="T5" fmla="*/ 49 h 54"/>
                <a:gd name="T6" fmla="*/ 23 w 33"/>
                <a:gd name="T7" fmla="*/ 53 h 54"/>
                <a:gd name="T8" fmla="*/ 17 w 33"/>
                <a:gd name="T9" fmla="*/ 54 h 54"/>
                <a:gd name="T10" fmla="*/ 12 w 33"/>
                <a:gd name="T11" fmla="*/ 53 h 54"/>
                <a:gd name="T12" fmla="*/ 8 w 33"/>
                <a:gd name="T13" fmla="*/ 50 h 54"/>
                <a:gd name="T14" fmla="*/ 8 w 33"/>
                <a:gd name="T15" fmla="*/ 53 h 54"/>
                <a:gd name="T16" fmla="*/ 0 w 33"/>
                <a:gd name="T17" fmla="*/ 53 h 54"/>
                <a:gd name="T18" fmla="*/ 0 w 33"/>
                <a:gd name="T19" fmla="*/ 4 h 54"/>
                <a:gd name="T20" fmla="*/ 8 w 33"/>
                <a:gd name="T21" fmla="*/ 0 h 54"/>
                <a:gd name="T22" fmla="*/ 8 w 33"/>
                <a:gd name="T23" fmla="*/ 19 h 54"/>
                <a:gd name="T24" fmla="*/ 10 w 33"/>
                <a:gd name="T25" fmla="*/ 17 h 54"/>
                <a:gd name="T26" fmla="*/ 12 w 33"/>
                <a:gd name="T27" fmla="*/ 16 h 54"/>
                <a:gd name="T28" fmla="*/ 14 w 33"/>
                <a:gd name="T29" fmla="*/ 14 h 54"/>
                <a:gd name="T30" fmla="*/ 18 w 33"/>
                <a:gd name="T31" fmla="*/ 14 h 54"/>
                <a:gd name="T32" fmla="*/ 24 w 33"/>
                <a:gd name="T33" fmla="*/ 15 h 54"/>
                <a:gd name="T34" fmla="*/ 28 w 33"/>
                <a:gd name="T35" fmla="*/ 19 h 54"/>
                <a:gd name="T36" fmla="*/ 31 w 33"/>
                <a:gd name="T37" fmla="*/ 25 h 54"/>
                <a:gd name="T38" fmla="*/ 33 w 33"/>
                <a:gd name="T39" fmla="*/ 35 h 54"/>
                <a:gd name="T40" fmla="*/ 25 w 33"/>
                <a:gd name="T41" fmla="*/ 35 h 54"/>
                <a:gd name="T42" fmla="*/ 23 w 33"/>
                <a:gd name="T43" fmla="*/ 24 h 54"/>
                <a:gd name="T44" fmla="*/ 16 w 33"/>
                <a:gd name="T45" fmla="*/ 21 h 54"/>
                <a:gd name="T46" fmla="*/ 14 w 33"/>
                <a:gd name="T47" fmla="*/ 21 h 54"/>
                <a:gd name="T48" fmla="*/ 11 w 33"/>
                <a:gd name="T49" fmla="*/ 23 h 54"/>
                <a:gd name="T50" fmla="*/ 9 w 33"/>
                <a:gd name="T51" fmla="*/ 24 h 54"/>
                <a:gd name="T52" fmla="*/ 8 w 33"/>
                <a:gd name="T53" fmla="*/ 26 h 54"/>
                <a:gd name="T54" fmla="*/ 8 w 33"/>
                <a:gd name="T55" fmla="*/ 42 h 54"/>
                <a:gd name="T56" fmla="*/ 9 w 33"/>
                <a:gd name="T57" fmla="*/ 44 h 54"/>
                <a:gd name="T58" fmla="*/ 11 w 33"/>
                <a:gd name="T59" fmla="*/ 45 h 54"/>
                <a:gd name="T60" fmla="*/ 14 w 33"/>
                <a:gd name="T61" fmla="*/ 47 h 54"/>
                <a:gd name="T62" fmla="*/ 17 w 33"/>
                <a:gd name="T63" fmla="*/ 47 h 54"/>
                <a:gd name="T64" fmla="*/ 23 w 33"/>
                <a:gd name="T65" fmla="*/ 44 h 54"/>
                <a:gd name="T66" fmla="*/ 25 w 33"/>
                <a:gd name="T67" fmla="*/ 35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4">
                  <a:moveTo>
                    <a:pt x="33" y="35"/>
                  </a:moveTo>
                  <a:cubicBezTo>
                    <a:pt x="33" y="38"/>
                    <a:pt x="32" y="41"/>
                    <a:pt x="31" y="43"/>
                  </a:cubicBezTo>
                  <a:cubicBezTo>
                    <a:pt x="30" y="46"/>
                    <a:pt x="29" y="48"/>
                    <a:pt x="28" y="49"/>
                  </a:cubicBezTo>
                  <a:cubicBezTo>
                    <a:pt x="27" y="51"/>
                    <a:pt x="25" y="52"/>
                    <a:pt x="23" y="53"/>
                  </a:cubicBezTo>
                  <a:cubicBezTo>
                    <a:pt x="21" y="54"/>
                    <a:pt x="19" y="54"/>
                    <a:pt x="17" y="54"/>
                  </a:cubicBezTo>
                  <a:cubicBezTo>
                    <a:pt x="16" y="54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7"/>
                    <a:pt x="10" y="17"/>
                  </a:cubicBezTo>
                  <a:cubicBezTo>
                    <a:pt x="11" y="16"/>
                    <a:pt x="11" y="16"/>
                    <a:pt x="12" y="16"/>
                  </a:cubicBezTo>
                  <a:cubicBezTo>
                    <a:pt x="13" y="15"/>
                    <a:pt x="13" y="15"/>
                    <a:pt x="14" y="14"/>
                  </a:cubicBezTo>
                  <a:cubicBezTo>
                    <a:pt x="15" y="14"/>
                    <a:pt x="16" y="14"/>
                    <a:pt x="18" y="14"/>
                  </a:cubicBezTo>
                  <a:cubicBezTo>
                    <a:pt x="20" y="14"/>
                    <a:pt x="22" y="14"/>
                    <a:pt x="24" y="15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30" y="21"/>
                    <a:pt x="31" y="23"/>
                    <a:pt x="31" y="25"/>
                  </a:cubicBezTo>
                  <a:cubicBezTo>
                    <a:pt x="32" y="28"/>
                    <a:pt x="33" y="31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0"/>
                    <a:pt x="24" y="27"/>
                    <a:pt x="23" y="24"/>
                  </a:cubicBezTo>
                  <a:cubicBezTo>
                    <a:pt x="21" y="22"/>
                    <a:pt x="19" y="21"/>
                    <a:pt x="16" y="21"/>
                  </a:cubicBezTo>
                  <a:cubicBezTo>
                    <a:pt x="15" y="21"/>
                    <a:pt x="15" y="21"/>
                    <a:pt x="14" y="21"/>
                  </a:cubicBezTo>
                  <a:cubicBezTo>
                    <a:pt x="13" y="22"/>
                    <a:pt x="12" y="22"/>
                    <a:pt x="11" y="23"/>
                  </a:cubicBezTo>
                  <a:cubicBezTo>
                    <a:pt x="11" y="23"/>
                    <a:pt x="10" y="24"/>
                    <a:pt x="9" y="24"/>
                  </a:cubicBezTo>
                  <a:cubicBezTo>
                    <a:pt x="9" y="25"/>
                    <a:pt x="8" y="25"/>
                    <a:pt x="8" y="26"/>
                  </a:cubicBezTo>
                  <a:cubicBezTo>
                    <a:pt x="8" y="42"/>
                    <a:pt x="8" y="42"/>
                    <a:pt x="8" y="42"/>
                  </a:cubicBezTo>
                  <a:cubicBezTo>
                    <a:pt x="8" y="43"/>
                    <a:pt x="9" y="43"/>
                    <a:pt x="9" y="44"/>
                  </a:cubicBezTo>
                  <a:cubicBezTo>
                    <a:pt x="10" y="44"/>
                    <a:pt x="11" y="45"/>
                    <a:pt x="11" y="45"/>
                  </a:cubicBezTo>
                  <a:cubicBezTo>
                    <a:pt x="12" y="46"/>
                    <a:pt x="13" y="46"/>
                    <a:pt x="14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9" y="47"/>
                    <a:pt x="21" y="46"/>
                    <a:pt x="23" y="44"/>
                  </a:cubicBezTo>
                  <a:cubicBezTo>
                    <a:pt x="24" y="42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34" name="Freeform 52">
              <a:extLst>
                <a:ext uri="{FF2B5EF4-FFF2-40B4-BE49-F238E27FC236}">
                  <a16:creationId xmlns:a16="http://schemas.microsoft.com/office/drawing/2014/main" id="{0D3C59AD-7CCF-4166-9D21-3C348488931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1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4" y="31"/>
                    <a:pt x="24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35" name="Freeform 53">
              <a:extLst>
                <a:ext uri="{FF2B5EF4-FFF2-40B4-BE49-F238E27FC236}">
                  <a16:creationId xmlns:a16="http://schemas.microsoft.com/office/drawing/2014/main" id="{9C9DA4CE-7B4D-42AE-9264-92B7D7757DD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1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2" y="54"/>
                    <a:pt x="11" y="54"/>
                  </a:cubicBezTo>
                  <a:cubicBezTo>
                    <a:pt x="10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2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36" name="Freeform 54">
              <a:extLst>
                <a:ext uri="{FF2B5EF4-FFF2-40B4-BE49-F238E27FC236}">
                  <a16:creationId xmlns:a16="http://schemas.microsoft.com/office/drawing/2014/main" id="{DBCBD0D2-5C9C-4B12-8CF8-9CA320825ED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37" name="Freeform 55">
              <a:extLst>
                <a:ext uri="{FF2B5EF4-FFF2-40B4-BE49-F238E27FC236}">
                  <a16:creationId xmlns:a16="http://schemas.microsoft.com/office/drawing/2014/main" id="{CDCFBD31-7961-4587-876E-1FAFC4E74AB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0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2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0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3" y="31"/>
                    <a:pt x="24" y="31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0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7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38" name="Freeform 56">
              <a:extLst>
                <a:ext uri="{FF2B5EF4-FFF2-40B4-BE49-F238E27FC236}">
                  <a16:creationId xmlns:a16="http://schemas.microsoft.com/office/drawing/2014/main" id="{52482C08-723A-4738-9787-3516B3C1714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418333"/>
              <a:ext cx="55799" cy="101135"/>
            </a:xfrm>
            <a:custGeom>
              <a:avLst/>
              <a:gdLst>
                <a:gd name="T0" fmla="*/ 20 w 22"/>
                <a:gd name="T1" fmla="*/ 9 h 39"/>
                <a:gd name="T2" fmla="*/ 18 w 22"/>
                <a:gd name="T3" fmla="*/ 8 h 39"/>
                <a:gd name="T4" fmla="*/ 15 w 22"/>
                <a:gd name="T5" fmla="*/ 7 h 39"/>
                <a:gd name="T6" fmla="*/ 9 w 22"/>
                <a:gd name="T7" fmla="*/ 10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1 h 39"/>
                <a:gd name="T16" fmla="*/ 7 w 22"/>
                <a:gd name="T17" fmla="*/ 1 h 39"/>
                <a:gd name="T18" fmla="*/ 7 w 22"/>
                <a:gd name="T19" fmla="*/ 5 h 39"/>
                <a:gd name="T20" fmla="*/ 9 w 22"/>
                <a:gd name="T21" fmla="*/ 3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1 h 39"/>
                <a:gd name="T30" fmla="*/ 22 w 22"/>
                <a:gd name="T31" fmla="*/ 2 h 39"/>
                <a:gd name="T32" fmla="*/ 20 w 22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7" y="8"/>
                    <a:pt x="16" y="7"/>
                    <a:pt x="15" y="7"/>
                  </a:cubicBezTo>
                  <a:cubicBezTo>
                    <a:pt x="12" y="7"/>
                    <a:pt x="10" y="8"/>
                    <a:pt x="9" y="10"/>
                  </a:cubicBezTo>
                  <a:cubicBezTo>
                    <a:pt x="8" y="12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8" y="4"/>
                    <a:pt x="8" y="3"/>
                    <a:pt x="9" y="3"/>
                  </a:cubicBezTo>
                  <a:cubicBezTo>
                    <a:pt x="9" y="2"/>
                    <a:pt x="10" y="2"/>
                    <a:pt x="11" y="1"/>
                  </a:cubicBezTo>
                  <a:cubicBezTo>
                    <a:pt x="11" y="1"/>
                    <a:pt x="12" y="1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1"/>
                  </a:cubicBezTo>
                  <a:cubicBezTo>
                    <a:pt x="21" y="1"/>
                    <a:pt x="22" y="1"/>
                    <a:pt x="22" y="2"/>
                  </a:cubicBezTo>
                  <a:lnTo>
                    <a:pt x="20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39" name="Freeform 57">
              <a:extLst>
                <a:ext uri="{FF2B5EF4-FFF2-40B4-BE49-F238E27FC236}">
                  <a16:creationId xmlns:a16="http://schemas.microsoft.com/office/drawing/2014/main" id="{5B72A8F0-33E3-42CD-88C2-C35BEC0E983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40" name="Freeform 58">
              <a:extLst>
                <a:ext uri="{FF2B5EF4-FFF2-40B4-BE49-F238E27FC236}">
                  <a16:creationId xmlns:a16="http://schemas.microsoft.com/office/drawing/2014/main" id="{73FC54A2-6588-499B-968A-79F4CA9CF5F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383459"/>
              <a:ext cx="80211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10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2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8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7"/>
                    <a:pt x="9" y="17"/>
                  </a:cubicBezTo>
                  <a:cubicBezTo>
                    <a:pt x="10" y="16"/>
                    <a:pt x="11" y="16"/>
                    <a:pt x="12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41" name="Freeform 59">
              <a:extLst>
                <a:ext uri="{FF2B5EF4-FFF2-40B4-BE49-F238E27FC236}">
                  <a16:creationId xmlns:a16="http://schemas.microsoft.com/office/drawing/2014/main" id="{1E6AB002-C130-4648-A18E-BA496FF1756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8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2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6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1 w 33"/>
                <a:gd name="T69" fmla="*/ 8 h 40"/>
                <a:gd name="T70" fmla="*/ 17 w 33"/>
                <a:gd name="T71" fmla="*/ 7 h 40"/>
                <a:gd name="T72" fmla="*/ 13 w 33"/>
                <a:gd name="T73" fmla="*/ 8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6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10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3" y="32"/>
                    <a:pt x="23" y="32"/>
                    <a:pt x="24" y="32"/>
                  </a:cubicBezTo>
                  <a:cubicBezTo>
                    <a:pt x="24" y="31"/>
                    <a:pt x="25" y="31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7" y="38"/>
                    <a:pt x="26" y="38"/>
                    <a:pt x="25" y="39"/>
                  </a:cubicBezTo>
                  <a:cubicBezTo>
                    <a:pt x="24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4" y="40"/>
                    <a:pt x="12" y="39"/>
                  </a:cubicBezTo>
                  <a:cubicBezTo>
                    <a:pt x="11" y="39"/>
                    <a:pt x="10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4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5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6" y="17"/>
                  </a:moveTo>
                  <a:cubicBezTo>
                    <a:pt x="26" y="15"/>
                    <a:pt x="25" y="14"/>
                    <a:pt x="25" y="13"/>
                  </a:cubicBezTo>
                  <a:cubicBezTo>
                    <a:pt x="25" y="12"/>
                    <a:pt x="24" y="11"/>
                    <a:pt x="23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20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6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42" name="Freeform 60">
              <a:extLst>
                <a:ext uri="{FF2B5EF4-FFF2-40B4-BE49-F238E27FC236}">
                  <a16:creationId xmlns:a16="http://schemas.microsoft.com/office/drawing/2014/main" id="{B0044278-9F7F-4596-96D2-ACFBE0DEC0B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7435" y="6421821"/>
              <a:ext cx="122060" cy="97648"/>
            </a:xfrm>
            <a:custGeom>
              <a:avLst/>
              <a:gdLst>
                <a:gd name="T0" fmla="*/ 56 w 70"/>
                <a:gd name="T1" fmla="*/ 56 h 56"/>
                <a:gd name="T2" fmla="*/ 46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5 w 70"/>
                <a:gd name="T9" fmla="*/ 56 h 56"/>
                <a:gd name="T10" fmla="*/ 0 w 70"/>
                <a:gd name="T11" fmla="*/ 0 h 56"/>
                <a:gd name="T12" fmla="*/ 10 w 70"/>
                <a:gd name="T13" fmla="*/ 0 h 56"/>
                <a:gd name="T14" fmla="*/ 21 w 70"/>
                <a:gd name="T15" fmla="*/ 38 h 56"/>
                <a:gd name="T16" fmla="*/ 31 w 70"/>
                <a:gd name="T17" fmla="*/ 0 h 56"/>
                <a:gd name="T18" fmla="*/ 40 w 70"/>
                <a:gd name="T19" fmla="*/ 0 h 56"/>
                <a:gd name="T20" fmla="*/ 50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6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6" y="56"/>
                  </a:moveTo>
                  <a:lnTo>
                    <a:pt x="46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5" y="56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1" y="38"/>
                  </a:lnTo>
                  <a:lnTo>
                    <a:pt x="31" y="0"/>
                  </a:lnTo>
                  <a:lnTo>
                    <a:pt x="40" y="0"/>
                  </a:lnTo>
                  <a:lnTo>
                    <a:pt x="50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6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43" name="Freeform 61">
              <a:extLst>
                <a:ext uri="{FF2B5EF4-FFF2-40B4-BE49-F238E27FC236}">
                  <a16:creationId xmlns:a16="http://schemas.microsoft.com/office/drawing/2014/main" id="{79F75E0D-27A7-44C1-BF19-495F4768F99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859957" y="6418333"/>
              <a:ext cx="87186" cy="102879"/>
            </a:xfrm>
            <a:custGeom>
              <a:avLst/>
              <a:gdLst>
                <a:gd name="T0" fmla="*/ 34 w 34"/>
                <a:gd name="T1" fmla="*/ 20 h 40"/>
                <a:gd name="T2" fmla="*/ 33 w 34"/>
                <a:gd name="T3" fmla="*/ 28 h 40"/>
                <a:gd name="T4" fmla="*/ 29 w 34"/>
                <a:gd name="T5" fmla="*/ 35 h 40"/>
                <a:gd name="T6" fmla="*/ 24 w 34"/>
                <a:gd name="T7" fmla="*/ 39 h 40"/>
                <a:gd name="T8" fmla="*/ 17 w 34"/>
                <a:gd name="T9" fmla="*/ 40 h 40"/>
                <a:gd name="T10" fmla="*/ 10 w 34"/>
                <a:gd name="T11" fmla="*/ 39 h 40"/>
                <a:gd name="T12" fmla="*/ 5 w 34"/>
                <a:gd name="T13" fmla="*/ 35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2 h 40"/>
                <a:gd name="T20" fmla="*/ 5 w 34"/>
                <a:gd name="T21" fmla="*/ 5 h 40"/>
                <a:gd name="T22" fmla="*/ 11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2 h 40"/>
                <a:gd name="T32" fmla="*/ 34 w 34"/>
                <a:gd name="T33" fmla="*/ 20 h 40"/>
                <a:gd name="T34" fmla="*/ 27 w 34"/>
                <a:gd name="T35" fmla="*/ 20 h 40"/>
                <a:gd name="T36" fmla="*/ 26 w 34"/>
                <a:gd name="T37" fmla="*/ 15 h 40"/>
                <a:gd name="T38" fmla="*/ 24 w 34"/>
                <a:gd name="T39" fmla="*/ 11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1 h 40"/>
                <a:gd name="T48" fmla="*/ 8 w 34"/>
                <a:gd name="T49" fmla="*/ 15 h 40"/>
                <a:gd name="T50" fmla="*/ 8 w 34"/>
                <a:gd name="T51" fmla="*/ 20 h 40"/>
                <a:gd name="T52" fmla="*/ 8 w 34"/>
                <a:gd name="T53" fmla="*/ 26 h 40"/>
                <a:gd name="T54" fmla="*/ 10 w 34"/>
                <a:gd name="T55" fmla="*/ 30 h 40"/>
                <a:gd name="T56" fmla="*/ 13 w 34"/>
                <a:gd name="T57" fmla="*/ 32 h 40"/>
                <a:gd name="T58" fmla="*/ 17 w 34"/>
                <a:gd name="T59" fmla="*/ 33 h 40"/>
                <a:gd name="T60" fmla="*/ 21 w 34"/>
                <a:gd name="T61" fmla="*/ 32 h 40"/>
                <a:gd name="T62" fmla="*/ 24 w 34"/>
                <a:gd name="T63" fmla="*/ 29 h 40"/>
                <a:gd name="T64" fmla="*/ 26 w 34"/>
                <a:gd name="T65" fmla="*/ 25 h 40"/>
                <a:gd name="T66" fmla="*/ 27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20"/>
                  </a:moveTo>
                  <a:cubicBezTo>
                    <a:pt x="34" y="23"/>
                    <a:pt x="34" y="26"/>
                    <a:pt x="33" y="28"/>
                  </a:cubicBezTo>
                  <a:cubicBezTo>
                    <a:pt x="32" y="31"/>
                    <a:pt x="31" y="33"/>
                    <a:pt x="29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2" y="40"/>
                    <a:pt x="10" y="39"/>
                  </a:cubicBezTo>
                  <a:cubicBezTo>
                    <a:pt x="8" y="38"/>
                    <a:pt x="6" y="36"/>
                    <a:pt x="5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1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7" y="4"/>
                    <a:pt x="8" y="2"/>
                    <a:pt x="11" y="1"/>
                  </a:cubicBezTo>
                  <a:cubicBezTo>
                    <a:pt x="13" y="1"/>
                    <a:pt x="15" y="0"/>
                    <a:pt x="17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4" y="17"/>
                    <a:pt x="34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3" y="10"/>
                    <a:pt x="22" y="9"/>
                    <a:pt x="21" y="8"/>
                  </a:cubicBezTo>
                  <a:cubicBezTo>
                    <a:pt x="20" y="8"/>
                    <a:pt x="18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9" y="12"/>
                    <a:pt x="9" y="13"/>
                    <a:pt x="8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8" y="26"/>
                  </a:cubicBezTo>
                  <a:cubicBezTo>
                    <a:pt x="9" y="27"/>
                    <a:pt x="10" y="28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44" name="Freeform 62">
              <a:extLst>
                <a:ext uri="{FF2B5EF4-FFF2-40B4-BE49-F238E27FC236}">
                  <a16:creationId xmlns:a16="http://schemas.microsoft.com/office/drawing/2014/main" id="{E5B9E395-C74C-4D98-8911-EE2C765D8B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8067" y="6418333"/>
              <a:ext cx="57543" cy="101135"/>
            </a:xfrm>
            <a:custGeom>
              <a:avLst/>
              <a:gdLst>
                <a:gd name="T0" fmla="*/ 21 w 23"/>
                <a:gd name="T1" fmla="*/ 9 h 39"/>
                <a:gd name="T2" fmla="*/ 18 w 23"/>
                <a:gd name="T3" fmla="*/ 8 h 39"/>
                <a:gd name="T4" fmla="*/ 15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9 w 23"/>
                <a:gd name="T21" fmla="*/ 3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8" y="8"/>
                    <a:pt x="17" y="7"/>
                    <a:pt x="15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8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9" y="3"/>
                  </a:cubicBezTo>
                  <a:cubicBezTo>
                    <a:pt x="10" y="2"/>
                    <a:pt x="11" y="2"/>
                    <a:pt x="11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1"/>
                  </a:cubicBezTo>
                  <a:cubicBezTo>
                    <a:pt x="21" y="1"/>
                    <a:pt x="22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45" name="Freeform 63">
              <a:extLst>
                <a:ext uri="{FF2B5EF4-FFF2-40B4-BE49-F238E27FC236}">
                  <a16:creationId xmlns:a16="http://schemas.microsoft.com/office/drawing/2014/main" id="{53BB8418-388C-4142-9A80-8BF00A87F7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3046" y="6383459"/>
              <a:ext cx="19181" cy="136010"/>
            </a:xfrm>
            <a:custGeom>
              <a:avLst/>
              <a:gdLst>
                <a:gd name="T0" fmla="*/ 0 w 11"/>
                <a:gd name="T1" fmla="*/ 78 h 78"/>
                <a:gd name="T2" fmla="*/ 0 w 11"/>
                <a:gd name="T3" fmla="*/ 6 h 78"/>
                <a:gd name="T4" fmla="*/ 11 w 11"/>
                <a:gd name="T5" fmla="*/ 0 h 78"/>
                <a:gd name="T6" fmla="*/ 11 w 11"/>
                <a:gd name="T7" fmla="*/ 78 h 78"/>
                <a:gd name="T8" fmla="*/ 0 w 11"/>
                <a:gd name="T9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78">
                  <a:moveTo>
                    <a:pt x="0" y="78"/>
                  </a:moveTo>
                  <a:lnTo>
                    <a:pt x="0" y="6"/>
                  </a:lnTo>
                  <a:lnTo>
                    <a:pt x="11" y="0"/>
                  </a:lnTo>
                  <a:lnTo>
                    <a:pt x="11" y="78"/>
                  </a:lnTo>
                  <a:lnTo>
                    <a:pt x="0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46" name="Freeform 64">
              <a:extLst>
                <a:ext uri="{FF2B5EF4-FFF2-40B4-BE49-F238E27FC236}">
                  <a16:creationId xmlns:a16="http://schemas.microsoft.com/office/drawing/2014/main" id="{0256DB41-B3C1-4FEB-B394-9762C00E7F7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084896" y="6383459"/>
              <a:ext cx="80211" cy="137753"/>
            </a:xfrm>
            <a:custGeom>
              <a:avLst/>
              <a:gdLst>
                <a:gd name="T0" fmla="*/ 24 w 32"/>
                <a:gd name="T1" fmla="*/ 53 h 54"/>
                <a:gd name="T2" fmla="*/ 24 w 32"/>
                <a:gd name="T3" fmla="*/ 50 h 54"/>
                <a:gd name="T4" fmla="*/ 22 w 32"/>
                <a:gd name="T5" fmla="*/ 51 h 54"/>
                <a:gd name="T6" fmla="*/ 20 w 32"/>
                <a:gd name="T7" fmla="*/ 53 h 54"/>
                <a:gd name="T8" fmla="*/ 17 w 32"/>
                <a:gd name="T9" fmla="*/ 54 h 54"/>
                <a:gd name="T10" fmla="*/ 14 w 32"/>
                <a:gd name="T11" fmla="*/ 54 h 54"/>
                <a:gd name="T12" fmla="*/ 9 w 32"/>
                <a:gd name="T13" fmla="*/ 53 h 54"/>
                <a:gd name="T14" fmla="*/ 4 w 32"/>
                <a:gd name="T15" fmla="*/ 49 h 54"/>
                <a:gd name="T16" fmla="*/ 1 w 32"/>
                <a:gd name="T17" fmla="*/ 43 h 54"/>
                <a:gd name="T18" fmla="*/ 0 w 32"/>
                <a:gd name="T19" fmla="*/ 33 h 54"/>
                <a:gd name="T20" fmla="*/ 1 w 32"/>
                <a:gd name="T21" fmla="*/ 25 h 54"/>
                <a:gd name="T22" fmla="*/ 4 w 32"/>
                <a:gd name="T23" fmla="*/ 19 h 54"/>
                <a:gd name="T24" fmla="*/ 9 w 32"/>
                <a:gd name="T25" fmla="*/ 15 h 54"/>
                <a:gd name="T26" fmla="*/ 15 w 32"/>
                <a:gd name="T27" fmla="*/ 14 h 54"/>
                <a:gd name="T28" fmla="*/ 18 w 32"/>
                <a:gd name="T29" fmla="*/ 14 h 54"/>
                <a:gd name="T30" fmla="*/ 20 w 32"/>
                <a:gd name="T31" fmla="*/ 15 h 54"/>
                <a:gd name="T32" fmla="*/ 22 w 32"/>
                <a:gd name="T33" fmla="*/ 17 h 54"/>
                <a:gd name="T34" fmla="*/ 24 w 32"/>
                <a:gd name="T35" fmla="*/ 18 h 54"/>
                <a:gd name="T36" fmla="*/ 24 w 32"/>
                <a:gd name="T37" fmla="*/ 4 h 54"/>
                <a:gd name="T38" fmla="*/ 32 w 32"/>
                <a:gd name="T39" fmla="*/ 0 h 54"/>
                <a:gd name="T40" fmla="*/ 32 w 32"/>
                <a:gd name="T41" fmla="*/ 53 h 54"/>
                <a:gd name="T42" fmla="*/ 24 w 32"/>
                <a:gd name="T43" fmla="*/ 53 h 54"/>
                <a:gd name="T44" fmla="*/ 24 w 32"/>
                <a:gd name="T45" fmla="*/ 26 h 54"/>
                <a:gd name="T46" fmla="*/ 23 w 32"/>
                <a:gd name="T47" fmla="*/ 24 h 54"/>
                <a:gd name="T48" fmla="*/ 21 w 32"/>
                <a:gd name="T49" fmla="*/ 23 h 54"/>
                <a:gd name="T50" fmla="*/ 18 w 32"/>
                <a:gd name="T51" fmla="*/ 22 h 54"/>
                <a:gd name="T52" fmla="*/ 15 w 32"/>
                <a:gd name="T53" fmla="*/ 21 h 54"/>
                <a:gd name="T54" fmla="*/ 9 w 32"/>
                <a:gd name="T55" fmla="*/ 24 h 54"/>
                <a:gd name="T56" fmla="*/ 7 w 32"/>
                <a:gd name="T57" fmla="*/ 33 h 54"/>
                <a:gd name="T58" fmla="*/ 8 w 32"/>
                <a:gd name="T59" fmla="*/ 39 h 54"/>
                <a:gd name="T60" fmla="*/ 9 w 32"/>
                <a:gd name="T61" fmla="*/ 44 h 54"/>
                <a:gd name="T62" fmla="*/ 12 w 32"/>
                <a:gd name="T63" fmla="*/ 46 h 54"/>
                <a:gd name="T64" fmla="*/ 16 w 32"/>
                <a:gd name="T65" fmla="*/ 47 h 54"/>
                <a:gd name="T66" fmla="*/ 18 w 32"/>
                <a:gd name="T67" fmla="*/ 47 h 54"/>
                <a:gd name="T68" fmla="*/ 21 w 32"/>
                <a:gd name="T69" fmla="*/ 46 h 54"/>
                <a:gd name="T70" fmla="*/ 23 w 32"/>
                <a:gd name="T71" fmla="*/ 44 h 54"/>
                <a:gd name="T72" fmla="*/ 24 w 32"/>
                <a:gd name="T73" fmla="*/ 42 h 54"/>
                <a:gd name="T74" fmla="*/ 24 w 32"/>
                <a:gd name="T75" fmla="*/ 2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2" h="54">
                  <a:moveTo>
                    <a:pt x="24" y="53"/>
                  </a:moveTo>
                  <a:cubicBezTo>
                    <a:pt x="24" y="50"/>
                    <a:pt x="24" y="50"/>
                    <a:pt x="24" y="50"/>
                  </a:cubicBezTo>
                  <a:cubicBezTo>
                    <a:pt x="24" y="50"/>
                    <a:pt x="23" y="51"/>
                    <a:pt x="22" y="51"/>
                  </a:cubicBezTo>
                  <a:cubicBezTo>
                    <a:pt x="21" y="52"/>
                    <a:pt x="21" y="52"/>
                    <a:pt x="20" y="53"/>
                  </a:cubicBezTo>
                  <a:cubicBezTo>
                    <a:pt x="19" y="53"/>
                    <a:pt x="18" y="54"/>
                    <a:pt x="17" y="54"/>
                  </a:cubicBezTo>
                  <a:cubicBezTo>
                    <a:pt x="16" y="54"/>
                    <a:pt x="15" y="54"/>
                    <a:pt x="14" y="54"/>
                  </a:cubicBezTo>
                  <a:cubicBezTo>
                    <a:pt x="12" y="54"/>
                    <a:pt x="10" y="54"/>
                    <a:pt x="9" y="53"/>
                  </a:cubicBezTo>
                  <a:cubicBezTo>
                    <a:pt x="7" y="52"/>
                    <a:pt x="5" y="51"/>
                    <a:pt x="4" y="49"/>
                  </a:cubicBezTo>
                  <a:cubicBezTo>
                    <a:pt x="3" y="48"/>
                    <a:pt x="1" y="45"/>
                    <a:pt x="1" y="43"/>
                  </a:cubicBezTo>
                  <a:cubicBezTo>
                    <a:pt x="0" y="40"/>
                    <a:pt x="0" y="37"/>
                    <a:pt x="0" y="33"/>
                  </a:cubicBezTo>
                  <a:cubicBezTo>
                    <a:pt x="0" y="30"/>
                    <a:pt x="0" y="27"/>
                    <a:pt x="1" y="25"/>
                  </a:cubicBezTo>
                  <a:cubicBezTo>
                    <a:pt x="2" y="22"/>
                    <a:pt x="3" y="20"/>
                    <a:pt x="4" y="19"/>
                  </a:cubicBezTo>
                  <a:cubicBezTo>
                    <a:pt x="6" y="17"/>
                    <a:pt x="7" y="16"/>
                    <a:pt x="9" y="15"/>
                  </a:cubicBezTo>
                  <a:cubicBezTo>
                    <a:pt x="11" y="14"/>
                    <a:pt x="13" y="14"/>
                    <a:pt x="15" y="14"/>
                  </a:cubicBezTo>
                  <a:cubicBezTo>
                    <a:pt x="16" y="14"/>
                    <a:pt x="17" y="14"/>
                    <a:pt x="18" y="14"/>
                  </a:cubicBezTo>
                  <a:cubicBezTo>
                    <a:pt x="18" y="15"/>
                    <a:pt x="19" y="15"/>
                    <a:pt x="20" y="15"/>
                  </a:cubicBezTo>
                  <a:cubicBezTo>
                    <a:pt x="21" y="16"/>
                    <a:pt x="22" y="16"/>
                    <a:pt x="22" y="17"/>
                  </a:cubicBezTo>
                  <a:cubicBezTo>
                    <a:pt x="23" y="17"/>
                    <a:pt x="24" y="18"/>
                    <a:pt x="24" y="18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53"/>
                    <a:pt x="32" y="53"/>
                    <a:pt x="32" y="53"/>
                  </a:cubicBezTo>
                  <a:lnTo>
                    <a:pt x="24" y="53"/>
                  </a:lnTo>
                  <a:close/>
                  <a:moveTo>
                    <a:pt x="24" y="26"/>
                  </a:moveTo>
                  <a:cubicBezTo>
                    <a:pt x="24" y="26"/>
                    <a:pt x="23" y="25"/>
                    <a:pt x="23" y="24"/>
                  </a:cubicBezTo>
                  <a:cubicBezTo>
                    <a:pt x="22" y="24"/>
                    <a:pt x="22" y="23"/>
                    <a:pt x="21" y="23"/>
                  </a:cubicBezTo>
                  <a:cubicBezTo>
                    <a:pt x="20" y="22"/>
                    <a:pt x="19" y="22"/>
                    <a:pt x="18" y="22"/>
                  </a:cubicBezTo>
                  <a:cubicBezTo>
                    <a:pt x="17" y="21"/>
                    <a:pt x="16" y="21"/>
                    <a:pt x="15" y="21"/>
                  </a:cubicBezTo>
                  <a:cubicBezTo>
                    <a:pt x="13" y="21"/>
                    <a:pt x="11" y="22"/>
                    <a:pt x="9" y="24"/>
                  </a:cubicBezTo>
                  <a:cubicBezTo>
                    <a:pt x="8" y="26"/>
                    <a:pt x="7" y="29"/>
                    <a:pt x="7" y="33"/>
                  </a:cubicBezTo>
                  <a:cubicBezTo>
                    <a:pt x="7" y="36"/>
                    <a:pt x="7" y="38"/>
                    <a:pt x="8" y="39"/>
                  </a:cubicBezTo>
                  <a:cubicBezTo>
                    <a:pt x="8" y="41"/>
                    <a:pt x="9" y="43"/>
                    <a:pt x="9" y="44"/>
                  </a:cubicBezTo>
                  <a:cubicBezTo>
                    <a:pt x="10" y="45"/>
                    <a:pt x="11" y="46"/>
                    <a:pt x="12" y="46"/>
                  </a:cubicBezTo>
                  <a:cubicBezTo>
                    <a:pt x="13" y="47"/>
                    <a:pt x="14" y="47"/>
                    <a:pt x="16" y="47"/>
                  </a:cubicBezTo>
                  <a:cubicBezTo>
                    <a:pt x="17" y="47"/>
                    <a:pt x="18" y="47"/>
                    <a:pt x="18" y="47"/>
                  </a:cubicBezTo>
                  <a:cubicBezTo>
                    <a:pt x="19" y="46"/>
                    <a:pt x="20" y="46"/>
                    <a:pt x="21" y="46"/>
                  </a:cubicBezTo>
                  <a:cubicBezTo>
                    <a:pt x="21" y="45"/>
                    <a:pt x="22" y="45"/>
                    <a:pt x="23" y="44"/>
                  </a:cubicBezTo>
                  <a:cubicBezTo>
                    <a:pt x="23" y="43"/>
                    <a:pt x="24" y="43"/>
                    <a:pt x="24" y="42"/>
                  </a:cubicBezTo>
                  <a:lnTo>
                    <a:pt x="24" y="2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47" name="Freeform 65">
              <a:extLst>
                <a:ext uri="{FF2B5EF4-FFF2-40B4-BE49-F238E27FC236}">
                  <a16:creationId xmlns:a16="http://schemas.microsoft.com/office/drawing/2014/main" id="{F2BC9C1F-3F30-47A6-B503-20FB179B7F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29624" y="6421821"/>
              <a:ext cx="122060" cy="97648"/>
            </a:xfrm>
            <a:custGeom>
              <a:avLst/>
              <a:gdLst>
                <a:gd name="T0" fmla="*/ 55 w 70"/>
                <a:gd name="T1" fmla="*/ 56 h 56"/>
                <a:gd name="T2" fmla="*/ 45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6 w 70"/>
                <a:gd name="T9" fmla="*/ 56 h 56"/>
                <a:gd name="T10" fmla="*/ 0 w 70"/>
                <a:gd name="T11" fmla="*/ 0 h 56"/>
                <a:gd name="T12" fmla="*/ 12 w 70"/>
                <a:gd name="T13" fmla="*/ 0 h 56"/>
                <a:gd name="T14" fmla="*/ 20 w 70"/>
                <a:gd name="T15" fmla="*/ 38 h 56"/>
                <a:gd name="T16" fmla="*/ 31 w 70"/>
                <a:gd name="T17" fmla="*/ 0 h 56"/>
                <a:gd name="T18" fmla="*/ 39 w 70"/>
                <a:gd name="T19" fmla="*/ 0 h 56"/>
                <a:gd name="T20" fmla="*/ 51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5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5" y="56"/>
                  </a:moveTo>
                  <a:lnTo>
                    <a:pt x="45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6" y="56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0" y="38"/>
                  </a:lnTo>
                  <a:lnTo>
                    <a:pt x="31" y="0"/>
                  </a:lnTo>
                  <a:lnTo>
                    <a:pt x="39" y="0"/>
                  </a:lnTo>
                  <a:lnTo>
                    <a:pt x="51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48" name="Freeform 66">
              <a:extLst>
                <a:ext uri="{FF2B5EF4-FFF2-40B4-BE49-F238E27FC236}">
                  <a16:creationId xmlns:a16="http://schemas.microsoft.com/office/drawing/2014/main" id="{F2E1921C-CA0E-4886-93CA-956A6497CF0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62147" y="6418333"/>
              <a:ext cx="88930" cy="102879"/>
            </a:xfrm>
            <a:custGeom>
              <a:avLst/>
              <a:gdLst>
                <a:gd name="T0" fmla="*/ 35 w 35"/>
                <a:gd name="T1" fmla="*/ 20 h 40"/>
                <a:gd name="T2" fmla="*/ 33 w 35"/>
                <a:gd name="T3" fmla="*/ 28 h 40"/>
                <a:gd name="T4" fmla="*/ 30 w 35"/>
                <a:gd name="T5" fmla="*/ 35 h 40"/>
                <a:gd name="T6" fmla="*/ 24 w 35"/>
                <a:gd name="T7" fmla="*/ 39 h 40"/>
                <a:gd name="T8" fmla="*/ 17 w 35"/>
                <a:gd name="T9" fmla="*/ 40 h 40"/>
                <a:gd name="T10" fmla="*/ 11 w 35"/>
                <a:gd name="T11" fmla="*/ 39 h 40"/>
                <a:gd name="T12" fmla="*/ 5 w 35"/>
                <a:gd name="T13" fmla="*/ 35 h 40"/>
                <a:gd name="T14" fmla="*/ 2 w 35"/>
                <a:gd name="T15" fmla="*/ 28 h 40"/>
                <a:gd name="T16" fmla="*/ 0 w 35"/>
                <a:gd name="T17" fmla="*/ 20 h 40"/>
                <a:gd name="T18" fmla="*/ 2 w 35"/>
                <a:gd name="T19" fmla="*/ 12 h 40"/>
                <a:gd name="T20" fmla="*/ 5 w 35"/>
                <a:gd name="T21" fmla="*/ 5 h 40"/>
                <a:gd name="T22" fmla="*/ 11 w 35"/>
                <a:gd name="T23" fmla="*/ 1 h 40"/>
                <a:gd name="T24" fmla="*/ 18 w 35"/>
                <a:gd name="T25" fmla="*/ 0 h 40"/>
                <a:gd name="T26" fmla="*/ 24 w 35"/>
                <a:gd name="T27" fmla="*/ 1 h 40"/>
                <a:gd name="T28" fmla="*/ 30 w 35"/>
                <a:gd name="T29" fmla="*/ 5 h 40"/>
                <a:gd name="T30" fmla="*/ 33 w 35"/>
                <a:gd name="T31" fmla="*/ 12 h 40"/>
                <a:gd name="T32" fmla="*/ 35 w 35"/>
                <a:gd name="T33" fmla="*/ 20 h 40"/>
                <a:gd name="T34" fmla="*/ 27 w 35"/>
                <a:gd name="T35" fmla="*/ 20 h 40"/>
                <a:gd name="T36" fmla="*/ 26 w 35"/>
                <a:gd name="T37" fmla="*/ 15 h 40"/>
                <a:gd name="T38" fmla="*/ 24 w 35"/>
                <a:gd name="T39" fmla="*/ 11 h 40"/>
                <a:gd name="T40" fmla="*/ 21 w 35"/>
                <a:gd name="T41" fmla="*/ 8 h 40"/>
                <a:gd name="T42" fmla="*/ 17 w 35"/>
                <a:gd name="T43" fmla="*/ 7 h 40"/>
                <a:gd name="T44" fmla="*/ 13 w 35"/>
                <a:gd name="T45" fmla="*/ 8 h 40"/>
                <a:gd name="T46" fmla="*/ 10 w 35"/>
                <a:gd name="T47" fmla="*/ 11 h 40"/>
                <a:gd name="T48" fmla="*/ 9 w 35"/>
                <a:gd name="T49" fmla="*/ 15 h 40"/>
                <a:gd name="T50" fmla="*/ 8 w 35"/>
                <a:gd name="T51" fmla="*/ 20 h 40"/>
                <a:gd name="T52" fmla="*/ 9 w 35"/>
                <a:gd name="T53" fmla="*/ 26 h 40"/>
                <a:gd name="T54" fmla="*/ 11 w 35"/>
                <a:gd name="T55" fmla="*/ 30 h 40"/>
                <a:gd name="T56" fmla="*/ 14 w 35"/>
                <a:gd name="T57" fmla="*/ 32 h 40"/>
                <a:gd name="T58" fmla="*/ 18 w 35"/>
                <a:gd name="T59" fmla="*/ 33 h 40"/>
                <a:gd name="T60" fmla="*/ 21 w 35"/>
                <a:gd name="T61" fmla="*/ 32 h 40"/>
                <a:gd name="T62" fmla="*/ 24 w 35"/>
                <a:gd name="T63" fmla="*/ 29 h 40"/>
                <a:gd name="T64" fmla="*/ 26 w 35"/>
                <a:gd name="T65" fmla="*/ 25 h 40"/>
                <a:gd name="T66" fmla="*/ 27 w 35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5" h="40">
                  <a:moveTo>
                    <a:pt x="35" y="20"/>
                  </a:moveTo>
                  <a:cubicBezTo>
                    <a:pt x="35" y="23"/>
                    <a:pt x="34" y="26"/>
                    <a:pt x="33" y="28"/>
                  </a:cubicBezTo>
                  <a:cubicBezTo>
                    <a:pt x="32" y="31"/>
                    <a:pt x="31" y="33"/>
                    <a:pt x="30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3" y="40"/>
                    <a:pt x="11" y="39"/>
                  </a:cubicBezTo>
                  <a:cubicBezTo>
                    <a:pt x="8" y="38"/>
                    <a:pt x="7" y="36"/>
                    <a:pt x="5" y="35"/>
                  </a:cubicBezTo>
                  <a:cubicBezTo>
                    <a:pt x="4" y="33"/>
                    <a:pt x="2" y="31"/>
                    <a:pt x="2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3" y="9"/>
                    <a:pt x="4" y="7"/>
                    <a:pt x="5" y="5"/>
                  </a:cubicBezTo>
                  <a:cubicBezTo>
                    <a:pt x="7" y="4"/>
                    <a:pt x="9" y="2"/>
                    <a:pt x="11" y="1"/>
                  </a:cubicBezTo>
                  <a:cubicBezTo>
                    <a:pt x="13" y="1"/>
                    <a:pt x="15" y="0"/>
                    <a:pt x="18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30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5" y="17"/>
                    <a:pt x="35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4" y="10"/>
                    <a:pt x="23" y="9"/>
                    <a:pt x="21" y="8"/>
                  </a:cubicBezTo>
                  <a:cubicBezTo>
                    <a:pt x="20" y="8"/>
                    <a:pt x="19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10" y="12"/>
                    <a:pt x="9" y="13"/>
                    <a:pt x="9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9" y="26"/>
                  </a:cubicBezTo>
                  <a:cubicBezTo>
                    <a:pt x="9" y="27"/>
                    <a:pt x="10" y="28"/>
                    <a:pt x="11" y="30"/>
                  </a:cubicBezTo>
                  <a:cubicBezTo>
                    <a:pt x="11" y="31"/>
                    <a:pt x="12" y="32"/>
                    <a:pt x="14" y="32"/>
                  </a:cubicBezTo>
                  <a:cubicBezTo>
                    <a:pt x="15" y="33"/>
                    <a:pt x="16" y="33"/>
                    <a:pt x="18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3" y="31"/>
                    <a:pt x="24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49" name="Freeform 67">
              <a:extLst>
                <a:ext uri="{FF2B5EF4-FFF2-40B4-BE49-F238E27FC236}">
                  <a16:creationId xmlns:a16="http://schemas.microsoft.com/office/drawing/2014/main" id="{33147323-CD74-4B45-8B3D-9FC2D6ABC4D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68514" y="6418333"/>
              <a:ext cx="59286" cy="101135"/>
            </a:xfrm>
            <a:custGeom>
              <a:avLst/>
              <a:gdLst>
                <a:gd name="T0" fmla="*/ 21 w 23"/>
                <a:gd name="T1" fmla="*/ 9 h 39"/>
                <a:gd name="T2" fmla="*/ 19 w 23"/>
                <a:gd name="T3" fmla="*/ 8 h 39"/>
                <a:gd name="T4" fmla="*/ 16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10 w 23"/>
                <a:gd name="T21" fmla="*/ 3 h 39"/>
                <a:gd name="T22" fmla="*/ 12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1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20" y="8"/>
                    <a:pt x="19" y="8"/>
                  </a:cubicBezTo>
                  <a:cubicBezTo>
                    <a:pt x="18" y="8"/>
                    <a:pt x="17" y="7"/>
                    <a:pt x="16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9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10" y="3"/>
                  </a:cubicBezTo>
                  <a:cubicBezTo>
                    <a:pt x="10" y="2"/>
                    <a:pt x="11" y="2"/>
                    <a:pt x="12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20" y="0"/>
                    <a:pt x="21" y="1"/>
                  </a:cubicBezTo>
                  <a:cubicBezTo>
                    <a:pt x="22" y="1"/>
                    <a:pt x="23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50" name="Freeform 68">
              <a:extLst>
                <a:ext uri="{FF2B5EF4-FFF2-40B4-BE49-F238E27FC236}">
                  <a16:creationId xmlns:a16="http://schemas.microsoft.com/office/drawing/2014/main" id="{646502BE-8655-4E99-B8D3-19E6C1D2B9F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5237" y="6383459"/>
              <a:ext cx="76723" cy="136010"/>
            </a:xfrm>
            <a:custGeom>
              <a:avLst/>
              <a:gdLst>
                <a:gd name="T0" fmla="*/ 31 w 44"/>
                <a:gd name="T1" fmla="*/ 78 h 78"/>
                <a:gd name="T2" fmla="*/ 19 w 44"/>
                <a:gd name="T3" fmla="*/ 50 h 78"/>
                <a:gd name="T4" fmla="*/ 10 w 44"/>
                <a:gd name="T5" fmla="*/ 61 h 78"/>
                <a:gd name="T6" fmla="*/ 10 w 44"/>
                <a:gd name="T7" fmla="*/ 78 h 78"/>
                <a:gd name="T8" fmla="*/ 0 w 44"/>
                <a:gd name="T9" fmla="*/ 78 h 78"/>
                <a:gd name="T10" fmla="*/ 0 w 44"/>
                <a:gd name="T11" fmla="*/ 6 h 78"/>
                <a:gd name="T12" fmla="*/ 10 w 44"/>
                <a:gd name="T13" fmla="*/ 0 h 78"/>
                <a:gd name="T14" fmla="*/ 10 w 44"/>
                <a:gd name="T15" fmla="*/ 47 h 78"/>
                <a:gd name="T16" fmla="*/ 28 w 44"/>
                <a:gd name="T17" fmla="*/ 22 h 78"/>
                <a:gd name="T18" fmla="*/ 41 w 44"/>
                <a:gd name="T19" fmla="*/ 22 h 78"/>
                <a:gd name="T20" fmla="*/ 26 w 44"/>
                <a:gd name="T21" fmla="*/ 41 h 78"/>
                <a:gd name="T22" fmla="*/ 44 w 44"/>
                <a:gd name="T23" fmla="*/ 78 h 78"/>
                <a:gd name="T24" fmla="*/ 31 w 44"/>
                <a:gd name="T25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4" h="78">
                  <a:moveTo>
                    <a:pt x="31" y="78"/>
                  </a:moveTo>
                  <a:lnTo>
                    <a:pt x="19" y="50"/>
                  </a:lnTo>
                  <a:lnTo>
                    <a:pt x="10" y="61"/>
                  </a:lnTo>
                  <a:lnTo>
                    <a:pt x="10" y="78"/>
                  </a:lnTo>
                  <a:lnTo>
                    <a:pt x="0" y="78"/>
                  </a:lnTo>
                  <a:lnTo>
                    <a:pt x="0" y="6"/>
                  </a:lnTo>
                  <a:lnTo>
                    <a:pt x="10" y="0"/>
                  </a:lnTo>
                  <a:lnTo>
                    <a:pt x="10" y="47"/>
                  </a:lnTo>
                  <a:lnTo>
                    <a:pt x="28" y="22"/>
                  </a:lnTo>
                  <a:lnTo>
                    <a:pt x="41" y="22"/>
                  </a:lnTo>
                  <a:lnTo>
                    <a:pt x="26" y="41"/>
                  </a:lnTo>
                  <a:lnTo>
                    <a:pt x="44" y="78"/>
                  </a:lnTo>
                  <a:lnTo>
                    <a:pt x="31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51" name="Freeform 69">
              <a:extLst>
                <a:ext uri="{FF2B5EF4-FFF2-40B4-BE49-F238E27FC236}">
                  <a16:creationId xmlns:a16="http://schemas.microsoft.com/office/drawing/2014/main" id="{7B89F1B5-6B06-45D2-838B-039A44EFFD1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28936" y="6418333"/>
              <a:ext cx="74980" cy="102879"/>
            </a:xfrm>
            <a:custGeom>
              <a:avLst/>
              <a:gdLst>
                <a:gd name="T0" fmla="*/ 28 w 29"/>
                <a:gd name="T1" fmla="*/ 4 h 40"/>
                <a:gd name="T2" fmla="*/ 25 w 29"/>
                <a:gd name="T3" fmla="*/ 10 h 40"/>
                <a:gd name="T4" fmla="*/ 20 w 29"/>
                <a:gd name="T5" fmla="*/ 8 h 40"/>
                <a:gd name="T6" fmla="*/ 15 w 29"/>
                <a:gd name="T7" fmla="*/ 7 h 40"/>
                <a:gd name="T8" fmla="*/ 11 w 29"/>
                <a:gd name="T9" fmla="*/ 8 h 40"/>
                <a:gd name="T10" fmla="*/ 9 w 29"/>
                <a:gd name="T11" fmla="*/ 10 h 40"/>
                <a:gd name="T12" fmla="*/ 10 w 29"/>
                <a:gd name="T13" fmla="*/ 12 h 40"/>
                <a:gd name="T14" fmla="*/ 11 w 29"/>
                <a:gd name="T15" fmla="*/ 13 h 40"/>
                <a:gd name="T16" fmla="*/ 13 w 29"/>
                <a:gd name="T17" fmla="*/ 14 h 40"/>
                <a:gd name="T18" fmla="*/ 17 w 29"/>
                <a:gd name="T19" fmla="*/ 16 h 40"/>
                <a:gd name="T20" fmla="*/ 22 w 29"/>
                <a:gd name="T21" fmla="*/ 18 h 40"/>
                <a:gd name="T22" fmla="*/ 26 w 29"/>
                <a:gd name="T23" fmla="*/ 21 h 40"/>
                <a:gd name="T24" fmla="*/ 29 w 29"/>
                <a:gd name="T25" fmla="*/ 24 h 40"/>
                <a:gd name="T26" fmla="*/ 29 w 29"/>
                <a:gd name="T27" fmla="*/ 29 h 40"/>
                <a:gd name="T28" fmla="*/ 28 w 29"/>
                <a:gd name="T29" fmla="*/ 34 h 40"/>
                <a:gd name="T30" fmla="*/ 25 w 29"/>
                <a:gd name="T31" fmla="*/ 38 h 40"/>
                <a:gd name="T32" fmla="*/ 21 w 29"/>
                <a:gd name="T33" fmla="*/ 40 h 40"/>
                <a:gd name="T34" fmla="*/ 15 w 29"/>
                <a:gd name="T35" fmla="*/ 40 h 40"/>
                <a:gd name="T36" fmla="*/ 7 w 29"/>
                <a:gd name="T37" fmla="*/ 39 h 40"/>
                <a:gd name="T38" fmla="*/ 0 w 29"/>
                <a:gd name="T39" fmla="*/ 35 h 40"/>
                <a:gd name="T40" fmla="*/ 4 w 29"/>
                <a:gd name="T41" fmla="*/ 30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20 w 29"/>
                <a:gd name="T53" fmla="*/ 26 h 40"/>
                <a:gd name="T54" fmla="*/ 17 w 29"/>
                <a:gd name="T55" fmla="*/ 24 h 40"/>
                <a:gd name="T56" fmla="*/ 13 w 29"/>
                <a:gd name="T57" fmla="*/ 23 h 40"/>
                <a:gd name="T58" fmla="*/ 8 w 29"/>
                <a:gd name="T59" fmla="*/ 20 h 40"/>
                <a:gd name="T60" fmla="*/ 4 w 29"/>
                <a:gd name="T61" fmla="*/ 18 h 40"/>
                <a:gd name="T62" fmla="*/ 2 w 29"/>
                <a:gd name="T63" fmla="*/ 15 h 40"/>
                <a:gd name="T64" fmla="*/ 2 w 29"/>
                <a:gd name="T65" fmla="*/ 11 h 40"/>
                <a:gd name="T66" fmla="*/ 3 w 29"/>
                <a:gd name="T67" fmla="*/ 6 h 40"/>
                <a:gd name="T68" fmla="*/ 6 w 29"/>
                <a:gd name="T69" fmla="*/ 3 h 40"/>
                <a:gd name="T70" fmla="*/ 10 w 29"/>
                <a:gd name="T71" fmla="*/ 1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5" y="10"/>
                    <a:pt x="25" y="10"/>
                    <a:pt x="25" y="10"/>
                  </a:cubicBezTo>
                  <a:cubicBezTo>
                    <a:pt x="23" y="9"/>
                    <a:pt x="22" y="8"/>
                    <a:pt x="20" y="8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2" y="7"/>
                    <a:pt x="11" y="8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1"/>
                    <a:pt x="10" y="11"/>
                    <a:pt x="10" y="12"/>
                  </a:cubicBezTo>
                  <a:cubicBezTo>
                    <a:pt x="10" y="12"/>
                    <a:pt x="10" y="13"/>
                    <a:pt x="11" y="13"/>
                  </a:cubicBezTo>
                  <a:cubicBezTo>
                    <a:pt x="11" y="13"/>
                    <a:pt x="12" y="14"/>
                    <a:pt x="13" y="14"/>
                  </a:cubicBezTo>
                  <a:cubicBezTo>
                    <a:pt x="14" y="15"/>
                    <a:pt x="15" y="15"/>
                    <a:pt x="17" y="16"/>
                  </a:cubicBezTo>
                  <a:cubicBezTo>
                    <a:pt x="19" y="17"/>
                    <a:pt x="21" y="18"/>
                    <a:pt x="22" y="18"/>
                  </a:cubicBezTo>
                  <a:cubicBezTo>
                    <a:pt x="24" y="19"/>
                    <a:pt x="25" y="20"/>
                    <a:pt x="26" y="21"/>
                  </a:cubicBezTo>
                  <a:cubicBezTo>
                    <a:pt x="27" y="22"/>
                    <a:pt x="28" y="23"/>
                    <a:pt x="29" y="24"/>
                  </a:cubicBezTo>
                  <a:cubicBezTo>
                    <a:pt x="29" y="25"/>
                    <a:pt x="29" y="27"/>
                    <a:pt x="29" y="29"/>
                  </a:cubicBezTo>
                  <a:cubicBezTo>
                    <a:pt x="29" y="31"/>
                    <a:pt x="29" y="33"/>
                    <a:pt x="28" y="34"/>
                  </a:cubicBezTo>
                  <a:cubicBezTo>
                    <a:pt x="28" y="36"/>
                    <a:pt x="26" y="37"/>
                    <a:pt x="25" y="38"/>
                  </a:cubicBezTo>
                  <a:cubicBezTo>
                    <a:pt x="24" y="39"/>
                    <a:pt x="22" y="39"/>
                    <a:pt x="21" y="40"/>
                  </a:cubicBezTo>
                  <a:cubicBezTo>
                    <a:pt x="19" y="40"/>
                    <a:pt x="17" y="40"/>
                    <a:pt x="15" y="40"/>
                  </a:cubicBezTo>
                  <a:cubicBezTo>
                    <a:pt x="13" y="40"/>
                    <a:pt x="10" y="40"/>
                    <a:pt x="7" y="39"/>
                  </a:cubicBezTo>
                  <a:cubicBezTo>
                    <a:pt x="5" y="38"/>
                    <a:pt x="2" y="37"/>
                    <a:pt x="0" y="35"/>
                  </a:cubicBezTo>
                  <a:cubicBezTo>
                    <a:pt x="4" y="30"/>
                    <a:pt x="4" y="30"/>
                    <a:pt x="4" y="30"/>
                  </a:cubicBezTo>
                  <a:cubicBezTo>
                    <a:pt x="6" y="31"/>
                    <a:pt x="7" y="32"/>
                    <a:pt x="9" y="32"/>
                  </a:cubicBezTo>
                  <a:cubicBezTo>
                    <a:pt x="11" y="33"/>
                    <a:pt x="13" y="33"/>
                    <a:pt x="15" y="33"/>
                  </a:cubicBezTo>
                  <a:cubicBezTo>
                    <a:pt x="17" y="33"/>
                    <a:pt x="19" y="33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8"/>
                    <a:pt x="21" y="27"/>
                  </a:cubicBezTo>
                  <a:cubicBezTo>
                    <a:pt x="21" y="27"/>
                    <a:pt x="20" y="26"/>
                    <a:pt x="20" y="26"/>
                  </a:cubicBezTo>
                  <a:cubicBezTo>
                    <a:pt x="19" y="25"/>
                    <a:pt x="18" y="25"/>
                    <a:pt x="17" y="24"/>
                  </a:cubicBezTo>
                  <a:cubicBezTo>
                    <a:pt x="16" y="24"/>
                    <a:pt x="15" y="23"/>
                    <a:pt x="13" y="23"/>
                  </a:cubicBezTo>
                  <a:cubicBezTo>
                    <a:pt x="11" y="22"/>
                    <a:pt x="9" y="21"/>
                    <a:pt x="8" y="20"/>
                  </a:cubicBezTo>
                  <a:cubicBezTo>
                    <a:pt x="6" y="19"/>
                    <a:pt x="5" y="19"/>
                    <a:pt x="4" y="18"/>
                  </a:cubicBezTo>
                  <a:cubicBezTo>
                    <a:pt x="3" y="17"/>
                    <a:pt x="3" y="16"/>
                    <a:pt x="2" y="15"/>
                  </a:cubicBezTo>
                  <a:cubicBezTo>
                    <a:pt x="2" y="13"/>
                    <a:pt x="2" y="12"/>
                    <a:pt x="2" y="11"/>
                  </a:cubicBezTo>
                  <a:cubicBezTo>
                    <a:pt x="2" y="9"/>
                    <a:pt x="2" y="7"/>
                    <a:pt x="3" y="6"/>
                  </a:cubicBezTo>
                  <a:cubicBezTo>
                    <a:pt x="3" y="5"/>
                    <a:pt x="4" y="4"/>
                    <a:pt x="6" y="3"/>
                  </a:cubicBezTo>
                  <a:cubicBezTo>
                    <a:pt x="7" y="2"/>
                    <a:pt x="8" y="1"/>
                    <a:pt x="10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20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52" name="Freeform 70">
              <a:extLst>
                <a:ext uri="{FF2B5EF4-FFF2-40B4-BE49-F238E27FC236}">
                  <a16:creationId xmlns:a16="http://schemas.microsoft.com/office/drawing/2014/main" id="{07A005EC-C937-4146-8D02-C00C5931EB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23096" y="6489826"/>
              <a:ext cx="27899" cy="31387"/>
            </a:xfrm>
            <a:custGeom>
              <a:avLst/>
              <a:gdLst>
                <a:gd name="T0" fmla="*/ 11 w 11"/>
                <a:gd name="T1" fmla="*/ 6 h 12"/>
                <a:gd name="T2" fmla="*/ 11 w 11"/>
                <a:gd name="T3" fmla="*/ 9 h 12"/>
                <a:gd name="T4" fmla="*/ 10 w 11"/>
                <a:gd name="T5" fmla="*/ 10 h 12"/>
                <a:gd name="T6" fmla="*/ 8 w 11"/>
                <a:gd name="T7" fmla="*/ 12 h 12"/>
                <a:gd name="T8" fmla="*/ 6 w 11"/>
                <a:gd name="T9" fmla="*/ 12 h 12"/>
                <a:gd name="T10" fmla="*/ 3 w 11"/>
                <a:gd name="T11" fmla="*/ 12 h 12"/>
                <a:gd name="T12" fmla="*/ 1 w 11"/>
                <a:gd name="T13" fmla="*/ 10 h 12"/>
                <a:gd name="T14" fmla="*/ 0 w 11"/>
                <a:gd name="T15" fmla="*/ 9 h 12"/>
                <a:gd name="T16" fmla="*/ 0 w 11"/>
                <a:gd name="T17" fmla="*/ 6 h 12"/>
                <a:gd name="T18" fmla="*/ 0 w 11"/>
                <a:gd name="T19" fmla="*/ 4 h 12"/>
                <a:gd name="T20" fmla="*/ 1 w 11"/>
                <a:gd name="T21" fmla="*/ 2 h 12"/>
                <a:gd name="T22" fmla="*/ 3 w 11"/>
                <a:gd name="T23" fmla="*/ 1 h 12"/>
                <a:gd name="T24" fmla="*/ 6 w 11"/>
                <a:gd name="T25" fmla="*/ 0 h 12"/>
                <a:gd name="T26" fmla="*/ 8 w 11"/>
                <a:gd name="T27" fmla="*/ 1 h 12"/>
                <a:gd name="T28" fmla="*/ 10 w 11"/>
                <a:gd name="T29" fmla="*/ 2 h 12"/>
                <a:gd name="T30" fmla="*/ 11 w 11"/>
                <a:gd name="T31" fmla="*/ 4 h 12"/>
                <a:gd name="T32" fmla="*/ 11 w 11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" h="12">
                  <a:moveTo>
                    <a:pt x="11" y="6"/>
                  </a:moveTo>
                  <a:cubicBezTo>
                    <a:pt x="11" y="7"/>
                    <a:pt x="11" y="8"/>
                    <a:pt x="11" y="9"/>
                  </a:cubicBezTo>
                  <a:cubicBezTo>
                    <a:pt x="11" y="9"/>
                    <a:pt x="10" y="10"/>
                    <a:pt x="10" y="10"/>
                  </a:cubicBezTo>
                  <a:cubicBezTo>
                    <a:pt x="9" y="11"/>
                    <a:pt x="9" y="11"/>
                    <a:pt x="8" y="12"/>
                  </a:cubicBezTo>
                  <a:cubicBezTo>
                    <a:pt x="7" y="12"/>
                    <a:pt x="6" y="12"/>
                    <a:pt x="6" y="12"/>
                  </a:cubicBezTo>
                  <a:cubicBezTo>
                    <a:pt x="5" y="12"/>
                    <a:pt x="4" y="12"/>
                    <a:pt x="3" y="12"/>
                  </a:cubicBezTo>
                  <a:cubicBezTo>
                    <a:pt x="3" y="11"/>
                    <a:pt x="2" y="11"/>
                    <a:pt x="1" y="10"/>
                  </a:cubicBezTo>
                  <a:cubicBezTo>
                    <a:pt x="1" y="10"/>
                    <a:pt x="1" y="9"/>
                    <a:pt x="0" y="9"/>
                  </a:cubicBezTo>
                  <a:cubicBezTo>
                    <a:pt x="0" y="8"/>
                    <a:pt x="0" y="7"/>
                    <a:pt x="0" y="6"/>
                  </a:cubicBezTo>
                  <a:cubicBezTo>
                    <a:pt x="0" y="6"/>
                    <a:pt x="0" y="5"/>
                    <a:pt x="0" y="4"/>
                  </a:cubicBezTo>
                  <a:cubicBezTo>
                    <a:pt x="1" y="3"/>
                    <a:pt x="1" y="3"/>
                    <a:pt x="1" y="2"/>
                  </a:cubicBezTo>
                  <a:cubicBezTo>
                    <a:pt x="2" y="2"/>
                    <a:pt x="3" y="1"/>
                    <a:pt x="3" y="1"/>
                  </a:cubicBezTo>
                  <a:cubicBezTo>
                    <a:pt x="4" y="1"/>
                    <a:pt x="5" y="0"/>
                    <a:pt x="6" y="0"/>
                  </a:cubicBezTo>
                  <a:cubicBezTo>
                    <a:pt x="6" y="0"/>
                    <a:pt x="7" y="1"/>
                    <a:pt x="8" y="1"/>
                  </a:cubicBezTo>
                  <a:cubicBezTo>
                    <a:pt x="9" y="1"/>
                    <a:pt x="9" y="2"/>
                    <a:pt x="10" y="2"/>
                  </a:cubicBezTo>
                  <a:cubicBezTo>
                    <a:pt x="10" y="3"/>
                    <a:pt x="11" y="3"/>
                    <a:pt x="11" y="4"/>
                  </a:cubicBezTo>
                  <a:cubicBezTo>
                    <a:pt x="11" y="5"/>
                    <a:pt x="11" y="6"/>
                    <a:pt x="11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</p:grpSp>
      <p:sp>
        <p:nvSpPr>
          <p:cNvPr id="263" name="Title 1">
            <a:extLst>
              <a:ext uri="{FF2B5EF4-FFF2-40B4-BE49-F238E27FC236}">
                <a16:creationId xmlns:a16="http://schemas.microsoft.com/office/drawing/2014/main" id="{3F36D6CC-3534-47CC-AECE-83EDA4639FB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44388" y="2158329"/>
            <a:ext cx="3998354" cy="860400"/>
          </a:xfrm>
          <a:prstGeom prst="rect">
            <a:avLst/>
          </a:prstGeom>
        </p:spPr>
        <p:txBody>
          <a:bodyPr/>
          <a:lstStyle>
            <a:lvl1pPr>
              <a:defRPr sz="2998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64" name="Subtitle 2">
            <a:extLst>
              <a:ext uri="{FF2B5EF4-FFF2-40B4-BE49-F238E27FC236}">
                <a16:creationId xmlns:a16="http://schemas.microsoft.com/office/drawing/2014/main" id="{C26FB38E-4E99-4AFB-8C8C-F03F7A963D9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44580" y="3200329"/>
            <a:ext cx="4018535" cy="64574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998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  <a:lvl2pPr marL="0" indent="0" algn="l">
              <a:buNone/>
              <a:defRPr sz="1598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9134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2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69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37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04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72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3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GB"/>
          </a:p>
        </p:txBody>
      </p:sp>
      <p:grpSp>
        <p:nvGrpSpPr>
          <p:cNvPr id="77" name="Group 76">
            <a:extLst>
              <a:ext uri="{FF2B5EF4-FFF2-40B4-BE49-F238E27FC236}">
                <a16:creationId xmlns:a16="http://schemas.microsoft.com/office/drawing/2014/main" id="{AE95BC52-A56D-4358-A294-750179EBB698}"/>
              </a:ext>
            </a:extLst>
          </p:cNvPr>
          <p:cNvGrpSpPr/>
          <p:nvPr userDrawn="1"/>
        </p:nvGrpSpPr>
        <p:grpSpPr>
          <a:xfrm>
            <a:off x="489113" y="876061"/>
            <a:ext cx="4852768" cy="3374475"/>
            <a:chOff x="6855933" y="899048"/>
            <a:chExt cx="4855295" cy="3374475"/>
          </a:xfrm>
          <a:solidFill>
            <a:schemeClr val="tx2"/>
          </a:solidFill>
        </p:grpSpPr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ECBD2AD5-9A79-4CFE-A808-769ADC8898F3}"/>
                </a:ext>
              </a:extLst>
            </p:cNvPr>
            <p:cNvSpPr/>
            <p:nvPr/>
          </p:nvSpPr>
          <p:spPr>
            <a:xfrm>
              <a:off x="6855933" y="899048"/>
              <a:ext cx="4855295" cy="3374475"/>
            </a:xfrm>
            <a:custGeom>
              <a:avLst/>
              <a:gdLst>
                <a:gd name="connsiteX0" fmla="*/ 6731 w 4855294"/>
                <a:gd name="connsiteY0" fmla="*/ 863542 h 3374474"/>
                <a:gd name="connsiteX1" fmla="*/ 6731 w 4855294"/>
                <a:gd name="connsiteY1" fmla="*/ 3095901 h 3374474"/>
                <a:gd name="connsiteX2" fmla="*/ 145659 w 4855294"/>
                <a:gd name="connsiteY2" fmla="*/ 3095901 h 3374474"/>
                <a:gd name="connsiteX3" fmla="*/ 145659 w 4855294"/>
                <a:gd name="connsiteY3" fmla="*/ 988380 h 3374474"/>
                <a:gd name="connsiteX4" fmla="*/ 4715918 w 4855294"/>
                <a:gd name="connsiteY4" fmla="*/ 179673 h 3374474"/>
                <a:gd name="connsiteX5" fmla="*/ 4715918 w 4855294"/>
                <a:gd name="connsiteY5" fmla="*/ 3234829 h 3374474"/>
                <a:gd name="connsiteX6" fmla="*/ 840208 w 4855294"/>
                <a:gd name="connsiteY6" fmla="*/ 3234829 h 3374474"/>
                <a:gd name="connsiteX7" fmla="*/ 840208 w 4855294"/>
                <a:gd name="connsiteY7" fmla="*/ 3373757 h 3374474"/>
                <a:gd name="connsiteX8" fmla="*/ 4854846 w 4855294"/>
                <a:gd name="connsiteY8" fmla="*/ 3373757 h 3374474"/>
                <a:gd name="connsiteX9" fmla="*/ 4854846 w 4855294"/>
                <a:gd name="connsiteY9" fmla="*/ 6731 h 3374474"/>
                <a:gd name="connsiteX10" fmla="*/ 6731 w 4855294"/>
                <a:gd name="connsiteY10" fmla="*/ 863542 h 33744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855294" h="3374474">
                  <a:moveTo>
                    <a:pt x="6731" y="863542"/>
                  </a:moveTo>
                  <a:lnTo>
                    <a:pt x="6731" y="3095901"/>
                  </a:lnTo>
                  <a:lnTo>
                    <a:pt x="145659" y="3095901"/>
                  </a:lnTo>
                  <a:lnTo>
                    <a:pt x="145659" y="988380"/>
                  </a:lnTo>
                  <a:lnTo>
                    <a:pt x="4715918" y="179673"/>
                  </a:lnTo>
                  <a:lnTo>
                    <a:pt x="4715918" y="3234829"/>
                  </a:lnTo>
                  <a:lnTo>
                    <a:pt x="840208" y="3234829"/>
                  </a:lnTo>
                  <a:lnTo>
                    <a:pt x="840208" y="3373757"/>
                  </a:lnTo>
                  <a:lnTo>
                    <a:pt x="4854846" y="3373757"/>
                  </a:lnTo>
                  <a:lnTo>
                    <a:pt x="4854846" y="6731"/>
                  </a:lnTo>
                  <a:lnTo>
                    <a:pt x="6731" y="86354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798" dirty="0"/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9EE673CB-A779-4F64-B72D-93428DD2B26D}"/>
                </a:ext>
              </a:extLst>
            </p:cNvPr>
            <p:cNvSpPr/>
            <p:nvPr/>
          </p:nvSpPr>
          <p:spPr>
            <a:xfrm>
              <a:off x="6855933" y="4127146"/>
              <a:ext cx="143595" cy="143595"/>
            </a:xfrm>
            <a:custGeom>
              <a:avLst/>
              <a:gdLst>
                <a:gd name="connsiteX0" fmla="*/ 6731 w 143594"/>
                <a:gd name="connsiteY0" fmla="*/ 6731 h 143594"/>
                <a:gd name="connsiteX1" fmla="*/ 145659 w 143594"/>
                <a:gd name="connsiteY1" fmla="*/ 6731 h 143594"/>
                <a:gd name="connsiteX2" fmla="*/ 145659 w 143594"/>
                <a:gd name="connsiteY2" fmla="*/ 145659 h 143594"/>
                <a:gd name="connsiteX3" fmla="*/ 6731 w 143594"/>
                <a:gd name="connsiteY3" fmla="*/ 145659 h 143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3594" h="143594">
                  <a:moveTo>
                    <a:pt x="6731" y="6731"/>
                  </a:moveTo>
                  <a:lnTo>
                    <a:pt x="145659" y="6731"/>
                  </a:lnTo>
                  <a:lnTo>
                    <a:pt x="145659" y="145659"/>
                  </a:lnTo>
                  <a:lnTo>
                    <a:pt x="6731" y="14565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798" dirty="0"/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88144C98-507D-403B-8819-FBBF64A82FA3}"/>
                </a:ext>
              </a:extLst>
            </p:cNvPr>
            <p:cNvSpPr/>
            <p:nvPr/>
          </p:nvSpPr>
          <p:spPr>
            <a:xfrm>
              <a:off x="7133789" y="4127146"/>
              <a:ext cx="143595" cy="143595"/>
            </a:xfrm>
            <a:custGeom>
              <a:avLst/>
              <a:gdLst>
                <a:gd name="connsiteX0" fmla="*/ 6731 w 143594"/>
                <a:gd name="connsiteY0" fmla="*/ 6731 h 143594"/>
                <a:gd name="connsiteX1" fmla="*/ 145659 w 143594"/>
                <a:gd name="connsiteY1" fmla="*/ 6731 h 143594"/>
                <a:gd name="connsiteX2" fmla="*/ 145659 w 143594"/>
                <a:gd name="connsiteY2" fmla="*/ 145659 h 143594"/>
                <a:gd name="connsiteX3" fmla="*/ 6731 w 143594"/>
                <a:gd name="connsiteY3" fmla="*/ 145659 h 143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3594" h="143594">
                  <a:moveTo>
                    <a:pt x="6731" y="6731"/>
                  </a:moveTo>
                  <a:lnTo>
                    <a:pt x="145659" y="6731"/>
                  </a:lnTo>
                  <a:lnTo>
                    <a:pt x="145659" y="145659"/>
                  </a:lnTo>
                  <a:lnTo>
                    <a:pt x="6731" y="14565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798" dirty="0"/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21919CB3-2430-4DA6-BF41-59A1EF9C03CB}"/>
                </a:ext>
              </a:extLst>
            </p:cNvPr>
            <p:cNvSpPr/>
            <p:nvPr/>
          </p:nvSpPr>
          <p:spPr>
            <a:xfrm>
              <a:off x="7411555" y="4127146"/>
              <a:ext cx="143595" cy="143595"/>
            </a:xfrm>
            <a:custGeom>
              <a:avLst/>
              <a:gdLst>
                <a:gd name="connsiteX0" fmla="*/ 6731 w 143594"/>
                <a:gd name="connsiteY0" fmla="*/ 6731 h 143594"/>
                <a:gd name="connsiteX1" fmla="*/ 145659 w 143594"/>
                <a:gd name="connsiteY1" fmla="*/ 6731 h 143594"/>
                <a:gd name="connsiteX2" fmla="*/ 145659 w 143594"/>
                <a:gd name="connsiteY2" fmla="*/ 145659 h 143594"/>
                <a:gd name="connsiteX3" fmla="*/ 6731 w 143594"/>
                <a:gd name="connsiteY3" fmla="*/ 145659 h 143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3594" h="143594">
                  <a:moveTo>
                    <a:pt x="6731" y="6731"/>
                  </a:moveTo>
                  <a:lnTo>
                    <a:pt x="145659" y="6731"/>
                  </a:lnTo>
                  <a:lnTo>
                    <a:pt x="145659" y="145659"/>
                  </a:lnTo>
                  <a:lnTo>
                    <a:pt x="6731" y="14565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798" dirty="0"/>
            </a:p>
          </p:txBody>
        </p:sp>
      </p:grpSp>
      <p:grpSp>
        <p:nvGrpSpPr>
          <p:cNvPr id="82" name="Group 4">
            <a:extLst>
              <a:ext uri="{FF2B5EF4-FFF2-40B4-BE49-F238E27FC236}">
                <a16:creationId xmlns:a16="http://schemas.microsoft.com/office/drawing/2014/main" id="{C5FADEE5-07C4-41A9-88D6-C6D2ED1362B8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59392" y="4960938"/>
            <a:ext cx="1224912" cy="1435100"/>
            <a:chOff x="6529" y="3125"/>
            <a:chExt cx="772" cy="904"/>
          </a:xfrm>
        </p:grpSpPr>
        <p:sp>
          <p:nvSpPr>
            <p:cNvPr id="83" name="Freeform 5">
              <a:extLst>
                <a:ext uri="{FF2B5EF4-FFF2-40B4-BE49-F238E27FC236}">
                  <a16:creationId xmlns:a16="http://schemas.microsoft.com/office/drawing/2014/main" id="{5A2C465B-7D43-431D-A35E-50762E7696F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/>
            </a:p>
          </p:txBody>
        </p:sp>
        <p:sp>
          <p:nvSpPr>
            <p:cNvPr id="84" name="Freeform 6">
              <a:extLst>
                <a:ext uri="{FF2B5EF4-FFF2-40B4-BE49-F238E27FC236}">
                  <a16:creationId xmlns:a16="http://schemas.microsoft.com/office/drawing/2014/main" id="{AC35E6C1-71A8-4C9D-A1A5-682B0BD0A03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/>
            </a:p>
          </p:txBody>
        </p:sp>
      </p:grpSp>
    </p:spTree>
    <p:extLst>
      <p:ext uri="{BB962C8B-B14F-4D97-AF65-F5344CB8AC3E}">
        <p14:creationId xmlns:p14="http://schemas.microsoft.com/office/powerpoint/2010/main" val="17852710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Approved question w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5" name="Group 234">
            <a:extLst>
              <a:ext uri="{FF2B5EF4-FFF2-40B4-BE49-F238E27FC236}">
                <a16:creationId xmlns:a16="http://schemas.microsoft.com/office/drawing/2014/main" id="{5342E118-6F1D-4C46-956E-4CCCBCAA7952}"/>
              </a:ext>
            </a:extLst>
          </p:cNvPr>
          <p:cNvGrpSpPr/>
          <p:nvPr userDrawn="1"/>
        </p:nvGrpSpPr>
        <p:grpSpPr>
          <a:xfrm>
            <a:off x="497856" y="5826615"/>
            <a:ext cx="3876004" cy="570195"/>
            <a:chOff x="498115" y="5951018"/>
            <a:chExt cx="3878023" cy="570195"/>
          </a:xfrm>
        </p:grpSpPr>
        <p:sp>
          <p:nvSpPr>
            <p:cNvPr id="168" name="Rectangle 167">
              <a:extLst>
                <a:ext uri="{FF2B5EF4-FFF2-40B4-BE49-F238E27FC236}">
                  <a16:creationId xmlns:a16="http://schemas.microsoft.com/office/drawing/2014/main" id="{A22049CA-64AE-409F-988D-A7317F8AD13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98115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/>
            </a:p>
          </p:txBody>
        </p:sp>
        <p:sp>
          <p:nvSpPr>
            <p:cNvPr id="169" name="Rectangle 6">
              <a:extLst>
                <a:ext uri="{FF2B5EF4-FFF2-40B4-BE49-F238E27FC236}">
                  <a16:creationId xmlns:a16="http://schemas.microsoft.com/office/drawing/2014/main" id="{E37A0A05-0A78-44A7-8873-0A1A20C8717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9341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/>
            </a:p>
          </p:txBody>
        </p:sp>
        <p:sp>
          <p:nvSpPr>
            <p:cNvPr id="170" name="Rectangle 7">
              <a:extLst>
                <a:ext uri="{FF2B5EF4-FFF2-40B4-BE49-F238E27FC236}">
                  <a16:creationId xmlns:a16="http://schemas.microsoft.com/office/drawing/2014/main" id="{0DEA0CBE-8527-4287-BF98-DA48947875F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9045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/>
            </a:p>
          </p:txBody>
        </p:sp>
        <p:sp>
          <p:nvSpPr>
            <p:cNvPr id="171" name="Freeform 8">
              <a:extLst>
                <a:ext uri="{FF2B5EF4-FFF2-40B4-BE49-F238E27FC236}">
                  <a16:creationId xmlns:a16="http://schemas.microsoft.com/office/drawing/2014/main" id="{444058C6-612A-446E-8F68-0E5CC4CFF36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181188"/>
              <a:ext cx="94161" cy="130778"/>
            </a:xfrm>
            <a:custGeom>
              <a:avLst/>
              <a:gdLst>
                <a:gd name="T0" fmla="*/ 32 w 54"/>
                <a:gd name="T1" fmla="*/ 11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1 h 75"/>
                <a:gd name="T8" fmla="*/ 0 w 54"/>
                <a:gd name="T9" fmla="*/ 11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1 h 75"/>
                <a:gd name="T16" fmla="*/ 32 w 54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1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1"/>
                  </a:lnTo>
                  <a:lnTo>
                    <a:pt x="32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172" name="Freeform 9">
              <a:extLst>
                <a:ext uri="{FF2B5EF4-FFF2-40B4-BE49-F238E27FC236}">
                  <a16:creationId xmlns:a16="http://schemas.microsoft.com/office/drawing/2014/main" id="{1011EC31-E0C3-404F-93B3-EFD3DADC11C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174213"/>
              <a:ext cx="78468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173" name="Freeform 10">
              <a:extLst>
                <a:ext uri="{FF2B5EF4-FFF2-40B4-BE49-F238E27FC236}">
                  <a16:creationId xmlns:a16="http://schemas.microsoft.com/office/drawing/2014/main" id="{3C9D076B-D88C-4089-8D58-9A31CFCDB02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174" name="Freeform 11">
              <a:extLst>
                <a:ext uri="{FF2B5EF4-FFF2-40B4-BE49-F238E27FC236}">
                  <a16:creationId xmlns:a16="http://schemas.microsoft.com/office/drawing/2014/main" id="{29DB43AC-B765-4ECB-B483-562473BD4A3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174213"/>
              <a:ext cx="83698" cy="139497"/>
            </a:xfrm>
            <a:custGeom>
              <a:avLst/>
              <a:gdLst>
                <a:gd name="T0" fmla="*/ 33 w 33"/>
                <a:gd name="T1" fmla="*/ 35 h 55"/>
                <a:gd name="T2" fmla="*/ 31 w 33"/>
                <a:gd name="T3" fmla="*/ 44 h 55"/>
                <a:gd name="T4" fmla="*/ 28 w 33"/>
                <a:gd name="T5" fmla="*/ 50 h 55"/>
                <a:gd name="T6" fmla="*/ 23 w 33"/>
                <a:gd name="T7" fmla="*/ 53 h 55"/>
                <a:gd name="T8" fmla="*/ 17 w 33"/>
                <a:gd name="T9" fmla="*/ 55 h 55"/>
                <a:gd name="T10" fmla="*/ 12 w 33"/>
                <a:gd name="T11" fmla="*/ 53 h 55"/>
                <a:gd name="T12" fmla="*/ 8 w 33"/>
                <a:gd name="T13" fmla="*/ 50 h 55"/>
                <a:gd name="T14" fmla="*/ 8 w 33"/>
                <a:gd name="T15" fmla="*/ 54 h 55"/>
                <a:gd name="T16" fmla="*/ 0 w 33"/>
                <a:gd name="T17" fmla="*/ 54 h 55"/>
                <a:gd name="T18" fmla="*/ 0 w 33"/>
                <a:gd name="T19" fmla="*/ 4 h 55"/>
                <a:gd name="T20" fmla="*/ 8 w 33"/>
                <a:gd name="T21" fmla="*/ 0 h 55"/>
                <a:gd name="T22" fmla="*/ 8 w 33"/>
                <a:gd name="T23" fmla="*/ 19 h 55"/>
                <a:gd name="T24" fmla="*/ 10 w 33"/>
                <a:gd name="T25" fmla="*/ 17 h 55"/>
                <a:gd name="T26" fmla="*/ 12 w 33"/>
                <a:gd name="T27" fmla="*/ 16 h 55"/>
                <a:gd name="T28" fmla="*/ 14 w 33"/>
                <a:gd name="T29" fmla="*/ 15 h 55"/>
                <a:gd name="T30" fmla="*/ 18 w 33"/>
                <a:gd name="T31" fmla="*/ 15 h 55"/>
                <a:gd name="T32" fmla="*/ 24 w 33"/>
                <a:gd name="T33" fmla="*/ 16 h 55"/>
                <a:gd name="T34" fmla="*/ 28 w 33"/>
                <a:gd name="T35" fmla="*/ 19 h 55"/>
                <a:gd name="T36" fmla="*/ 31 w 33"/>
                <a:gd name="T37" fmla="*/ 26 h 55"/>
                <a:gd name="T38" fmla="*/ 33 w 33"/>
                <a:gd name="T39" fmla="*/ 35 h 55"/>
                <a:gd name="T40" fmla="*/ 25 w 33"/>
                <a:gd name="T41" fmla="*/ 35 h 55"/>
                <a:gd name="T42" fmla="*/ 23 w 33"/>
                <a:gd name="T43" fmla="*/ 25 h 55"/>
                <a:gd name="T44" fmla="*/ 16 w 33"/>
                <a:gd name="T45" fmla="*/ 22 h 55"/>
                <a:gd name="T46" fmla="*/ 14 w 33"/>
                <a:gd name="T47" fmla="*/ 22 h 55"/>
                <a:gd name="T48" fmla="*/ 11 w 33"/>
                <a:gd name="T49" fmla="*/ 23 h 55"/>
                <a:gd name="T50" fmla="*/ 9 w 33"/>
                <a:gd name="T51" fmla="*/ 25 h 55"/>
                <a:gd name="T52" fmla="*/ 8 w 33"/>
                <a:gd name="T53" fmla="*/ 26 h 55"/>
                <a:gd name="T54" fmla="*/ 8 w 33"/>
                <a:gd name="T55" fmla="*/ 43 h 55"/>
                <a:gd name="T56" fmla="*/ 9 w 33"/>
                <a:gd name="T57" fmla="*/ 44 h 55"/>
                <a:gd name="T58" fmla="*/ 11 w 33"/>
                <a:gd name="T59" fmla="*/ 46 h 55"/>
                <a:gd name="T60" fmla="*/ 14 w 33"/>
                <a:gd name="T61" fmla="*/ 47 h 55"/>
                <a:gd name="T62" fmla="*/ 17 w 33"/>
                <a:gd name="T63" fmla="*/ 48 h 55"/>
                <a:gd name="T64" fmla="*/ 23 w 33"/>
                <a:gd name="T65" fmla="*/ 45 h 55"/>
                <a:gd name="T66" fmla="*/ 25 w 33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5">
                  <a:moveTo>
                    <a:pt x="33" y="35"/>
                  </a:moveTo>
                  <a:cubicBezTo>
                    <a:pt x="33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7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6" y="55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8"/>
                    <a:pt x="10" y="17"/>
                  </a:cubicBezTo>
                  <a:cubicBezTo>
                    <a:pt x="11" y="17"/>
                    <a:pt x="11" y="16"/>
                    <a:pt x="12" y="16"/>
                  </a:cubicBezTo>
                  <a:cubicBezTo>
                    <a:pt x="13" y="16"/>
                    <a:pt x="13" y="15"/>
                    <a:pt x="14" y="15"/>
                  </a:cubicBezTo>
                  <a:cubicBezTo>
                    <a:pt x="15" y="15"/>
                    <a:pt x="16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30" y="21"/>
                    <a:pt x="31" y="23"/>
                    <a:pt x="31" y="26"/>
                  </a:cubicBezTo>
                  <a:cubicBezTo>
                    <a:pt x="32" y="28"/>
                    <a:pt x="33" y="32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5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1" y="23"/>
                    <a:pt x="10" y="24"/>
                    <a:pt x="9" y="25"/>
                  </a:cubicBezTo>
                  <a:cubicBezTo>
                    <a:pt x="9" y="25"/>
                    <a:pt x="8" y="26"/>
                    <a:pt x="8" y="26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8" y="43"/>
                    <a:pt x="9" y="44"/>
                    <a:pt x="9" y="44"/>
                  </a:cubicBezTo>
                  <a:cubicBezTo>
                    <a:pt x="10" y="45"/>
                    <a:pt x="11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6" y="48"/>
                    <a:pt x="17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175" name="Freeform 12">
              <a:extLst>
                <a:ext uri="{FF2B5EF4-FFF2-40B4-BE49-F238E27FC236}">
                  <a16:creationId xmlns:a16="http://schemas.microsoft.com/office/drawing/2014/main" id="{AF1DE1B8-EA4B-4A98-A97D-BA5EEA42B19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176" name="Freeform 13">
              <a:extLst>
                <a:ext uri="{FF2B5EF4-FFF2-40B4-BE49-F238E27FC236}">
                  <a16:creationId xmlns:a16="http://schemas.microsoft.com/office/drawing/2014/main" id="{F8F60B79-7AF5-4C5E-A5EF-126F117D591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1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2" y="54"/>
                    <a:pt x="11" y="54"/>
                  </a:cubicBezTo>
                  <a:cubicBezTo>
                    <a:pt x="10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2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177" name="Freeform 14">
              <a:extLst>
                <a:ext uri="{FF2B5EF4-FFF2-40B4-BE49-F238E27FC236}">
                  <a16:creationId xmlns:a16="http://schemas.microsoft.com/office/drawing/2014/main" id="{0A0438AD-9937-4C25-AB9E-7F8C8CCA23F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178" name="Freeform 15">
              <a:extLst>
                <a:ext uri="{FF2B5EF4-FFF2-40B4-BE49-F238E27FC236}">
                  <a16:creationId xmlns:a16="http://schemas.microsoft.com/office/drawing/2014/main" id="{6FDE2726-7032-4BE4-A420-0ECF49A32A8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0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2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0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3" y="31"/>
                    <a:pt x="24" y="30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0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7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179" name="Freeform 16">
              <a:extLst>
                <a:ext uri="{FF2B5EF4-FFF2-40B4-BE49-F238E27FC236}">
                  <a16:creationId xmlns:a16="http://schemas.microsoft.com/office/drawing/2014/main" id="{50C22C21-F8DB-486D-9042-765D68AE3A7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212575"/>
              <a:ext cx="55799" cy="99391"/>
            </a:xfrm>
            <a:custGeom>
              <a:avLst/>
              <a:gdLst>
                <a:gd name="T0" fmla="*/ 20 w 22"/>
                <a:gd name="T1" fmla="*/ 8 h 39"/>
                <a:gd name="T2" fmla="*/ 18 w 22"/>
                <a:gd name="T3" fmla="*/ 7 h 39"/>
                <a:gd name="T4" fmla="*/ 15 w 22"/>
                <a:gd name="T5" fmla="*/ 7 h 39"/>
                <a:gd name="T6" fmla="*/ 9 w 22"/>
                <a:gd name="T7" fmla="*/ 9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0 h 39"/>
                <a:gd name="T16" fmla="*/ 7 w 22"/>
                <a:gd name="T17" fmla="*/ 0 h 39"/>
                <a:gd name="T18" fmla="*/ 7 w 22"/>
                <a:gd name="T19" fmla="*/ 4 h 39"/>
                <a:gd name="T20" fmla="*/ 9 w 22"/>
                <a:gd name="T21" fmla="*/ 2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0 h 39"/>
                <a:gd name="T30" fmla="*/ 22 w 22"/>
                <a:gd name="T31" fmla="*/ 1 h 39"/>
                <a:gd name="T32" fmla="*/ 20 w 22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2" y="7"/>
                    <a:pt x="10" y="8"/>
                    <a:pt x="9" y="9"/>
                  </a:cubicBezTo>
                  <a:cubicBezTo>
                    <a:pt x="8" y="11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9" y="2"/>
                    <a:pt x="10" y="1"/>
                    <a:pt x="11" y="1"/>
                  </a:cubicBezTo>
                  <a:cubicBezTo>
                    <a:pt x="11" y="0"/>
                    <a:pt x="12" y="0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0"/>
                  </a:cubicBezTo>
                  <a:cubicBezTo>
                    <a:pt x="21" y="0"/>
                    <a:pt x="22" y="1"/>
                    <a:pt x="22" y="1"/>
                  </a:cubicBezTo>
                  <a:lnTo>
                    <a:pt x="20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180" name="Freeform 17">
              <a:extLst>
                <a:ext uri="{FF2B5EF4-FFF2-40B4-BE49-F238E27FC236}">
                  <a16:creationId xmlns:a16="http://schemas.microsoft.com/office/drawing/2014/main" id="{7F763F72-BB8F-482C-9FDA-40EDD6EE5F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181" name="Freeform 18">
              <a:extLst>
                <a:ext uri="{FF2B5EF4-FFF2-40B4-BE49-F238E27FC236}">
                  <a16:creationId xmlns:a16="http://schemas.microsoft.com/office/drawing/2014/main" id="{710F466C-6BEC-4970-9707-40D8002740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2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8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9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182" name="Freeform 19">
              <a:extLst>
                <a:ext uri="{FF2B5EF4-FFF2-40B4-BE49-F238E27FC236}">
                  <a16:creationId xmlns:a16="http://schemas.microsoft.com/office/drawing/2014/main" id="{3332407D-F423-41B2-985F-8A4482C61D9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183" name="Freeform 20">
              <a:extLst>
                <a:ext uri="{FF2B5EF4-FFF2-40B4-BE49-F238E27FC236}">
                  <a16:creationId xmlns:a16="http://schemas.microsoft.com/office/drawing/2014/main" id="{44E3286F-1188-47B1-8B46-3498795DF2D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30922" y="6212575"/>
              <a:ext cx="80211" cy="134265"/>
            </a:xfrm>
            <a:custGeom>
              <a:avLst/>
              <a:gdLst>
                <a:gd name="T0" fmla="*/ 25 w 32"/>
                <a:gd name="T1" fmla="*/ 53 h 53"/>
                <a:gd name="T2" fmla="*/ 25 w 32"/>
                <a:gd name="T3" fmla="*/ 35 h 53"/>
                <a:gd name="T4" fmla="*/ 20 w 32"/>
                <a:gd name="T5" fmla="*/ 38 h 53"/>
                <a:gd name="T6" fmla="*/ 15 w 32"/>
                <a:gd name="T7" fmla="*/ 40 h 53"/>
                <a:gd name="T8" fmla="*/ 9 w 32"/>
                <a:gd name="T9" fmla="*/ 38 h 53"/>
                <a:gd name="T10" fmla="*/ 4 w 32"/>
                <a:gd name="T11" fmla="*/ 35 h 53"/>
                <a:gd name="T12" fmla="*/ 1 w 32"/>
                <a:gd name="T13" fmla="*/ 28 h 53"/>
                <a:gd name="T14" fmla="*/ 0 w 32"/>
                <a:gd name="T15" fmla="*/ 19 h 53"/>
                <a:gd name="T16" fmla="*/ 1 w 32"/>
                <a:gd name="T17" fmla="*/ 10 h 53"/>
                <a:gd name="T18" fmla="*/ 4 w 32"/>
                <a:gd name="T19" fmla="*/ 4 h 53"/>
                <a:gd name="T20" fmla="*/ 9 w 32"/>
                <a:gd name="T21" fmla="*/ 1 h 53"/>
                <a:gd name="T22" fmla="*/ 15 w 32"/>
                <a:gd name="T23" fmla="*/ 0 h 53"/>
                <a:gd name="T24" fmla="*/ 18 w 32"/>
                <a:gd name="T25" fmla="*/ 0 h 53"/>
                <a:gd name="T26" fmla="*/ 20 w 32"/>
                <a:gd name="T27" fmla="*/ 1 h 53"/>
                <a:gd name="T28" fmla="*/ 23 w 32"/>
                <a:gd name="T29" fmla="*/ 2 h 53"/>
                <a:gd name="T30" fmla="*/ 25 w 32"/>
                <a:gd name="T31" fmla="*/ 4 h 53"/>
                <a:gd name="T32" fmla="*/ 25 w 32"/>
                <a:gd name="T33" fmla="*/ 0 h 53"/>
                <a:gd name="T34" fmla="*/ 32 w 32"/>
                <a:gd name="T35" fmla="*/ 0 h 53"/>
                <a:gd name="T36" fmla="*/ 32 w 32"/>
                <a:gd name="T37" fmla="*/ 49 h 53"/>
                <a:gd name="T38" fmla="*/ 25 w 32"/>
                <a:gd name="T39" fmla="*/ 53 h 53"/>
                <a:gd name="T40" fmla="*/ 25 w 32"/>
                <a:gd name="T41" fmla="*/ 12 h 53"/>
                <a:gd name="T42" fmla="*/ 23 w 32"/>
                <a:gd name="T43" fmla="*/ 10 h 53"/>
                <a:gd name="T44" fmla="*/ 21 w 32"/>
                <a:gd name="T45" fmla="*/ 8 h 53"/>
                <a:gd name="T46" fmla="*/ 18 w 32"/>
                <a:gd name="T47" fmla="*/ 7 h 53"/>
                <a:gd name="T48" fmla="*/ 16 w 32"/>
                <a:gd name="T49" fmla="*/ 7 h 53"/>
                <a:gd name="T50" fmla="*/ 9 w 32"/>
                <a:gd name="T51" fmla="*/ 10 h 53"/>
                <a:gd name="T52" fmla="*/ 7 w 32"/>
                <a:gd name="T53" fmla="*/ 19 h 53"/>
                <a:gd name="T54" fmla="*/ 10 w 32"/>
                <a:gd name="T55" fmla="*/ 29 h 53"/>
                <a:gd name="T56" fmla="*/ 16 w 32"/>
                <a:gd name="T57" fmla="*/ 33 h 53"/>
                <a:gd name="T58" fmla="*/ 21 w 32"/>
                <a:gd name="T59" fmla="*/ 31 h 53"/>
                <a:gd name="T60" fmla="*/ 25 w 32"/>
                <a:gd name="T61" fmla="*/ 28 h 53"/>
                <a:gd name="T62" fmla="*/ 25 w 32"/>
                <a:gd name="T63" fmla="*/ 1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2" h="53">
                  <a:moveTo>
                    <a:pt x="25" y="53"/>
                  </a:moveTo>
                  <a:cubicBezTo>
                    <a:pt x="25" y="35"/>
                    <a:pt x="25" y="35"/>
                    <a:pt x="25" y="35"/>
                  </a:cubicBezTo>
                  <a:cubicBezTo>
                    <a:pt x="23" y="36"/>
                    <a:pt x="22" y="37"/>
                    <a:pt x="20" y="38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3" y="40"/>
                    <a:pt x="11" y="39"/>
                    <a:pt x="9" y="38"/>
                  </a:cubicBezTo>
                  <a:cubicBezTo>
                    <a:pt x="7" y="38"/>
                    <a:pt x="5" y="36"/>
                    <a:pt x="4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0" y="26"/>
                    <a:pt x="0" y="23"/>
                    <a:pt x="0" y="19"/>
                  </a:cubicBezTo>
                  <a:cubicBezTo>
                    <a:pt x="0" y="16"/>
                    <a:pt x="0" y="13"/>
                    <a:pt x="1" y="10"/>
                  </a:cubicBezTo>
                  <a:cubicBezTo>
                    <a:pt x="2" y="8"/>
                    <a:pt x="3" y="6"/>
                    <a:pt x="4" y="4"/>
                  </a:cubicBezTo>
                  <a:cubicBezTo>
                    <a:pt x="6" y="3"/>
                    <a:pt x="7" y="2"/>
                    <a:pt x="9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6" y="0"/>
                    <a:pt x="17" y="0"/>
                    <a:pt x="18" y="0"/>
                  </a:cubicBezTo>
                  <a:cubicBezTo>
                    <a:pt x="19" y="0"/>
                    <a:pt x="20" y="0"/>
                    <a:pt x="20" y="1"/>
                  </a:cubicBezTo>
                  <a:cubicBezTo>
                    <a:pt x="21" y="1"/>
                    <a:pt x="22" y="2"/>
                    <a:pt x="23" y="2"/>
                  </a:cubicBezTo>
                  <a:cubicBezTo>
                    <a:pt x="23" y="3"/>
                    <a:pt x="24" y="3"/>
                    <a:pt x="25" y="4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49"/>
                    <a:pt x="32" y="49"/>
                    <a:pt x="32" y="49"/>
                  </a:cubicBezTo>
                  <a:lnTo>
                    <a:pt x="25" y="53"/>
                  </a:lnTo>
                  <a:close/>
                  <a:moveTo>
                    <a:pt x="25" y="12"/>
                  </a:moveTo>
                  <a:cubicBezTo>
                    <a:pt x="24" y="11"/>
                    <a:pt x="24" y="10"/>
                    <a:pt x="23" y="10"/>
                  </a:cubicBezTo>
                  <a:cubicBezTo>
                    <a:pt x="23" y="9"/>
                    <a:pt x="22" y="9"/>
                    <a:pt x="21" y="8"/>
                  </a:cubicBezTo>
                  <a:cubicBezTo>
                    <a:pt x="20" y="8"/>
                    <a:pt x="19" y="7"/>
                    <a:pt x="18" y="7"/>
                  </a:cubicBezTo>
                  <a:cubicBezTo>
                    <a:pt x="18" y="7"/>
                    <a:pt x="17" y="7"/>
                    <a:pt x="16" y="7"/>
                  </a:cubicBezTo>
                  <a:cubicBezTo>
                    <a:pt x="13" y="7"/>
                    <a:pt x="11" y="8"/>
                    <a:pt x="9" y="10"/>
                  </a:cubicBezTo>
                  <a:cubicBezTo>
                    <a:pt x="8" y="12"/>
                    <a:pt x="7" y="15"/>
                    <a:pt x="7" y="19"/>
                  </a:cubicBezTo>
                  <a:cubicBezTo>
                    <a:pt x="7" y="23"/>
                    <a:pt x="8" y="27"/>
                    <a:pt x="10" y="29"/>
                  </a:cubicBezTo>
                  <a:cubicBezTo>
                    <a:pt x="11" y="31"/>
                    <a:pt x="13" y="33"/>
                    <a:pt x="16" y="33"/>
                  </a:cubicBezTo>
                  <a:cubicBezTo>
                    <a:pt x="18" y="33"/>
                    <a:pt x="19" y="32"/>
                    <a:pt x="21" y="31"/>
                  </a:cubicBezTo>
                  <a:cubicBezTo>
                    <a:pt x="22" y="30"/>
                    <a:pt x="24" y="29"/>
                    <a:pt x="25" y="28"/>
                  </a:cubicBezTo>
                  <a:lnTo>
                    <a:pt x="25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184" name="Freeform 21">
              <a:extLst>
                <a:ext uri="{FF2B5EF4-FFF2-40B4-BE49-F238E27FC236}">
                  <a16:creationId xmlns:a16="http://schemas.microsoft.com/office/drawing/2014/main" id="{E7BD9E0B-920A-4409-95E7-40A47107B3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35545" y="6212575"/>
              <a:ext cx="78468" cy="101135"/>
            </a:xfrm>
            <a:custGeom>
              <a:avLst/>
              <a:gdLst>
                <a:gd name="T0" fmla="*/ 24 w 31"/>
                <a:gd name="T1" fmla="*/ 39 h 40"/>
                <a:gd name="T2" fmla="*/ 24 w 31"/>
                <a:gd name="T3" fmla="*/ 35 h 40"/>
                <a:gd name="T4" fmla="*/ 20 w 31"/>
                <a:gd name="T5" fmla="*/ 38 h 40"/>
                <a:gd name="T6" fmla="*/ 14 w 31"/>
                <a:gd name="T7" fmla="*/ 40 h 40"/>
                <a:gd name="T8" fmla="*/ 4 w 31"/>
                <a:gd name="T9" fmla="*/ 35 h 40"/>
                <a:gd name="T10" fmla="*/ 0 w 31"/>
                <a:gd name="T11" fmla="*/ 22 h 40"/>
                <a:gd name="T12" fmla="*/ 0 w 31"/>
                <a:gd name="T13" fmla="*/ 0 h 40"/>
                <a:gd name="T14" fmla="*/ 8 w 31"/>
                <a:gd name="T15" fmla="*/ 0 h 40"/>
                <a:gd name="T16" fmla="*/ 8 w 31"/>
                <a:gd name="T17" fmla="*/ 22 h 40"/>
                <a:gd name="T18" fmla="*/ 10 w 31"/>
                <a:gd name="T19" fmla="*/ 30 h 40"/>
                <a:gd name="T20" fmla="*/ 16 w 31"/>
                <a:gd name="T21" fmla="*/ 33 h 40"/>
                <a:gd name="T22" fmla="*/ 22 w 31"/>
                <a:gd name="T23" fmla="*/ 30 h 40"/>
                <a:gd name="T24" fmla="*/ 24 w 31"/>
                <a:gd name="T25" fmla="*/ 23 h 40"/>
                <a:gd name="T26" fmla="*/ 24 w 31"/>
                <a:gd name="T27" fmla="*/ 0 h 40"/>
                <a:gd name="T28" fmla="*/ 31 w 31"/>
                <a:gd name="T29" fmla="*/ 0 h 40"/>
                <a:gd name="T30" fmla="*/ 31 w 31"/>
                <a:gd name="T31" fmla="*/ 39 h 40"/>
                <a:gd name="T32" fmla="*/ 24 w 31"/>
                <a:gd name="T33" fmla="*/ 39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1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2" y="38"/>
                    <a:pt x="20" y="38"/>
                  </a:cubicBezTo>
                  <a:cubicBezTo>
                    <a:pt x="18" y="39"/>
                    <a:pt x="16" y="40"/>
                    <a:pt x="14" y="40"/>
                  </a:cubicBezTo>
                  <a:cubicBezTo>
                    <a:pt x="10" y="40"/>
                    <a:pt x="6" y="38"/>
                    <a:pt x="4" y="35"/>
                  </a:cubicBezTo>
                  <a:cubicBezTo>
                    <a:pt x="2" y="32"/>
                    <a:pt x="0" y="28"/>
                    <a:pt x="0" y="2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6"/>
                    <a:pt x="9" y="28"/>
                    <a:pt x="10" y="30"/>
                  </a:cubicBezTo>
                  <a:cubicBezTo>
                    <a:pt x="11" y="32"/>
                    <a:pt x="13" y="33"/>
                    <a:pt x="16" y="33"/>
                  </a:cubicBezTo>
                  <a:cubicBezTo>
                    <a:pt x="18" y="33"/>
                    <a:pt x="20" y="32"/>
                    <a:pt x="22" y="30"/>
                  </a:cubicBezTo>
                  <a:cubicBezTo>
                    <a:pt x="23" y="28"/>
                    <a:pt x="24" y="26"/>
                    <a:pt x="24" y="23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4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185" name="Freeform 22">
              <a:extLst>
                <a:ext uri="{FF2B5EF4-FFF2-40B4-BE49-F238E27FC236}">
                  <a16:creationId xmlns:a16="http://schemas.microsoft.com/office/drawing/2014/main" id="{9D2625B8-0A5B-46EF-8302-77353AB0D3A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93493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1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2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186" name="Freeform 23">
              <a:extLst>
                <a:ext uri="{FF2B5EF4-FFF2-40B4-BE49-F238E27FC236}">
                  <a16:creationId xmlns:a16="http://schemas.microsoft.com/office/drawing/2014/main" id="{DE6C9E0E-C49B-4FBE-97F3-BB6DFAC5742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30841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1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4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7 w 29"/>
                <a:gd name="T55" fmla="*/ 24 h 40"/>
                <a:gd name="T56" fmla="*/ 13 w 29"/>
                <a:gd name="T57" fmla="*/ 22 h 40"/>
                <a:gd name="T58" fmla="*/ 8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2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3" y="6"/>
                    <a:pt x="11" y="7"/>
                    <a:pt x="10" y="7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1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9" y="25"/>
                    <a:pt x="18" y="24"/>
                    <a:pt x="17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8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3" y="15"/>
                    <a:pt x="2" y="14"/>
                  </a:cubicBezTo>
                  <a:cubicBezTo>
                    <a:pt x="2" y="13"/>
                    <a:pt x="2" y="12"/>
                    <a:pt x="2" y="10"/>
                  </a:cubicBezTo>
                  <a:cubicBezTo>
                    <a:pt x="2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187" name="Freeform 24">
              <a:extLst>
                <a:ext uri="{FF2B5EF4-FFF2-40B4-BE49-F238E27FC236}">
                  <a16:creationId xmlns:a16="http://schemas.microsoft.com/office/drawing/2014/main" id="{580801ED-9260-41DB-A0B7-5AF24B32272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1802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188" name="Freeform 25">
              <a:extLst>
                <a:ext uri="{FF2B5EF4-FFF2-40B4-BE49-F238E27FC236}">
                  <a16:creationId xmlns:a16="http://schemas.microsoft.com/office/drawing/2014/main" id="{3A9842FB-6E95-4D11-B5B9-58C4CB82C2F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194750" y="6175958"/>
              <a:ext cx="24412" cy="136010"/>
            </a:xfrm>
            <a:custGeom>
              <a:avLst/>
              <a:gdLst>
                <a:gd name="T0" fmla="*/ 10 w 10"/>
                <a:gd name="T1" fmla="*/ 5 h 53"/>
                <a:gd name="T2" fmla="*/ 9 w 10"/>
                <a:gd name="T3" fmla="*/ 6 h 53"/>
                <a:gd name="T4" fmla="*/ 8 w 10"/>
                <a:gd name="T5" fmla="*/ 8 h 53"/>
                <a:gd name="T6" fmla="*/ 7 w 10"/>
                <a:gd name="T7" fmla="*/ 9 h 53"/>
                <a:gd name="T8" fmla="*/ 5 w 10"/>
                <a:gd name="T9" fmla="*/ 9 h 53"/>
                <a:gd name="T10" fmla="*/ 3 w 10"/>
                <a:gd name="T11" fmla="*/ 9 h 53"/>
                <a:gd name="T12" fmla="*/ 1 w 10"/>
                <a:gd name="T13" fmla="*/ 8 h 53"/>
                <a:gd name="T14" fmla="*/ 0 w 10"/>
                <a:gd name="T15" fmla="*/ 6 h 53"/>
                <a:gd name="T16" fmla="*/ 0 w 10"/>
                <a:gd name="T17" fmla="*/ 5 h 53"/>
                <a:gd name="T18" fmla="*/ 0 w 10"/>
                <a:gd name="T19" fmla="*/ 3 h 53"/>
                <a:gd name="T20" fmla="*/ 1 w 10"/>
                <a:gd name="T21" fmla="*/ 1 h 53"/>
                <a:gd name="T22" fmla="*/ 3 w 10"/>
                <a:gd name="T23" fmla="*/ 0 h 53"/>
                <a:gd name="T24" fmla="*/ 5 w 10"/>
                <a:gd name="T25" fmla="*/ 0 h 53"/>
                <a:gd name="T26" fmla="*/ 7 w 10"/>
                <a:gd name="T27" fmla="*/ 0 h 53"/>
                <a:gd name="T28" fmla="*/ 8 w 10"/>
                <a:gd name="T29" fmla="*/ 1 h 53"/>
                <a:gd name="T30" fmla="*/ 9 w 10"/>
                <a:gd name="T31" fmla="*/ 3 h 53"/>
                <a:gd name="T32" fmla="*/ 10 w 10"/>
                <a:gd name="T33" fmla="*/ 5 h 53"/>
                <a:gd name="T34" fmla="*/ 1 w 10"/>
                <a:gd name="T35" fmla="*/ 53 h 53"/>
                <a:gd name="T36" fmla="*/ 1 w 10"/>
                <a:gd name="T37" fmla="*/ 14 h 53"/>
                <a:gd name="T38" fmla="*/ 9 w 10"/>
                <a:gd name="T39" fmla="*/ 14 h 53"/>
                <a:gd name="T40" fmla="*/ 9 w 10"/>
                <a:gd name="T41" fmla="*/ 53 h 53"/>
                <a:gd name="T42" fmla="*/ 1 w 10"/>
                <a:gd name="T43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" h="53">
                  <a:moveTo>
                    <a:pt x="10" y="5"/>
                  </a:moveTo>
                  <a:cubicBezTo>
                    <a:pt x="10" y="5"/>
                    <a:pt x="10" y="6"/>
                    <a:pt x="9" y="6"/>
                  </a:cubicBezTo>
                  <a:cubicBezTo>
                    <a:pt x="9" y="7"/>
                    <a:pt x="9" y="8"/>
                    <a:pt x="8" y="8"/>
                  </a:cubicBezTo>
                  <a:cubicBezTo>
                    <a:pt x="8" y="8"/>
                    <a:pt x="7" y="9"/>
                    <a:pt x="7" y="9"/>
                  </a:cubicBezTo>
                  <a:cubicBezTo>
                    <a:pt x="6" y="9"/>
                    <a:pt x="6" y="9"/>
                    <a:pt x="5" y="9"/>
                  </a:cubicBezTo>
                  <a:cubicBezTo>
                    <a:pt x="4" y="9"/>
                    <a:pt x="4" y="9"/>
                    <a:pt x="3" y="9"/>
                  </a:cubicBezTo>
                  <a:cubicBezTo>
                    <a:pt x="2" y="9"/>
                    <a:pt x="2" y="8"/>
                    <a:pt x="1" y="8"/>
                  </a:cubicBezTo>
                  <a:cubicBezTo>
                    <a:pt x="1" y="8"/>
                    <a:pt x="1" y="7"/>
                    <a:pt x="0" y="6"/>
                  </a:cubicBezTo>
                  <a:cubicBezTo>
                    <a:pt x="0" y="6"/>
                    <a:pt x="0" y="5"/>
                    <a:pt x="0" y="5"/>
                  </a:cubicBezTo>
                  <a:cubicBezTo>
                    <a:pt x="0" y="4"/>
                    <a:pt x="0" y="3"/>
                    <a:pt x="0" y="3"/>
                  </a:cubicBezTo>
                  <a:cubicBezTo>
                    <a:pt x="1" y="2"/>
                    <a:pt x="1" y="2"/>
                    <a:pt x="1" y="1"/>
                  </a:cubicBezTo>
                  <a:cubicBezTo>
                    <a:pt x="2" y="1"/>
                    <a:pt x="2" y="0"/>
                    <a:pt x="3" y="0"/>
                  </a:cubicBezTo>
                  <a:cubicBezTo>
                    <a:pt x="4" y="0"/>
                    <a:pt x="4" y="0"/>
                    <a:pt x="5" y="0"/>
                  </a:cubicBezTo>
                  <a:cubicBezTo>
                    <a:pt x="6" y="0"/>
                    <a:pt x="6" y="0"/>
                    <a:pt x="7" y="0"/>
                  </a:cubicBezTo>
                  <a:cubicBezTo>
                    <a:pt x="7" y="0"/>
                    <a:pt x="8" y="1"/>
                    <a:pt x="8" y="1"/>
                  </a:cubicBezTo>
                  <a:cubicBezTo>
                    <a:pt x="9" y="2"/>
                    <a:pt x="9" y="2"/>
                    <a:pt x="9" y="3"/>
                  </a:cubicBezTo>
                  <a:cubicBezTo>
                    <a:pt x="10" y="3"/>
                    <a:pt x="10" y="4"/>
                    <a:pt x="10" y="5"/>
                  </a:cubicBezTo>
                  <a:close/>
                  <a:moveTo>
                    <a:pt x="1" y="53"/>
                  </a:moveTo>
                  <a:cubicBezTo>
                    <a:pt x="1" y="14"/>
                    <a:pt x="1" y="14"/>
                    <a:pt x="1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53"/>
                    <a:pt x="9" y="53"/>
                    <a:pt x="9" y="53"/>
                  </a:cubicBezTo>
                  <a:lnTo>
                    <a:pt x="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189" name="Freeform 26">
              <a:extLst>
                <a:ext uri="{FF2B5EF4-FFF2-40B4-BE49-F238E27FC236}">
                  <a16:creationId xmlns:a16="http://schemas.microsoft.com/office/drawing/2014/main" id="{076538BB-C266-42BE-916B-458AF9EFB22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236599" y="6212575"/>
              <a:ext cx="87186" cy="101135"/>
            </a:xfrm>
            <a:custGeom>
              <a:avLst/>
              <a:gdLst>
                <a:gd name="T0" fmla="*/ 34 w 34"/>
                <a:gd name="T1" fmla="*/ 19 h 40"/>
                <a:gd name="T2" fmla="*/ 33 w 34"/>
                <a:gd name="T3" fmla="*/ 28 h 40"/>
                <a:gd name="T4" fmla="*/ 29 w 34"/>
                <a:gd name="T5" fmla="*/ 34 h 40"/>
                <a:gd name="T6" fmla="*/ 24 w 34"/>
                <a:gd name="T7" fmla="*/ 38 h 40"/>
                <a:gd name="T8" fmla="*/ 17 w 34"/>
                <a:gd name="T9" fmla="*/ 40 h 40"/>
                <a:gd name="T10" fmla="*/ 10 w 34"/>
                <a:gd name="T11" fmla="*/ 38 h 40"/>
                <a:gd name="T12" fmla="*/ 5 w 34"/>
                <a:gd name="T13" fmla="*/ 34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1 h 40"/>
                <a:gd name="T20" fmla="*/ 5 w 34"/>
                <a:gd name="T21" fmla="*/ 5 h 40"/>
                <a:gd name="T22" fmla="*/ 10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1 h 40"/>
                <a:gd name="T32" fmla="*/ 34 w 34"/>
                <a:gd name="T33" fmla="*/ 19 h 40"/>
                <a:gd name="T34" fmla="*/ 26 w 34"/>
                <a:gd name="T35" fmla="*/ 20 h 40"/>
                <a:gd name="T36" fmla="*/ 26 w 34"/>
                <a:gd name="T37" fmla="*/ 14 h 40"/>
                <a:gd name="T38" fmla="*/ 24 w 34"/>
                <a:gd name="T39" fmla="*/ 10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0 h 40"/>
                <a:gd name="T48" fmla="*/ 8 w 34"/>
                <a:gd name="T49" fmla="*/ 14 h 40"/>
                <a:gd name="T50" fmla="*/ 7 w 34"/>
                <a:gd name="T51" fmla="*/ 19 h 40"/>
                <a:gd name="T52" fmla="*/ 8 w 34"/>
                <a:gd name="T53" fmla="*/ 25 h 40"/>
                <a:gd name="T54" fmla="*/ 10 w 34"/>
                <a:gd name="T55" fmla="*/ 29 h 40"/>
                <a:gd name="T56" fmla="*/ 13 w 34"/>
                <a:gd name="T57" fmla="*/ 32 h 40"/>
                <a:gd name="T58" fmla="*/ 17 w 34"/>
                <a:gd name="T59" fmla="*/ 32 h 40"/>
                <a:gd name="T60" fmla="*/ 21 w 34"/>
                <a:gd name="T61" fmla="*/ 31 h 40"/>
                <a:gd name="T62" fmla="*/ 24 w 34"/>
                <a:gd name="T63" fmla="*/ 29 h 40"/>
                <a:gd name="T64" fmla="*/ 26 w 34"/>
                <a:gd name="T65" fmla="*/ 25 h 40"/>
                <a:gd name="T66" fmla="*/ 26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19"/>
                  </a:moveTo>
                  <a:cubicBezTo>
                    <a:pt x="34" y="23"/>
                    <a:pt x="34" y="25"/>
                    <a:pt x="33" y="28"/>
                  </a:cubicBezTo>
                  <a:cubicBezTo>
                    <a:pt x="32" y="30"/>
                    <a:pt x="31" y="33"/>
                    <a:pt x="29" y="34"/>
                  </a:cubicBezTo>
                  <a:cubicBezTo>
                    <a:pt x="28" y="36"/>
                    <a:pt x="26" y="37"/>
                    <a:pt x="24" y="38"/>
                  </a:cubicBezTo>
                  <a:cubicBezTo>
                    <a:pt x="21" y="39"/>
                    <a:pt x="19" y="40"/>
                    <a:pt x="17" y="40"/>
                  </a:cubicBezTo>
                  <a:cubicBezTo>
                    <a:pt x="14" y="40"/>
                    <a:pt x="12" y="39"/>
                    <a:pt x="10" y="38"/>
                  </a:cubicBezTo>
                  <a:cubicBezTo>
                    <a:pt x="8" y="37"/>
                    <a:pt x="6" y="36"/>
                    <a:pt x="5" y="34"/>
                  </a:cubicBezTo>
                  <a:cubicBezTo>
                    <a:pt x="3" y="32"/>
                    <a:pt x="2" y="30"/>
                    <a:pt x="1" y="28"/>
                  </a:cubicBezTo>
                  <a:cubicBezTo>
                    <a:pt x="0" y="25"/>
                    <a:pt x="0" y="23"/>
                    <a:pt x="0" y="20"/>
                  </a:cubicBezTo>
                  <a:cubicBezTo>
                    <a:pt x="0" y="16"/>
                    <a:pt x="0" y="14"/>
                    <a:pt x="1" y="11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8" y="3"/>
                    <a:pt x="29" y="5"/>
                  </a:cubicBezTo>
                  <a:cubicBezTo>
                    <a:pt x="31" y="7"/>
                    <a:pt x="32" y="9"/>
                    <a:pt x="33" y="11"/>
                  </a:cubicBezTo>
                  <a:cubicBezTo>
                    <a:pt x="34" y="14"/>
                    <a:pt x="34" y="16"/>
                    <a:pt x="34" y="19"/>
                  </a:cubicBezTo>
                  <a:close/>
                  <a:moveTo>
                    <a:pt x="26" y="20"/>
                  </a:moveTo>
                  <a:cubicBezTo>
                    <a:pt x="26" y="18"/>
                    <a:pt x="26" y="16"/>
                    <a:pt x="26" y="14"/>
                  </a:cubicBezTo>
                  <a:cubicBezTo>
                    <a:pt x="25" y="13"/>
                    <a:pt x="25" y="11"/>
                    <a:pt x="24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19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11"/>
                    <a:pt x="8" y="13"/>
                    <a:pt x="8" y="14"/>
                  </a:cubicBezTo>
                  <a:cubicBezTo>
                    <a:pt x="8" y="16"/>
                    <a:pt x="7" y="17"/>
                    <a:pt x="7" y="19"/>
                  </a:cubicBezTo>
                  <a:cubicBezTo>
                    <a:pt x="7" y="21"/>
                    <a:pt x="8" y="23"/>
                    <a:pt x="8" y="25"/>
                  </a:cubicBezTo>
                  <a:cubicBezTo>
                    <a:pt x="9" y="27"/>
                    <a:pt x="9" y="28"/>
                    <a:pt x="10" y="29"/>
                  </a:cubicBezTo>
                  <a:cubicBezTo>
                    <a:pt x="11" y="30"/>
                    <a:pt x="12" y="31"/>
                    <a:pt x="13" y="32"/>
                  </a:cubicBezTo>
                  <a:cubicBezTo>
                    <a:pt x="14" y="32"/>
                    <a:pt x="16" y="32"/>
                    <a:pt x="17" y="32"/>
                  </a:cubicBezTo>
                  <a:cubicBezTo>
                    <a:pt x="18" y="32"/>
                    <a:pt x="20" y="32"/>
                    <a:pt x="21" y="31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7"/>
                    <a:pt x="25" y="26"/>
                    <a:pt x="26" y="25"/>
                  </a:cubicBezTo>
                  <a:cubicBezTo>
                    <a:pt x="26" y="23"/>
                    <a:pt x="26" y="21"/>
                    <a:pt x="26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190" name="Freeform 27">
              <a:extLst>
                <a:ext uri="{FF2B5EF4-FFF2-40B4-BE49-F238E27FC236}">
                  <a16:creationId xmlns:a16="http://schemas.microsoft.com/office/drawing/2014/main" id="{A7C95C0F-A1E9-46B5-B9DB-284F35C7280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44710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1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9 w 31"/>
                <a:gd name="T11" fmla="*/ 9 h 39"/>
                <a:gd name="T12" fmla="*/ 8 w 31"/>
                <a:gd name="T13" fmla="*/ 12 h 39"/>
                <a:gd name="T14" fmla="*/ 7 w 31"/>
                <a:gd name="T15" fmla="*/ 16 h 39"/>
                <a:gd name="T16" fmla="*/ 7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7 w 31"/>
                <a:gd name="T23" fmla="*/ 0 h 39"/>
                <a:gd name="T24" fmla="*/ 7 w 31"/>
                <a:gd name="T25" fmla="*/ 4 h 39"/>
                <a:gd name="T26" fmla="*/ 9 w 31"/>
                <a:gd name="T27" fmla="*/ 2 h 39"/>
                <a:gd name="T28" fmla="*/ 11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7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1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9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7" y="15"/>
                    <a:pt x="7" y="16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9" y="0"/>
                    <a:pt x="21" y="0"/>
                    <a:pt x="23" y="1"/>
                  </a:cubicBezTo>
                  <a:cubicBezTo>
                    <a:pt x="25" y="1"/>
                    <a:pt x="26" y="2"/>
                    <a:pt x="27" y="4"/>
                  </a:cubicBezTo>
                  <a:cubicBezTo>
                    <a:pt x="28" y="5"/>
                    <a:pt x="29" y="7"/>
                    <a:pt x="30" y="9"/>
                  </a:cubicBezTo>
                  <a:cubicBezTo>
                    <a:pt x="30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191" name="Freeform 28">
              <a:extLst>
                <a:ext uri="{FF2B5EF4-FFF2-40B4-BE49-F238E27FC236}">
                  <a16:creationId xmlns:a16="http://schemas.microsoft.com/office/drawing/2014/main" id="{BEEA6186-B2B9-4E5E-9631-B6332C7FDB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45845" y="6284068"/>
              <a:ext cx="31387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4 w 12"/>
                <a:gd name="T11" fmla="*/ 11 h 12"/>
                <a:gd name="T12" fmla="*/ 2 w 12"/>
                <a:gd name="T13" fmla="*/ 10 h 12"/>
                <a:gd name="T14" fmla="*/ 1 w 12"/>
                <a:gd name="T15" fmla="*/ 8 h 12"/>
                <a:gd name="T16" fmla="*/ 0 w 12"/>
                <a:gd name="T17" fmla="*/ 6 h 12"/>
                <a:gd name="T18" fmla="*/ 1 w 12"/>
                <a:gd name="T19" fmla="*/ 4 h 12"/>
                <a:gd name="T20" fmla="*/ 2 w 12"/>
                <a:gd name="T21" fmla="*/ 2 h 12"/>
                <a:gd name="T22" fmla="*/ 4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4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1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1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4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192" name="Freeform 29">
              <a:extLst>
                <a:ext uri="{FF2B5EF4-FFF2-40B4-BE49-F238E27FC236}">
                  <a16:creationId xmlns:a16="http://schemas.microsoft.com/office/drawing/2014/main" id="{E9B00A5D-BE04-4D7D-B4A2-204E2D0E04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0006" y="6181188"/>
              <a:ext cx="97648" cy="130778"/>
            </a:xfrm>
            <a:custGeom>
              <a:avLst/>
              <a:gdLst>
                <a:gd name="T0" fmla="*/ 34 w 56"/>
                <a:gd name="T1" fmla="*/ 11 h 75"/>
                <a:gd name="T2" fmla="*/ 34 w 56"/>
                <a:gd name="T3" fmla="*/ 75 h 75"/>
                <a:gd name="T4" fmla="*/ 22 w 56"/>
                <a:gd name="T5" fmla="*/ 75 h 75"/>
                <a:gd name="T6" fmla="*/ 22 w 56"/>
                <a:gd name="T7" fmla="*/ 11 h 75"/>
                <a:gd name="T8" fmla="*/ 0 w 56"/>
                <a:gd name="T9" fmla="*/ 11 h 75"/>
                <a:gd name="T10" fmla="*/ 0 w 56"/>
                <a:gd name="T11" fmla="*/ 0 h 75"/>
                <a:gd name="T12" fmla="*/ 56 w 56"/>
                <a:gd name="T13" fmla="*/ 0 h 75"/>
                <a:gd name="T14" fmla="*/ 56 w 56"/>
                <a:gd name="T15" fmla="*/ 11 h 75"/>
                <a:gd name="T16" fmla="*/ 34 w 56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6" h="75">
                  <a:moveTo>
                    <a:pt x="34" y="11"/>
                  </a:moveTo>
                  <a:lnTo>
                    <a:pt x="34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6" y="0"/>
                  </a:lnTo>
                  <a:lnTo>
                    <a:pt x="56" y="11"/>
                  </a:lnTo>
                  <a:lnTo>
                    <a:pt x="34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193" name="Freeform 30">
              <a:extLst>
                <a:ext uri="{FF2B5EF4-FFF2-40B4-BE49-F238E27FC236}">
                  <a16:creationId xmlns:a16="http://schemas.microsoft.com/office/drawing/2014/main" id="{72C85502-C007-49A3-A8AB-2BCC8C53945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51603" y="6174213"/>
              <a:ext cx="80211" cy="137753"/>
            </a:xfrm>
            <a:custGeom>
              <a:avLst/>
              <a:gdLst>
                <a:gd name="T0" fmla="*/ 24 w 31"/>
                <a:gd name="T1" fmla="*/ 54 h 54"/>
                <a:gd name="T2" fmla="*/ 24 w 31"/>
                <a:gd name="T3" fmla="*/ 32 h 54"/>
                <a:gd name="T4" fmla="*/ 22 w 31"/>
                <a:gd name="T5" fmla="*/ 24 h 54"/>
                <a:gd name="T6" fmla="*/ 16 w 31"/>
                <a:gd name="T7" fmla="*/ 22 h 54"/>
                <a:gd name="T8" fmla="*/ 13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8 w 31"/>
                <a:gd name="T15" fmla="*/ 31 h 54"/>
                <a:gd name="T16" fmla="*/ 8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8 w 31"/>
                <a:gd name="T23" fmla="*/ 0 h 54"/>
                <a:gd name="T24" fmla="*/ 8 w 31"/>
                <a:gd name="T25" fmla="*/ 19 h 54"/>
                <a:gd name="T26" fmla="*/ 10 w 31"/>
                <a:gd name="T27" fmla="*/ 17 h 54"/>
                <a:gd name="T28" fmla="*/ 12 w 31"/>
                <a:gd name="T29" fmla="*/ 16 h 54"/>
                <a:gd name="T30" fmla="*/ 15 w 31"/>
                <a:gd name="T31" fmla="*/ 15 h 54"/>
                <a:gd name="T32" fmla="*/ 18 w 31"/>
                <a:gd name="T33" fmla="*/ 15 h 54"/>
                <a:gd name="T34" fmla="*/ 24 w 31"/>
                <a:gd name="T35" fmla="*/ 16 h 54"/>
                <a:gd name="T36" fmla="*/ 28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4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4" y="54"/>
                  </a:moveTo>
                  <a:cubicBezTo>
                    <a:pt x="24" y="32"/>
                    <a:pt x="24" y="32"/>
                    <a:pt x="24" y="32"/>
                  </a:cubicBezTo>
                  <a:cubicBezTo>
                    <a:pt x="24" y="28"/>
                    <a:pt x="23" y="26"/>
                    <a:pt x="22" y="24"/>
                  </a:cubicBezTo>
                  <a:cubicBezTo>
                    <a:pt x="21" y="22"/>
                    <a:pt x="19" y="22"/>
                    <a:pt x="16" y="22"/>
                  </a:cubicBezTo>
                  <a:cubicBezTo>
                    <a:pt x="15" y="22"/>
                    <a:pt x="14" y="22"/>
                    <a:pt x="13" y="22"/>
                  </a:cubicBezTo>
                  <a:cubicBezTo>
                    <a:pt x="12" y="22"/>
                    <a:pt x="11" y="23"/>
                    <a:pt x="10" y="24"/>
                  </a:cubicBezTo>
                  <a:cubicBezTo>
                    <a:pt x="9" y="25"/>
                    <a:pt x="9" y="26"/>
                    <a:pt x="8" y="27"/>
                  </a:cubicBezTo>
                  <a:cubicBezTo>
                    <a:pt x="8" y="28"/>
                    <a:pt x="8" y="30"/>
                    <a:pt x="8" y="31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3" y="15"/>
                    <a:pt x="14" y="15"/>
                    <a:pt x="15" y="15"/>
                  </a:cubicBezTo>
                  <a:cubicBezTo>
                    <a:pt x="16" y="15"/>
                    <a:pt x="17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29" y="20"/>
                    <a:pt x="30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4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194" name="Freeform 31">
              <a:extLst>
                <a:ext uri="{FF2B5EF4-FFF2-40B4-BE49-F238E27FC236}">
                  <a16:creationId xmlns:a16="http://schemas.microsoft.com/office/drawing/2014/main" id="{9A42586B-B388-4323-82EB-ED3423EDC5D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50996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1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195" name="Freeform 32">
              <a:extLst>
                <a:ext uri="{FF2B5EF4-FFF2-40B4-BE49-F238E27FC236}">
                  <a16:creationId xmlns:a16="http://schemas.microsoft.com/office/drawing/2014/main" id="{558D2F0C-3796-492F-9EBD-4BB822191F3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02698" y="6174213"/>
              <a:ext cx="80211" cy="139497"/>
            </a:xfrm>
            <a:custGeom>
              <a:avLst/>
              <a:gdLst>
                <a:gd name="T0" fmla="*/ 32 w 32"/>
                <a:gd name="T1" fmla="*/ 35 h 55"/>
                <a:gd name="T2" fmla="*/ 31 w 32"/>
                <a:gd name="T3" fmla="*/ 44 h 55"/>
                <a:gd name="T4" fmla="*/ 28 w 32"/>
                <a:gd name="T5" fmla="*/ 50 h 55"/>
                <a:gd name="T6" fmla="*/ 23 w 32"/>
                <a:gd name="T7" fmla="*/ 53 h 55"/>
                <a:gd name="T8" fmla="*/ 17 w 32"/>
                <a:gd name="T9" fmla="*/ 55 h 55"/>
                <a:gd name="T10" fmla="*/ 12 w 32"/>
                <a:gd name="T11" fmla="*/ 53 h 55"/>
                <a:gd name="T12" fmla="*/ 7 w 32"/>
                <a:gd name="T13" fmla="*/ 50 h 55"/>
                <a:gd name="T14" fmla="*/ 7 w 32"/>
                <a:gd name="T15" fmla="*/ 54 h 55"/>
                <a:gd name="T16" fmla="*/ 0 w 32"/>
                <a:gd name="T17" fmla="*/ 54 h 55"/>
                <a:gd name="T18" fmla="*/ 0 w 32"/>
                <a:gd name="T19" fmla="*/ 4 h 55"/>
                <a:gd name="T20" fmla="*/ 7 w 32"/>
                <a:gd name="T21" fmla="*/ 0 h 55"/>
                <a:gd name="T22" fmla="*/ 7 w 32"/>
                <a:gd name="T23" fmla="*/ 19 h 55"/>
                <a:gd name="T24" fmla="*/ 10 w 32"/>
                <a:gd name="T25" fmla="*/ 17 h 55"/>
                <a:gd name="T26" fmla="*/ 12 w 32"/>
                <a:gd name="T27" fmla="*/ 16 h 55"/>
                <a:gd name="T28" fmla="*/ 14 w 32"/>
                <a:gd name="T29" fmla="*/ 15 h 55"/>
                <a:gd name="T30" fmla="*/ 17 w 32"/>
                <a:gd name="T31" fmla="*/ 15 h 55"/>
                <a:gd name="T32" fmla="*/ 23 w 32"/>
                <a:gd name="T33" fmla="*/ 16 h 55"/>
                <a:gd name="T34" fmla="*/ 28 w 32"/>
                <a:gd name="T35" fmla="*/ 19 h 55"/>
                <a:gd name="T36" fmla="*/ 31 w 32"/>
                <a:gd name="T37" fmla="*/ 26 h 55"/>
                <a:gd name="T38" fmla="*/ 32 w 32"/>
                <a:gd name="T39" fmla="*/ 35 h 55"/>
                <a:gd name="T40" fmla="*/ 25 w 32"/>
                <a:gd name="T41" fmla="*/ 35 h 55"/>
                <a:gd name="T42" fmla="*/ 23 w 32"/>
                <a:gd name="T43" fmla="*/ 25 h 55"/>
                <a:gd name="T44" fmla="*/ 16 w 32"/>
                <a:gd name="T45" fmla="*/ 22 h 55"/>
                <a:gd name="T46" fmla="*/ 14 w 32"/>
                <a:gd name="T47" fmla="*/ 22 h 55"/>
                <a:gd name="T48" fmla="*/ 11 w 32"/>
                <a:gd name="T49" fmla="*/ 23 h 55"/>
                <a:gd name="T50" fmla="*/ 9 w 32"/>
                <a:gd name="T51" fmla="*/ 25 h 55"/>
                <a:gd name="T52" fmla="*/ 7 w 32"/>
                <a:gd name="T53" fmla="*/ 26 h 55"/>
                <a:gd name="T54" fmla="*/ 7 w 32"/>
                <a:gd name="T55" fmla="*/ 43 h 55"/>
                <a:gd name="T56" fmla="*/ 9 w 32"/>
                <a:gd name="T57" fmla="*/ 44 h 55"/>
                <a:gd name="T58" fmla="*/ 11 w 32"/>
                <a:gd name="T59" fmla="*/ 46 h 55"/>
                <a:gd name="T60" fmla="*/ 14 w 32"/>
                <a:gd name="T61" fmla="*/ 47 h 55"/>
                <a:gd name="T62" fmla="*/ 16 w 32"/>
                <a:gd name="T63" fmla="*/ 48 h 55"/>
                <a:gd name="T64" fmla="*/ 23 w 32"/>
                <a:gd name="T65" fmla="*/ 45 h 55"/>
                <a:gd name="T66" fmla="*/ 25 w 32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2" h="55">
                  <a:moveTo>
                    <a:pt x="32" y="35"/>
                  </a:moveTo>
                  <a:cubicBezTo>
                    <a:pt x="32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6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5" y="55"/>
                    <a:pt x="13" y="54"/>
                    <a:pt x="12" y="53"/>
                  </a:cubicBezTo>
                  <a:cubicBezTo>
                    <a:pt x="10" y="52"/>
                    <a:pt x="9" y="51"/>
                    <a:pt x="7" y="50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6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20" y="15"/>
                    <a:pt x="21" y="15"/>
                    <a:pt x="23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29" y="21"/>
                    <a:pt x="30" y="23"/>
                    <a:pt x="31" y="26"/>
                  </a:cubicBezTo>
                  <a:cubicBezTo>
                    <a:pt x="32" y="28"/>
                    <a:pt x="32" y="32"/>
                    <a:pt x="32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4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0" y="23"/>
                    <a:pt x="10" y="24"/>
                    <a:pt x="9" y="25"/>
                  </a:cubicBezTo>
                  <a:cubicBezTo>
                    <a:pt x="8" y="25"/>
                    <a:pt x="8" y="26"/>
                    <a:pt x="7" y="26"/>
                  </a:cubicBezTo>
                  <a:cubicBezTo>
                    <a:pt x="7" y="43"/>
                    <a:pt x="7" y="43"/>
                    <a:pt x="7" y="43"/>
                  </a:cubicBezTo>
                  <a:cubicBezTo>
                    <a:pt x="8" y="43"/>
                    <a:pt x="8" y="44"/>
                    <a:pt x="9" y="44"/>
                  </a:cubicBezTo>
                  <a:cubicBezTo>
                    <a:pt x="10" y="45"/>
                    <a:pt x="10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5" y="48"/>
                    <a:pt x="16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196" name="Freeform 33">
              <a:extLst>
                <a:ext uri="{FF2B5EF4-FFF2-40B4-BE49-F238E27FC236}">
                  <a16:creationId xmlns:a16="http://schemas.microsoft.com/office/drawing/2014/main" id="{DE4E3633-17EF-414F-A86D-0B6A9F2F098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9860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8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8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3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7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197" name="Freeform 34">
              <a:extLst>
                <a:ext uri="{FF2B5EF4-FFF2-40B4-BE49-F238E27FC236}">
                  <a16:creationId xmlns:a16="http://schemas.microsoft.com/office/drawing/2014/main" id="{2572AE39-9386-47FC-B6AF-FBCF804BEB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625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3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198" name="Freeform 35">
              <a:extLst>
                <a:ext uri="{FF2B5EF4-FFF2-40B4-BE49-F238E27FC236}">
                  <a16:creationId xmlns:a16="http://schemas.microsoft.com/office/drawing/2014/main" id="{7096AEC6-B8C0-4212-842F-89677AE7D80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64256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7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6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7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199" name="Freeform 36">
              <a:extLst>
                <a:ext uri="{FF2B5EF4-FFF2-40B4-BE49-F238E27FC236}">
                  <a16:creationId xmlns:a16="http://schemas.microsoft.com/office/drawing/2014/main" id="{406AD873-E434-40CF-BFBD-6D1D1CA7CB8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2340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00" name="Freeform 37">
              <a:extLst>
                <a:ext uri="{FF2B5EF4-FFF2-40B4-BE49-F238E27FC236}">
                  <a16:creationId xmlns:a16="http://schemas.microsoft.com/office/drawing/2014/main" id="{74857EE2-44CC-4E8F-B1BB-355509B3EFE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36884" y="6212575"/>
              <a:ext cx="59286" cy="99391"/>
            </a:xfrm>
            <a:custGeom>
              <a:avLst/>
              <a:gdLst>
                <a:gd name="T0" fmla="*/ 21 w 23"/>
                <a:gd name="T1" fmla="*/ 8 h 39"/>
                <a:gd name="T2" fmla="*/ 19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9" y="7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01" name="Freeform 38">
              <a:extLst>
                <a:ext uri="{FF2B5EF4-FFF2-40B4-BE49-F238E27FC236}">
                  <a16:creationId xmlns:a16="http://schemas.microsoft.com/office/drawing/2014/main" id="{D39EC8B1-952E-4BF5-9735-6A38584161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51969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02" name="Freeform 39">
              <a:extLst>
                <a:ext uri="{FF2B5EF4-FFF2-40B4-BE49-F238E27FC236}">
                  <a16:creationId xmlns:a16="http://schemas.microsoft.com/office/drawing/2014/main" id="{EA37D3DF-3401-44BD-97F4-F423BFC87A1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30436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03" name="Freeform 40">
              <a:extLst>
                <a:ext uri="{FF2B5EF4-FFF2-40B4-BE49-F238E27FC236}">
                  <a16:creationId xmlns:a16="http://schemas.microsoft.com/office/drawing/2014/main" id="{7DFA4B46-95EA-4D4D-800F-4D2DB7BB66E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62808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04" name="Freeform 41">
              <a:extLst>
                <a:ext uri="{FF2B5EF4-FFF2-40B4-BE49-F238E27FC236}">
                  <a16:creationId xmlns:a16="http://schemas.microsoft.com/office/drawing/2014/main" id="{EF5012BA-3255-4BEF-8F4F-9117A6BEF32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772813" y="6212575"/>
              <a:ext cx="81955" cy="101135"/>
            </a:xfrm>
            <a:custGeom>
              <a:avLst/>
              <a:gdLst>
                <a:gd name="T0" fmla="*/ 24 w 32"/>
                <a:gd name="T1" fmla="*/ 39 h 40"/>
                <a:gd name="T2" fmla="*/ 24 w 32"/>
                <a:gd name="T3" fmla="*/ 35 h 40"/>
                <a:gd name="T4" fmla="*/ 22 w 32"/>
                <a:gd name="T5" fmla="*/ 37 h 40"/>
                <a:gd name="T6" fmla="*/ 20 w 32"/>
                <a:gd name="T7" fmla="*/ 38 h 40"/>
                <a:gd name="T8" fmla="*/ 17 w 32"/>
                <a:gd name="T9" fmla="*/ 39 h 40"/>
                <a:gd name="T10" fmla="*/ 14 w 32"/>
                <a:gd name="T11" fmla="*/ 40 h 40"/>
                <a:gd name="T12" fmla="*/ 9 w 32"/>
                <a:gd name="T13" fmla="*/ 39 h 40"/>
                <a:gd name="T14" fmla="*/ 5 w 32"/>
                <a:gd name="T15" fmla="*/ 37 h 40"/>
                <a:gd name="T16" fmla="*/ 2 w 32"/>
                <a:gd name="T17" fmla="*/ 33 h 40"/>
                <a:gd name="T18" fmla="*/ 0 w 32"/>
                <a:gd name="T19" fmla="*/ 27 h 40"/>
                <a:gd name="T20" fmla="*/ 2 w 32"/>
                <a:gd name="T21" fmla="*/ 21 h 40"/>
                <a:gd name="T22" fmla="*/ 5 w 32"/>
                <a:gd name="T23" fmla="*/ 17 h 40"/>
                <a:gd name="T24" fmla="*/ 10 w 32"/>
                <a:gd name="T25" fmla="*/ 15 h 40"/>
                <a:gd name="T26" fmla="*/ 16 w 32"/>
                <a:gd name="T27" fmla="*/ 14 h 40"/>
                <a:gd name="T28" fmla="*/ 21 w 32"/>
                <a:gd name="T29" fmla="*/ 15 h 40"/>
                <a:gd name="T30" fmla="*/ 24 w 32"/>
                <a:gd name="T31" fmla="*/ 16 h 40"/>
                <a:gd name="T32" fmla="*/ 24 w 32"/>
                <a:gd name="T33" fmla="*/ 13 h 40"/>
                <a:gd name="T34" fmla="*/ 22 w 32"/>
                <a:gd name="T35" fmla="*/ 8 h 40"/>
                <a:gd name="T36" fmla="*/ 17 w 32"/>
                <a:gd name="T37" fmla="*/ 6 h 40"/>
                <a:gd name="T38" fmla="*/ 12 w 32"/>
                <a:gd name="T39" fmla="*/ 7 h 40"/>
                <a:gd name="T40" fmla="*/ 7 w 32"/>
                <a:gd name="T41" fmla="*/ 9 h 40"/>
                <a:gd name="T42" fmla="*/ 4 w 32"/>
                <a:gd name="T43" fmla="*/ 3 h 40"/>
                <a:gd name="T44" fmla="*/ 10 w 32"/>
                <a:gd name="T45" fmla="*/ 0 h 40"/>
                <a:gd name="T46" fmla="*/ 17 w 32"/>
                <a:gd name="T47" fmla="*/ 0 h 40"/>
                <a:gd name="T48" fmla="*/ 23 w 32"/>
                <a:gd name="T49" fmla="*/ 0 h 40"/>
                <a:gd name="T50" fmla="*/ 28 w 32"/>
                <a:gd name="T51" fmla="*/ 3 h 40"/>
                <a:gd name="T52" fmla="*/ 31 w 32"/>
                <a:gd name="T53" fmla="*/ 7 h 40"/>
                <a:gd name="T54" fmla="*/ 32 w 32"/>
                <a:gd name="T55" fmla="*/ 12 h 40"/>
                <a:gd name="T56" fmla="*/ 32 w 32"/>
                <a:gd name="T57" fmla="*/ 39 h 40"/>
                <a:gd name="T58" fmla="*/ 24 w 32"/>
                <a:gd name="T59" fmla="*/ 39 h 40"/>
                <a:gd name="T60" fmla="*/ 24 w 32"/>
                <a:gd name="T61" fmla="*/ 22 h 40"/>
                <a:gd name="T62" fmla="*/ 22 w 32"/>
                <a:gd name="T63" fmla="*/ 22 h 40"/>
                <a:gd name="T64" fmla="*/ 21 w 32"/>
                <a:gd name="T65" fmla="*/ 21 h 40"/>
                <a:gd name="T66" fmla="*/ 18 w 32"/>
                <a:gd name="T67" fmla="*/ 21 h 40"/>
                <a:gd name="T68" fmla="*/ 16 w 32"/>
                <a:gd name="T69" fmla="*/ 21 h 40"/>
                <a:gd name="T70" fmla="*/ 10 w 32"/>
                <a:gd name="T71" fmla="*/ 22 h 40"/>
                <a:gd name="T72" fmla="*/ 8 w 32"/>
                <a:gd name="T73" fmla="*/ 26 h 40"/>
                <a:gd name="T74" fmla="*/ 8 w 32"/>
                <a:gd name="T75" fmla="*/ 29 h 40"/>
                <a:gd name="T76" fmla="*/ 10 w 32"/>
                <a:gd name="T77" fmla="*/ 31 h 40"/>
                <a:gd name="T78" fmla="*/ 12 w 32"/>
                <a:gd name="T79" fmla="*/ 32 h 40"/>
                <a:gd name="T80" fmla="*/ 15 w 32"/>
                <a:gd name="T81" fmla="*/ 33 h 40"/>
                <a:gd name="T82" fmla="*/ 18 w 32"/>
                <a:gd name="T83" fmla="*/ 32 h 40"/>
                <a:gd name="T84" fmla="*/ 21 w 32"/>
                <a:gd name="T85" fmla="*/ 31 h 40"/>
                <a:gd name="T86" fmla="*/ 23 w 32"/>
                <a:gd name="T87" fmla="*/ 30 h 40"/>
                <a:gd name="T88" fmla="*/ 24 w 32"/>
                <a:gd name="T89" fmla="*/ 28 h 40"/>
                <a:gd name="T90" fmla="*/ 24 w 32"/>
                <a:gd name="T91" fmla="*/ 2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2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3" y="37"/>
                    <a:pt x="22" y="37"/>
                  </a:cubicBezTo>
                  <a:cubicBezTo>
                    <a:pt x="21" y="37"/>
                    <a:pt x="21" y="38"/>
                    <a:pt x="20" y="38"/>
                  </a:cubicBezTo>
                  <a:cubicBezTo>
                    <a:pt x="19" y="39"/>
                    <a:pt x="18" y="39"/>
                    <a:pt x="17" y="39"/>
                  </a:cubicBezTo>
                  <a:cubicBezTo>
                    <a:pt x="16" y="39"/>
                    <a:pt x="15" y="40"/>
                    <a:pt x="14" y="40"/>
                  </a:cubicBezTo>
                  <a:cubicBezTo>
                    <a:pt x="12" y="40"/>
                    <a:pt x="11" y="39"/>
                    <a:pt x="9" y="39"/>
                  </a:cubicBezTo>
                  <a:cubicBezTo>
                    <a:pt x="7" y="38"/>
                    <a:pt x="6" y="38"/>
                    <a:pt x="5" y="37"/>
                  </a:cubicBezTo>
                  <a:cubicBezTo>
                    <a:pt x="3" y="36"/>
                    <a:pt x="2" y="34"/>
                    <a:pt x="2" y="33"/>
                  </a:cubicBezTo>
                  <a:cubicBezTo>
                    <a:pt x="1" y="31"/>
                    <a:pt x="0" y="29"/>
                    <a:pt x="0" y="27"/>
                  </a:cubicBezTo>
                  <a:cubicBezTo>
                    <a:pt x="0" y="24"/>
                    <a:pt x="1" y="23"/>
                    <a:pt x="2" y="21"/>
                  </a:cubicBezTo>
                  <a:cubicBezTo>
                    <a:pt x="2" y="20"/>
                    <a:pt x="3" y="18"/>
                    <a:pt x="5" y="17"/>
                  </a:cubicBezTo>
                  <a:cubicBezTo>
                    <a:pt x="6" y="16"/>
                    <a:pt x="8" y="15"/>
                    <a:pt x="10" y="15"/>
                  </a:cubicBezTo>
                  <a:cubicBezTo>
                    <a:pt x="12" y="14"/>
                    <a:pt x="14" y="14"/>
                    <a:pt x="16" y="14"/>
                  </a:cubicBezTo>
                  <a:cubicBezTo>
                    <a:pt x="18" y="14"/>
                    <a:pt x="19" y="14"/>
                    <a:pt x="21" y="15"/>
                  </a:cubicBezTo>
                  <a:cubicBezTo>
                    <a:pt x="22" y="15"/>
                    <a:pt x="23" y="15"/>
                    <a:pt x="24" y="16"/>
                  </a:cubicBezTo>
                  <a:cubicBezTo>
                    <a:pt x="24" y="13"/>
                    <a:pt x="24" y="13"/>
                    <a:pt x="24" y="13"/>
                  </a:cubicBezTo>
                  <a:cubicBezTo>
                    <a:pt x="24" y="11"/>
                    <a:pt x="24" y="9"/>
                    <a:pt x="22" y="8"/>
                  </a:cubicBezTo>
                  <a:cubicBezTo>
                    <a:pt x="21" y="7"/>
                    <a:pt x="19" y="6"/>
                    <a:pt x="17" y="6"/>
                  </a:cubicBezTo>
                  <a:cubicBezTo>
                    <a:pt x="15" y="6"/>
                    <a:pt x="13" y="6"/>
                    <a:pt x="12" y="7"/>
                  </a:cubicBezTo>
                  <a:cubicBezTo>
                    <a:pt x="10" y="7"/>
                    <a:pt x="9" y="8"/>
                    <a:pt x="7" y="9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6" y="2"/>
                    <a:pt x="8" y="1"/>
                    <a:pt x="10" y="0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19" y="0"/>
                    <a:pt x="21" y="0"/>
                    <a:pt x="23" y="0"/>
                  </a:cubicBezTo>
                  <a:cubicBezTo>
                    <a:pt x="25" y="1"/>
                    <a:pt x="26" y="2"/>
                    <a:pt x="28" y="3"/>
                  </a:cubicBezTo>
                  <a:cubicBezTo>
                    <a:pt x="29" y="4"/>
                    <a:pt x="30" y="5"/>
                    <a:pt x="31" y="7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2" y="39"/>
                    <a:pt x="32" y="39"/>
                    <a:pt x="32" y="39"/>
                  </a:cubicBezTo>
                  <a:lnTo>
                    <a:pt x="24" y="39"/>
                  </a:lnTo>
                  <a:close/>
                  <a:moveTo>
                    <a:pt x="24" y="22"/>
                  </a:moveTo>
                  <a:cubicBezTo>
                    <a:pt x="24" y="22"/>
                    <a:pt x="23" y="22"/>
                    <a:pt x="22" y="22"/>
                  </a:cubicBezTo>
                  <a:cubicBezTo>
                    <a:pt x="22" y="21"/>
                    <a:pt x="21" y="21"/>
                    <a:pt x="21" y="21"/>
                  </a:cubicBezTo>
                  <a:cubicBezTo>
                    <a:pt x="20" y="21"/>
                    <a:pt x="19" y="21"/>
                    <a:pt x="18" y="21"/>
                  </a:cubicBezTo>
                  <a:cubicBezTo>
                    <a:pt x="17" y="21"/>
                    <a:pt x="17" y="21"/>
                    <a:pt x="16" y="21"/>
                  </a:cubicBezTo>
                  <a:cubicBezTo>
                    <a:pt x="13" y="21"/>
                    <a:pt x="11" y="21"/>
                    <a:pt x="10" y="22"/>
                  </a:cubicBezTo>
                  <a:cubicBezTo>
                    <a:pt x="8" y="23"/>
                    <a:pt x="8" y="25"/>
                    <a:pt x="8" y="26"/>
                  </a:cubicBezTo>
                  <a:cubicBezTo>
                    <a:pt x="8" y="28"/>
                    <a:pt x="8" y="29"/>
                    <a:pt x="8" y="29"/>
                  </a:cubicBezTo>
                  <a:cubicBezTo>
                    <a:pt x="9" y="30"/>
                    <a:pt x="9" y="31"/>
                    <a:pt x="10" y="31"/>
                  </a:cubicBezTo>
                  <a:cubicBezTo>
                    <a:pt x="10" y="32"/>
                    <a:pt x="11" y="32"/>
                    <a:pt x="12" y="32"/>
                  </a:cubicBezTo>
                  <a:cubicBezTo>
                    <a:pt x="13" y="33"/>
                    <a:pt x="14" y="33"/>
                    <a:pt x="15" y="33"/>
                  </a:cubicBezTo>
                  <a:cubicBezTo>
                    <a:pt x="16" y="33"/>
                    <a:pt x="17" y="33"/>
                    <a:pt x="18" y="32"/>
                  </a:cubicBezTo>
                  <a:cubicBezTo>
                    <a:pt x="19" y="32"/>
                    <a:pt x="20" y="32"/>
                    <a:pt x="21" y="31"/>
                  </a:cubicBezTo>
                  <a:cubicBezTo>
                    <a:pt x="21" y="31"/>
                    <a:pt x="22" y="30"/>
                    <a:pt x="23" y="30"/>
                  </a:cubicBezTo>
                  <a:cubicBezTo>
                    <a:pt x="23" y="29"/>
                    <a:pt x="24" y="28"/>
                    <a:pt x="24" y="28"/>
                  </a:cubicBezTo>
                  <a:lnTo>
                    <a:pt x="24" y="2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05" name="Freeform 42">
              <a:extLst>
                <a:ext uri="{FF2B5EF4-FFF2-40B4-BE49-F238E27FC236}">
                  <a16:creationId xmlns:a16="http://schemas.microsoft.com/office/drawing/2014/main" id="{223989A0-E246-4806-AF7E-9D6C2B1DD48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77436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2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10 w 31"/>
                <a:gd name="T11" fmla="*/ 9 h 39"/>
                <a:gd name="T12" fmla="*/ 8 w 31"/>
                <a:gd name="T13" fmla="*/ 12 h 39"/>
                <a:gd name="T14" fmla="*/ 8 w 31"/>
                <a:gd name="T15" fmla="*/ 16 h 39"/>
                <a:gd name="T16" fmla="*/ 8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8 w 31"/>
                <a:gd name="T23" fmla="*/ 0 h 39"/>
                <a:gd name="T24" fmla="*/ 8 w 31"/>
                <a:gd name="T25" fmla="*/ 4 h 39"/>
                <a:gd name="T26" fmla="*/ 9 w 31"/>
                <a:gd name="T27" fmla="*/ 2 h 39"/>
                <a:gd name="T28" fmla="*/ 12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8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2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10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8" y="15"/>
                    <a:pt x="8" y="16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2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20" y="0"/>
                    <a:pt x="22" y="0"/>
                    <a:pt x="23" y="1"/>
                  </a:cubicBezTo>
                  <a:cubicBezTo>
                    <a:pt x="25" y="1"/>
                    <a:pt x="26" y="2"/>
                    <a:pt x="28" y="4"/>
                  </a:cubicBezTo>
                  <a:cubicBezTo>
                    <a:pt x="29" y="5"/>
                    <a:pt x="29" y="7"/>
                    <a:pt x="30" y="9"/>
                  </a:cubicBezTo>
                  <a:cubicBezTo>
                    <a:pt x="31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06" name="Freeform 43">
              <a:extLst>
                <a:ext uri="{FF2B5EF4-FFF2-40B4-BE49-F238E27FC236}">
                  <a16:creationId xmlns:a16="http://schemas.microsoft.com/office/drawing/2014/main" id="{5FED967A-F1ED-4489-A689-A9A49A2780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75084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0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3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6 w 29"/>
                <a:gd name="T55" fmla="*/ 24 h 40"/>
                <a:gd name="T56" fmla="*/ 13 w 29"/>
                <a:gd name="T57" fmla="*/ 22 h 40"/>
                <a:gd name="T58" fmla="*/ 7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1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2" y="6"/>
                    <a:pt x="11" y="7"/>
                    <a:pt x="10" y="7"/>
                  </a:cubicBezTo>
                  <a:cubicBezTo>
                    <a:pt x="9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1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8" y="25"/>
                    <a:pt x="18" y="24"/>
                    <a:pt x="16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7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2" y="15"/>
                    <a:pt x="2" y="14"/>
                  </a:cubicBezTo>
                  <a:cubicBezTo>
                    <a:pt x="2" y="13"/>
                    <a:pt x="1" y="12"/>
                    <a:pt x="1" y="10"/>
                  </a:cubicBezTo>
                  <a:cubicBezTo>
                    <a:pt x="1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07" name="Freeform 44">
              <a:extLst>
                <a:ext uri="{FF2B5EF4-FFF2-40B4-BE49-F238E27FC236}">
                  <a16:creationId xmlns:a16="http://schemas.microsoft.com/office/drawing/2014/main" id="{DA362954-FE74-40B7-AB98-CC8AC60FFC8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58782" y="6212575"/>
              <a:ext cx="122060" cy="99391"/>
            </a:xfrm>
            <a:custGeom>
              <a:avLst/>
              <a:gdLst>
                <a:gd name="T0" fmla="*/ 55 w 70"/>
                <a:gd name="T1" fmla="*/ 57 h 57"/>
                <a:gd name="T2" fmla="*/ 45 w 70"/>
                <a:gd name="T3" fmla="*/ 57 h 57"/>
                <a:gd name="T4" fmla="*/ 35 w 70"/>
                <a:gd name="T5" fmla="*/ 17 h 57"/>
                <a:gd name="T6" fmla="*/ 25 w 70"/>
                <a:gd name="T7" fmla="*/ 57 h 57"/>
                <a:gd name="T8" fmla="*/ 14 w 70"/>
                <a:gd name="T9" fmla="*/ 57 h 57"/>
                <a:gd name="T10" fmla="*/ 0 w 70"/>
                <a:gd name="T11" fmla="*/ 0 h 57"/>
                <a:gd name="T12" fmla="*/ 10 w 70"/>
                <a:gd name="T13" fmla="*/ 0 h 57"/>
                <a:gd name="T14" fmla="*/ 20 w 70"/>
                <a:gd name="T15" fmla="*/ 39 h 57"/>
                <a:gd name="T16" fmla="*/ 30 w 70"/>
                <a:gd name="T17" fmla="*/ 0 h 57"/>
                <a:gd name="T18" fmla="*/ 39 w 70"/>
                <a:gd name="T19" fmla="*/ 0 h 57"/>
                <a:gd name="T20" fmla="*/ 49 w 70"/>
                <a:gd name="T21" fmla="*/ 39 h 57"/>
                <a:gd name="T22" fmla="*/ 60 w 70"/>
                <a:gd name="T23" fmla="*/ 0 h 57"/>
                <a:gd name="T24" fmla="*/ 70 w 70"/>
                <a:gd name="T25" fmla="*/ 0 h 57"/>
                <a:gd name="T26" fmla="*/ 55 w 70"/>
                <a:gd name="T27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7">
                  <a:moveTo>
                    <a:pt x="55" y="57"/>
                  </a:moveTo>
                  <a:lnTo>
                    <a:pt x="45" y="57"/>
                  </a:lnTo>
                  <a:lnTo>
                    <a:pt x="35" y="17"/>
                  </a:lnTo>
                  <a:lnTo>
                    <a:pt x="25" y="57"/>
                  </a:lnTo>
                  <a:lnTo>
                    <a:pt x="14" y="57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0" y="39"/>
                  </a:lnTo>
                  <a:lnTo>
                    <a:pt x="30" y="0"/>
                  </a:lnTo>
                  <a:lnTo>
                    <a:pt x="39" y="0"/>
                  </a:lnTo>
                  <a:lnTo>
                    <a:pt x="49" y="39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08" name="Freeform 45">
              <a:extLst>
                <a:ext uri="{FF2B5EF4-FFF2-40B4-BE49-F238E27FC236}">
                  <a16:creationId xmlns:a16="http://schemas.microsoft.com/office/drawing/2014/main" id="{C1C7EF3F-CB28-4C69-901C-8F9F09C5B59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1913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09" name="Freeform 46">
              <a:extLst>
                <a:ext uri="{FF2B5EF4-FFF2-40B4-BE49-F238E27FC236}">
                  <a16:creationId xmlns:a16="http://schemas.microsoft.com/office/drawing/2014/main" id="{80D5AA14-D31C-42E8-B89F-2FCABF20400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95927" y="6212575"/>
              <a:ext cx="57543" cy="99391"/>
            </a:xfrm>
            <a:custGeom>
              <a:avLst/>
              <a:gdLst>
                <a:gd name="T0" fmla="*/ 21 w 23"/>
                <a:gd name="T1" fmla="*/ 8 h 39"/>
                <a:gd name="T2" fmla="*/ 18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6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0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10" name="Freeform 47">
              <a:extLst>
                <a:ext uri="{FF2B5EF4-FFF2-40B4-BE49-F238E27FC236}">
                  <a16:creationId xmlns:a16="http://schemas.microsoft.com/office/drawing/2014/main" id="{3894EB82-A456-47F8-BB06-FE894AF4B86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6494" y="6284068"/>
              <a:ext cx="29644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3 w 12"/>
                <a:gd name="T11" fmla="*/ 11 h 12"/>
                <a:gd name="T12" fmla="*/ 2 w 12"/>
                <a:gd name="T13" fmla="*/ 10 h 12"/>
                <a:gd name="T14" fmla="*/ 0 w 12"/>
                <a:gd name="T15" fmla="*/ 8 h 12"/>
                <a:gd name="T16" fmla="*/ 0 w 12"/>
                <a:gd name="T17" fmla="*/ 6 h 12"/>
                <a:gd name="T18" fmla="*/ 0 w 12"/>
                <a:gd name="T19" fmla="*/ 4 h 12"/>
                <a:gd name="T20" fmla="*/ 2 w 12"/>
                <a:gd name="T21" fmla="*/ 2 h 12"/>
                <a:gd name="T22" fmla="*/ 3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3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0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3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11" name="Freeform 48">
              <a:extLst>
                <a:ext uri="{FF2B5EF4-FFF2-40B4-BE49-F238E27FC236}">
                  <a16:creationId xmlns:a16="http://schemas.microsoft.com/office/drawing/2014/main" id="{A88F5C3F-FAE1-4A50-86D3-E9A1CAA89A9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388691"/>
              <a:ext cx="94161" cy="130778"/>
            </a:xfrm>
            <a:custGeom>
              <a:avLst/>
              <a:gdLst>
                <a:gd name="T0" fmla="*/ 32 w 54"/>
                <a:gd name="T1" fmla="*/ 12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2 h 75"/>
                <a:gd name="T8" fmla="*/ 0 w 54"/>
                <a:gd name="T9" fmla="*/ 12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2 h 75"/>
                <a:gd name="T16" fmla="*/ 32 w 54"/>
                <a:gd name="T17" fmla="*/ 12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2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2"/>
                  </a:lnTo>
                  <a:lnTo>
                    <a:pt x="0" y="12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2"/>
                  </a:lnTo>
                  <a:lnTo>
                    <a:pt x="32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12" name="Freeform 49">
              <a:extLst>
                <a:ext uri="{FF2B5EF4-FFF2-40B4-BE49-F238E27FC236}">
                  <a16:creationId xmlns:a16="http://schemas.microsoft.com/office/drawing/2014/main" id="{1EFCBDA7-FA42-4391-9872-95EB6DDEA68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383459"/>
              <a:ext cx="78468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9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1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7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7"/>
                    <a:pt x="9" y="17"/>
                  </a:cubicBezTo>
                  <a:cubicBezTo>
                    <a:pt x="10" y="16"/>
                    <a:pt x="10" y="16"/>
                    <a:pt x="11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13" name="Freeform 50">
              <a:extLst>
                <a:ext uri="{FF2B5EF4-FFF2-40B4-BE49-F238E27FC236}">
                  <a16:creationId xmlns:a16="http://schemas.microsoft.com/office/drawing/2014/main" id="{721D8C30-DB23-4A0B-8A74-BC467086477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418333"/>
              <a:ext cx="85443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7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3 w 33"/>
                <a:gd name="T73" fmla="*/ 8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9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2" y="32"/>
                    <a:pt x="23" y="32"/>
                    <a:pt x="23" y="32"/>
                  </a:cubicBezTo>
                  <a:cubicBezTo>
                    <a:pt x="24" y="31"/>
                    <a:pt x="25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1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5" y="13"/>
                  </a:cubicBezTo>
                  <a:cubicBezTo>
                    <a:pt x="24" y="12"/>
                    <a:pt x="24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14" name="Freeform 51">
              <a:extLst>
                <a:ext uri="{FF2B5EF4-FFF2-40B4-BE49-F238E27FC236}">
                  <a16:creationId xmlns:a16="http://schemas.microsoft.com/office/drawing/2014/main" id="{01AD00CA-8BC7-4B62-AC64-03851855A7A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383459"/>
              <a:ext cx="83698" cy="137753"/>
            </a:xfrm>
            <a:custGeom>
              <a:avLst/>
              <a:gdLst>
                <a:gd name="T0" fmla="*/ 33 w 33"/>
                <a:gd name="T1" fmla="*/ 35 h 54"/>
                <a:gd name="T2" fmla="*/ 31 w 33"/>
                <a:gd name="T3" fmla="*/ 43 h 54"/>
                <a:gd name="T4" fmla="*/ 28 w 33"/>
                <a:gd name="T5" fmla="*/ 49 h 54"/>
                <a:gd name="T6" fmla="*/ 23 w 33"/>
                <a:gd name="T7" fmla="*/ 53 h 54"/>
                <a:gd name="T8" fmla="*/ 17 w 33"/>
                <a:gd name="T9" fmla="*/ 54 h 54"/>
                <a:gd name="T10" fmla="*/ 12 w 33"/>
                <a:gd name="T11" fmla="*/ 53 h 54"/>
                <a:gd name="T12" fmla="*/ 8 w 33"/>
                <a:gd name="T13" fmla="*/ 50 h 54"/>
                <a:gd name="T14" fmla="*/ 8 w 33"/>
                <a:gd name="T15" fmla="*/ 53 h 54"/>
                <a:gd name="T16" fmla="*/ 0 w 33"/>
                <a:gd name="T17" fmla="*/ 53 h 54"/>
                <a:gd name="T18" fmla="*/ 0 w 33"/>
                <a:gd name="T19" fmla="*/ 4 h 54"/>
                <a:gd name="T20" fmla="*/ 8 w 33"/>
                <a:gd name="T21" fmla="*/ 0 h 54"/>
                <a:gd name="T22" fmla="*/ 8 w 33"/>
                <a:gd name="T23" fmla="*/ 19 h 54"/>
                <a:gd name="T24" fmla="*/ 10 w 33"/>
                <a:gd name="T25" fmla="*/ 17 h 54"/>
                <a:gd name="T26" fmla="*/ 12 w 33"/>
                <a:gd name="T27" fmla="*/ 16 h 54"/>
                <a:gd name="T28" fmla="*/ 14 w 33"/>
                <a:gd name="T29" fmla="*/ 14 h 54"/>
                <a:gd name="T30" fmla="*/ 18 w 33"/>
                <a:gd name="T31" fmla="*/ 14 h 54"/>
                <a:gd name="T32" fmla="*/ 24 w 33"/>
                <a:gd name="T33" fmla="*/ 15 h 54"/>
                <a:gd name="T34" fmla="*/ 28 w 33"/>
                <a:gd name="T35" fmla="*/ 19 h 54"/>
                <a:gd name="T36" fmla="*/ 31 w 33"/>
                <a:gd name="T37" fmla="*/ 25 h 54"/>
                <a:gd name="T38" fmla="*/ 33 w 33"/>
                <a:gd name="T39" fmla="*/ 35 h 54"/>
                <a:gd name="T40" fmla="*/ 25 w 33"/>
                <a:gd name="T41" fmla="*/ 35 h 54"/>
                <a:gd name="T42" fmla="*/ 23 w 33"/>
                <a:gd name="T43" fmla="*/ 24 h 54"/>
                <a:gd name="T44" fmla="*/ 16 w 33"/>
                <a:gd name="T45" fmla="*/ 21 h 54"/>
                <a:gd name="T46" fmla="*/ 14 w 33"/>
                <a:gd name="T47" fmla="*/ 21 h 54"/>
                <a:gd name="T48" fmla="*/ 11 w 33"/>
                <a:gd name="T49" fmla="*/ 23 h 54"/>
                <a:gd name="T50" fmla="*/ 9 w 33"/>
                <a:gd name="T51" fmla="*/ 24 h 54"/>
                <a:gd name="T52" fmla="*/ 8 w 33"/>
                <a:gd name="T53" fmla="*/ 26 h 54"/>
                <a:gd name="T54" fmla="*/ 8 w 33"/>
                <a:gd name="T55" fmla="*/ 42 h 54"/>
                <a:gd name="T56" fmla="*/ 9 w 33"/>
                <a:gd name="T57" fmla="*/ 44 h 54"/>
                <a:gd name="T58" fmla="*/ 11 w 33"/>
                <a:gd name="T59" fmla="*/ 45 h 54"/>
                <a:gd name="T60" fmla="*/ 14 w 33"/>
                <a:gd name="T61" fmla="*/ 47 h 54"/>
                <a:gd name="T62" fmla="*/ 17 w 33"/>
                <a:gd name="T63" fmla="*/ 47 h 54"/>
                <a:gd name="T64" fmla="*/ 23 w 33"/>
                <a:gd name="T65" fmla="*/ 44 h 54"/>
                <a:gd name="T66" fmla="*/ 25 w 33"/>
                <a:gd name="T67" fmla="*/ 35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4">
                  <a:moveTo>
                    <a:pt x="33" y="35"/>
                  </a:moveTo>
                  <a:cubicBezTo>
                    <a:pt x="33" y="38"/>
                    <a:pt x="32" y="41"/>
                    <a:pt x="31" y="43"/>
                  </a:cubicBezTo>
                  <a:cubicBezTo>
                    <a:pt x="30" y="46"/>
                    <a:pt x="29" y="48"/>
                    <a:pt x="28" y="49"/>
                  </a:cubicBezTo>
                  <a:cubicBezTo>
                    <a:pt x="27" y="51"/>
                    <a:pt x="25" y="52"/>
                    <a:pt x="23" y="53"/>
                  </a:cubicBezTo>
                  <a:cubicBezTo>
                    <a:pt x="21" y="54"/>
                    <a:pt x="19" y="54"/>
                    <a:pt x="17" y="54"/>
                  </a:cubicBezTo>
                  <a:cubicBezTo>
                    <a:pt x="16" y="54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7"/>
                    <a:pt x="10" y="17"/>
                  </a:cubicBezTo>
                  <a:cubicBezTo>
                    <a:pt x="11" y="16"/>
                    <a:pt x="11" y="16"/>
                    <a:pt x="12" y="16"/>
                  </a:cubicBezTo>
                  <a:cubicBezTo>
                    <a:pt x="13" y="15"/>
                    <a:pt x="13" y="15"/>
                    <a:pt x="14" y="14"/>
                  </a:cubicBezTo>
                  <a:cubicBezTo>
                    <a:pt x="15" y="14"/>
                    <a:pt x="16" y="14"/>
                    <a:pt x="18" y="14"/>
                  </a:cubicBezTo>
                  <a:cubicBezTo>
                    <a:pt x="20" y="14"/>
                    <a:pt x="22" y="14"/>
                    <a:pt x="24" y="15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30" y="21"/>
                    <a:pt x="31" y="23"/>
                    <a:pt x="31" y="25"/>
                  </a:cubicBezTo>
                  <a:cubicBezTo>
                    <a:pt x="32" y="28"/>
                    <a:pt x="33" y="31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0"/>
                    <a:pt x="24" y="27"/>
                    <a:pt x="23" y="24"/>
                  </a:cubicBezTo>
                  <a:cubicBezTo>
                    <a:pt x="21" y="22"/>
                    <a:pt x="19" y="21"/>
                    <a:pt x="16" y="21"/>
                  </a:cubicBezTo>
                  <a:cubicBezTo>
                    <a:pt x="15" y="21"/>
                    <a:pt x="15" y="21"/>
                    <a:pt x="14" y="21"/>
                  </a:cubicBezTo>
                  <a:cubicBezTo>
                    <a:pt x="13" y="22"/>
                    <a:pt x="12" y="22"/>
                    <a:pt x="11" y="23"/>
                  </a:cubicBezTo>
                  <a:cubicBezTo>
                    <a:pt x="11" y="23"/>
                    <a:pt x="10" y="24"/>
                    <a:pt x="9" y="24"/>
                  </a:cubicBezTo>
                  <a:cubicBezTo>
                    <a:pt x="9" y="25"/>
                    <a:pt x="8" y="25"/>
                    <a:pt x="8" y="26"/>
                  </a:cubicBezTo>
                  <a:cubicBezTo>
                    <a:pt x="8" y="42"/>
                    <a:pt x="8" y="42"/>
                    <a:pt x="8" y="42"/>
                  </a:cubicBezTo>
                  <a:cubicBezTo>
                    <a:pt x="8" y="43"/>
                    <a:pt x="9" y="43"/>
                    <a:pt x="9" y="44"/>
                  </a:cubicBezTo>
                  <a:cubicBezTo>
                    <a:pt x="10" y="44"/>
                    <a:pt x="11" y="45"/>
                    <a:pt x="11" y="45"/>
                  </a:cubicBezTo>
                  <a:cubicBezTo>
                    <a:pt x="12" y="46"/>
                    <a:pt x="13" y="46"/>
                    <a:pt x="14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9" y="47"/>
                    <a:pt x="21" y="46"/>
                    <a:pt x="23" y="44"/>
                  </a:cubicBezTo>
                  <a:cubicBezTo>
                    <a:pt x="24" y="42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15" name="Freeform 52">
              <a:extLst>
                <a:ext uri="{FF2B5EF4-FFF2-40B4-BE49-F238E27FC236}">
                  <a16:creationId xmlns:a16="http://schemas.microsoft.com/office/drawing/2014/main" id="{BC957590-E3D7-48BF-A1DF-73DCD767385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1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4" y="31"/>
                    <a:pt x="24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16" name="Freeform 53">
              <a:extLst>
                <a:ext uri="{FF2B5EF4-FFF2-40B4-BE49-F238E27FC236}">
                  <a16:creationId xmlns:a16="http://schemas.microsoft.com/office/drawing/2014/main" id="{9BC2125B-AF0E-4411-AFA7-3F79B873BFB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1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2" y="54"/>
                    <a:pt x="11" y="54"/>
                  </a:cubicBezTo>
                  <a:cubicBezTo>
                    <a:pt x="10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2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17" name="Freeform 54">
              <a:extLst>
                <a:ext uri="{FF2B5EF4-FFF2-40B4-BE49-F238E27FC236}">
                  <a16:creationId xmlns:a16="http://schemas.microsoft.com/office/drawing/2014/main" id="{1E5BE33C-9675-423A-802C-0A789DB1851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18" name="Freeform 55">
              <a:extLst>
                <a:ext uri="{FF2B5EF4-FFF2-40B4-BE49-F238E27FC236}">
                  <a16:creationId xmlns:a16="http://schemas.microsoft.com/office/drawing/2014/main" id="{FB04A8AC-9DA2-4FB3-985A-DD8E6439135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0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2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0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3" y="31"/>
                    <a:pt x="24" y="31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0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7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19" name="Freeform 56">
              <a:extLst>
                <a:ext uri="{FF2B5EF4-FFF2-40B4-BE49-F238E27FC236}">
                  <a16:creationId xmlns:a16="http://schemas.microsoft.com/office/drawing/2014/main" id="{F365BB87-C861-4F40-A844-477BAA1EAA5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418333"/>
              <a:ext cx="55799" cy="101135"/>
            </a:xfrm>
            <a:custGeom>
              <a:avLst/>
              <a:gdLst>
                <a:gd name="T0" fmla="*/ 20 w 22"/>
                <a:gd name="T1" fmla="*/ 9 h 39"/>
                <a:gd name="T2" fmla="*/ 18 w 22"/>
                <a:gd name="T3" fmla="*/ 8 h 39"/>
                <a:gd name="T4" fmla="*/ 15 w 22"/>
                <a:gd name="T5" fmla="*/ 7 h 39"/>
                <a:gd name="T6" fmla="*/ 9 w 22"/>
                <a:gd name="T7" fmla="*/ 10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1 h 39"/>
                <a:gd name="T16" fmla="*/ 7 w 22"/>
                <a:gd name="T17" fmla="*/ 1 h 39"/>
                <a:gd name="T18" fmla="*/ 7 w 22"/>
                <a:gd name="T19" fmla="*/ 5 h 39"/>
                <a:gd name="T20" fmla="*/ 9 w 22"/>
                <a:gd name="T21" fmla="*/ 3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1 h 39"/>
                <a:gd name="T30" fmla="*/ 22 w 22"/>
                <a:gd name="T31" fmla="*/ 2 h 39"/>
                <a:gd name="T32" fmla="*/ 20 w 22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7" y="8"/>
                    <a:pt x="16" y="7"/>
                    <a:pt x="15" y="7"/>
                  </a:cubicBezTo>
                  <a:cubicBezTo>
                    <a:pt x="12" y="7"/>
                    <a:pt x="10" y="8"/>
                    <a:pt x="9" y="10"/>
                  </a:cubicBezTo>
                  <a:cubicBezTo>
                    <a:pt x="8" y="12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8" y="4"/>
                    <a:pt x="8" y="3"/>
                    <a:pt x="9" y="3"/>
                  </a:cubicBezTo>
                  <a:cubicBezTo>
                    <a:pt x="9" y="2"/>
                    <a:pt x="10" y="2"/>
                    <a:pt x="11" y="1"/>
                  </a:cubicBezTo>
                  <a:cubicBezTo>
                    <a:pt x="11" y="1"/>
                    <a:pt x="12" y="1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1"/>
                  </a:cubicBezTo>
                  <a:cubicBezTo>
                    <a:pt x="21" y="1"/>
                    <a:pt x="22" y="1"/>
                    <a:pt x="22" y="2"/>
                  </a:cubicBezTo>
                  <a:lnTo>
                    <a:pt x="20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20" name="Freeform 57">
              <a:extLst>
                <a:ext uri="{FF2B5EF4-FFF2-40B4-BE49-F238E27FC236}">
                  <a16:creationId xmlns:a16="http://schemas.microsoft.com/office/drawing/2014/main" id="{8B7E2806-AAFA-45B5-B801-55C79A92779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21" name="Freeform 58">
              <a:extLst>
                <a:ext uri="{FF2B5EF4-FFF2-40B4-BE49-F238E27FC236}">
                  <a16:creationId xmlns:a16="http://schemas.microsoft.com/office/drawing/2014/main" id="{7A49B80F-B4C0-4F31-9238-8123D3E20D1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383459"/>
              <a:ext cx="80211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10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2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8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7"/>
                    <a:pt x="9" y="17"/>
                  </a:cubicBezTo>
                  <a:cubicBezTo>
                    <a:pt x="10" y="16"/>
                    <a:pt x="11" y="16"/>
                    <a:pt x="12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22" name="Freeform 59">
              <a:extLst>
                <a:ext uri="{FF2B5EF4-FFF2-40B4-BE49-F238E27FC236}">
                  <a16:creationId xmlns:a16="http://schemas.microsoft.com/office/drawing/2014/main" id="{9C60C45F-865F-4118-A4B0-174C696B472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8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2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6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1 w 33"/>
                <a:gd name="T69" fmla="*/ 8 h 40"/>
                <a:gd name="T70" fmla="*/ 17 w 33"/>
                <a:gd name="T71" fmla="*/ 7 h 40"/>
                <a:gd name="T72" fmla="*/ 13 w 33"/>
                <a:gd name="T73" fmla="*/ 8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6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10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3" y="32"/>
                    <a:pt x="23" y="32"/>
                    <a:pt x="24" y="32"/>
                  </a:cubicBezTo>
                  <a:cubicBezTo>
                    <a:pt x="24" y="31"/>
                    <a:pt x="25" y="31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7" y="38"/>
                    <a:pt x="26" y="38"/>
                    <a:pt x="25" y="39"/>
                  </a:cubicBezTo>
                  <a:cubicBezTo>
                    <a:pt x="24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4" y="40"/>
                    <a:pt x="12" y="39"/>
                  </a:cubicBezTo>
                  <a:cubicBezTo>
                    <a:pt x="11" y="39"/>
                    <a:pt x="10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4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5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6" y="17"/>
                  </a:moveTo>
                  <a:cubicBezTo>
                    <a:pt x="26" y="15"/>
                    <a:pt x="25" y="14"/>
                    <a:pt x="25" y="13"/>
                  </a:cubicBezTo>
                  <a:cubicBezTo>
                    <a:pt x="25" y="12"/>
                    <a:pt x="24" y="11"/>
                    <a:pt x="23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20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6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23" name="Freeform 60">
              <a:extLst>
                <a:ext uri="{FF2B5EF4-FFF2-40B4-BE49-F238E27FC236}">
                  <a16:creationId xmlns:a16="http://schemas.microsoft.com/office/drawing/2014/main" id="{15FBF980-B96C-472B-A46B-A731CA164E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7435" y="6421821"/>
              <a:ext cx="122060" cy="97648"/>
            </a:xfrm>
            <a:custGeom>
              <a:avLst/>
              <a:gdLst>
                <a:gd name="T0" fmla="*/ 56 w 70"/>
                <a:gd name="T1" fmla="*/ 56 h 56"/>
                <a:gd name="T2" fmla="*/ 46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5 w 70"/>
                <a:gd name="T9" fmla="*/ 56 h 56"/>
                <a:gd name="T10" fmla="*/ 0 w 70"/>
                <a:gd name="T11" fmla="*/ 0 h 56"/>
                <a:gd name="T12" fmla="*/ 10 w 70"/>
                <a:gd name="T13" fmla="*/ 0 h 56"/>
                <a:gd name="T14" fmla="*/ 21 w 70"/>
                <a:gd name="T15" fmla="*/ 38 h 56"/>
                <a:gd name="T16" fmla="*/ 31 w 70"/>
                <a:gd name="T17" fmla="*/ 0 h 56"/>
                <a:gd name="T18" fmla="*/ 40 w 70"/>
                <a:gd name="T19" fmla="*/ 0 h 56"/>
                <a:gd name="T20" fmla="*/ 50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6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6" y="56"/>
                  </a:moveTo>
                  <a:lnTo>
                    <a:pt x="46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5" y="56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1" y="38"/>
                  </a:lnTo>
                  <a:lnTo>
                    <a:pt x="31" y="0"/>
                  </a:lnTo>
                  <a:lnTo>
                    <a:pt x="40" y="0"/>
                  </a:lnTo>
                  <a:lnTo>
                    <a:pt x="50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6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24" name="Freeform 61">
              <a:extLst>
                <a:ext uri="{FF2B5EF4-FFF2-40B4-BE49-F238E27FC236}">
                  <a16:creationId xmlns:a16="http://schemas.microsoft.com/office/drawing/2014/main" id="{64F1DD18-05EE-4F9F-9E6B-E03C4C500F2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859957" y="6418333"/>
              <a:ext cx="87186" cy="102879"/>
            </a:xfrm>
            <a:custGeom>
              <a:avLst/>
              <a:gdLst>
                <a:gd name="T0" fmla="*/ 34 w 34"/>
                <a:gd name="T1" fmla="*/ 20 h 40"/>
                <a:gd name="T2" fmla="*/ 33 w 34"/>
                <a:gd name="T3" fmla="*/ 28 h 40"/>
                <a:gd name="T4" fmla="*/ 29 w 34"/>
                <a:gd name="T5" fmla="*/ 35 h 40"/>
                <a:gd name="T6" fmla="*/ 24 w 34"/>
                <a:gd name="T7" fmla="*/ 39 h 40"/>
                <a:gd name="T8" fmla="*/ 17 w 34"/>
                <a:gd name="T9" fmla="*/ 40 h 40"/>
                <a:gd name="T10" fmla="*/ 10 w 34"/>
                <a:gd name="T11" fmla="*/ 39 h 40"/>
                <a:gd name="T12" fmla="*/ 5 w 34"/>
                <a:gd name="T13" fmla="*/ 35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2 h 40"/>
                <a:gd name="T20" fmla="*/ 5 w 34"/>
                <a:gd name="T21" fmla="*/ 5 h 40"/>
                <a:gd name="T22" fmla="*/ 11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2 h 40"/>
                <a:gd name="T32" fmla="*/ 34 w 34"/>
                <a:gd name="T33" fmla="*/ 20 h 40"/>
                <a:gd name="T34" fmla="*/ 27 w 34"/>
                <a:gd name="T35" fmla="*/ 20 h 40"/>
                <a:gd name="T36" fmla="*/ 26 w 34"/>
                <a:gd name="T37" fmla="*/ 15 h 40"/>
                <a:gd name="T38" fmla="*/ 24 w 34"/>
                <a:gd name="T39" fmla="*/ 11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1 h 40"/>
                <a:gd name="T48" fmla="*/ 8 w 34"/>
                <a:gd name="T49" fmla="*/ 15 h 40"/>
                <a:gd name="T50" fmla="*/ 8 w 34"/>
                <a:gd name="T51" fmla="*/ 20 h 40"/>
                <a:gd name="T52" fmla="*/ 8 w 34"/>
                <a:gd name="T53" fmla="*/ 26 h 40"/>
                <a:gd name="T54" fmla="*/ 10 w 34"/>
                <a:gd name="T55" fmla="*/ 30 h 40"/>
                <a:gd name="T56" fmla="*/ 13 w 34"/>
                <a:gd name="T57" fmla="*/ 32 h 40"/>
                <a:gd name="T58" fmla="*/ 17 w 34"/>
                <a:gd name="T59" fmla="*/ 33 h 40"/>
                <a:gd name="T60" fmla="*/ 21 w 34"/>
                <a:gd name="T61" fmla="*/ 32 h 40"/>
                <a:gd name="T62" fmla="*/ 24 w 34"/>
                <a:gd name="T63" fmla="*/ 29 h 40"/>
                <a:gd name="T64" fmla="*/ 26 w 34"/>
                <a:gd name="T65" fmla="*/ 25 h 40"/>
                <a:gd name="T66" fmla="*/ 27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20"/>
                  </a:moveTo>
                  <a:cubicBezTo>
                    <a:pt x="34" y="23"/>
                    <a:pt x="34" y="26"/>
                    <a:pt x="33" y="28"/>
                  </a:cubicBezTo>
                  <a:cubicBezTo>
                    <a:pt x="32" y="31"/>
                    <a:pt x="31" y="33"/>
                    <a:pt x="29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2" y="40"/>
                    <a:pt x="10" y="39"/>
                  </a:cubicBezTo>
                  <a:cubicBezTo>
                    <a:pt x="8" y="38"/>
                    <a:pt x="6" y="36"/>
                    <a:pt x="5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1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7" y="4"/>
                    <a:pt x="8" y="2"/>
                    <a:pt x="11" y="1"/>
                  </a:cubicBezTo>
                  <a:cubicBezTo>
                    <a:pt x="13" y="1"/>
                    <a:pt x="15" y="0"/>
                    <a:pt x="17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4" y="17"/>
                    <a:pt x="34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3" y="10"/>
                    <a:pt x="22" y="9"/>
                    <a:pt x="21" y="8"/>
                  </a:cubicBezTo>
                  <a:cubicBezTo>
                    <a:pt x="20" y="8"/>
                    <a:pt x="18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9" y="12"/>
                    <a:pt x="9" y="13"/>
                    <a:pt x="8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8" y="26"/>
                  </a:cubicBezTo>
                  <a:cubicBezTo>
                    <a:pt x="9" y="27"/>
                    <a:pt x="10" y="28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25" name="Freeform 62">
              <a:extLst>
                <a:ext uri="{FF2B5EF4-FFF2-40B4-BE49-F238E27FC236}">
                  <a16:creationId xmlns:a16="http://schemas.microsoft.com/office/drawing/2014/main" id="{6051CC00-BFF2-4334-9855-62AD588546F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8067" y="6418333"/>
              <a:ext cx="57543" cy="101135"/>
            </a:xfrm>
            <a:custGeom>
              <a:avLst/>
              <a:gdLst>
                <a:gd name="T0" fmla="*/ 21 w 23"/>
                <a:gd name="T1" fmla="*/ 9 h 39"/>
                <a:gd name="T2" fmla="*/ 18 w 23"/>
                <a:gd name="T3" fmla="*/ 8 h 39"/>
                <a:gd name="T4" fmla="*/ 15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9 w 23"/>
                <a:gd name="T21" fmla="*/ 3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8" y="8"/>
                    <a:pt x="17" y="7"/>
                    <a:pt x="15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8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9" y="3"/>
                  </a:cubicBezTo>
                  <a:cubicBezTo>
                    <a:pt x="10" y="2"/>
                    <a:pt x="11" y="2"/>
                    <a:pt x="11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1"/>
                  </a:cubicBezTo>
                  <a:cubicBezTo>
                    <a:pt x="21" y="1"/>
                    <a:pt x="22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26" name="Freeform 63">
              <a:extLst>
                <a:ext uri="{FF2B5EF4-FFF2-40B4-BE49-F238E27FC236}">
                  <a16:creationId xmlns:a16="http://schemas.microsoft.com/office/drawing/2014/main" id="{905DD261-B224-46ED-8CEE-E8D180BA4B7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3046" y="6383459"/>
              <a:ext cx="19181" cy="136010"/>
            </a:xfrm>
            <a:custGeom>
              <a:avLst/>
              <a:gdLst>
                <a:gd name="T0" fmla="*/ 0 w 11"/>
                <a:gd name="T1" fmla="*/ 78 h 78"/>
                <a:gd name="T2" fmla="*/ 0 w 11"/>
                <a:gd name="T3" fmla="*/ 6 h 78"/>
                <a:gd name="T4" fmla="*/ 11 w 11"/>
                <a:gd name="T5" fmla="*/ 0 h 78"/>
                <a:gd name="T6" fmla="*/ 11 w 11"/>
                <a:gd name="T7" fmla="*/ 78 h 78"/>
                <a:gd name="T8" fmla="*/ 0 w 11"/>
                <a:gd name="T9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78">
                  <a:moveTo>
                    <a:pt x="0" y="78"/>
                  </a:moveTo>
                  <a:lnTo>
                    <a:pt x="0" y="6"/>
                  </a:lnTo>
                  <a:lnTo>
                    <a:pt x="11" y="0"/>
                  </a:lnTo>
                  <a:lnTo>
                    <a:pt x="11" y="78"/>
                  </a:lnTo>
                  <a:lnTo>
                    <a:pt x="0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27" name="Freeform 64">
              <a:extLst>
                <a:ext uri="{FF2B5EF4-FFF2-40B4-BE49-F238E27FC236}">
                  <a16:creationId xmlns:a16="http://schemas.microsoft.com/office/drawing/2014/main" id="{A23129DF-0296-4CA9-9723-124682F0A70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084896" y="6383459"/>
              <a:ext cx="80211" cy="137753"/>
            </a:xfrm>
            <a:custGeom>
              <a:avLst/>
              <a:gdLst>
                <a:gd name="T0" fmla="*/ 24 w 32"/>
                <a:gd name="T1" fmla="*/ 53 h 54"/>
                <a:gd name="T2" fmla="*/ 24 w 32"/>
                <a:gd name="T3" fmla="*/ 50 h 54"/>
                <a:gd name="T4" fmla="*/ 22 w 32"/>
                <a:gd name="T5" fmla="*/ 51 h 54"/>
                <a:gd name="T6" fmla="*/ 20 w 32"/>
                <a:gd name="T7" fmla="*/ 53 h 54"/>
                <a:gd name="T8" fmla="*/ 17 w 32"/>
                <a:gd name="T9" fmla="*/ 54 h 54"/>
                <a:gd name="T10" fmla="*/ 14 w 32"/>
                <a:gd name="T11" fmla="*/ 54 h 54"/>
                <a:gd name="T12" fmla="*/ 9 w 32"/>
                <a:gd name="T13" fmla="*/ 53 h 54"/>
                <a:gd name="T14" fmla="*/ 4 w 32"/>
                <a:gd name="T15" fmla="*/ 49 h 54"/>
                <a:gd name="T16" fmla="*/ 1 w 32"/>
                <a:gd name="T17" fmla="*/ 43 h 54"/>
                <a:gd name="T18" fmla="*/ 0 w 32"/>
                <a:gd name="T19" fmla="*/ 33 h 54"/>
                <a:gd name="T20" fmla="*/ 1 w 32"/>
                <a:gd name="T21" fmla="*/ 25 h 54"/>
                <a:gd name="T22" fmla="*/ 4 w 32"/>
                <a:gd name="T23" fmla="*/ 19 h 54"/>
                <a:gd name="T24" fmla="*/ 9 w 32"/>
                <a:gd name="T25" fmla="*/ 15 h 54"/>
                <a:gd name="T26" fmla="*/ 15 w 32"/>
                <a:gd name="T27" fmla="*/ 14 h 54"/>
                <a:gd name="T28" fmla="*/ 18 w 32"/>
                <a:gd name="T29" fmla="*/ 14 h 54"/>
                <a:gd name="T30" fmla="*/ 20 w 32"/>
                <a:gd name="T31" fmla="*/ 15 h 54"/>
                <a:gd name="T32" fmla="*/ 22 w 32"/>
                <a:gd name="T33" fmla="*/ 17 h 54"/>
                <a:gd name="T34" fmla="*/ 24 w 32"/>
                <a:gd name="T35" fmla="*/ 18 h 54"/>
                <a:gd name="T36" fmla="*/ 24 w 32"/>
                <a:gd name="T37" fmla="*/ 4 h 54"/>
                <a:gd name="T38" fmla="*/ 32 w 32"/>
                <a:gd name="T39" fmla="*/ 0 h 54"/>
                <a:gd name="T40" fmla="*/ 32 w 32"/>
                <a:gd name="T41" fmla="*/ 53 h 54"/>
                <a:gd name="T42" fmla="*/ 24 w 32"/>
                <a:gd name="T43" fmla="*/ 53 h 54"/>
                <a:gd name="T44" fmla="*/ 24 w 32"/>
                <a:gd name="T45" fmla="*/ 26 h 54"/>
                <a:gd name="T46" fmla="*/ 23 w 32"/>
                <a:gd name="T47" fmla="*/ 24 h 54"/>
                <a:gd name="T48" fmla="*/ 21 w 32"/>
                <a:gd name="T49" fmla="*/ 23 h 54"/>
                <a:gd name="T50" fmla="*/ 18 w 32"/>
                <a:gd name="T51" fmla="*/ 22 h 54"/>
                <a:gd name="T52" fmla="*/ 15 w 32"/>
                <a:gd name="T53" fmla="*/ 21 h 54"/>
                <a:gd name="T54" fmla="*/ 9 w 32"/>
                <a:gd name="T55" fmla="*/ 24 h 54"/>
                <a:gd name="T56" fmla="*/ 7 w 32"/>
                <a:gd name="T57" fmla="*/ 33 h 54"/>
                <a:gd name="T58" fmla="*/ 8 w 32"/>
                <a:gd name="T59" fmla="*/ 39 h 54"/>
                <a:gd name="T60" fmla="*/ 9 w 32"/>
                <a:gd name="T61" fmla="*/ 44 h 54"/>
                <a:gd name="T62" fmla="*/ 12 w 32"/>
                <a:gd name="T63" fmla="*/ 46 h 54"/>
                <a:gd name="T64" fmla="*/ 16 w 32"/>
                <a:gd name="T65" fmla="*/ 47 h 54"/>
                <a:gd name="T66" fmla="*/ 18 w 32"/>
                <a:gd name="T67" fmla="*/ 47 h 54"/>
                <a:gd name="T68" fmla="*/ 21 w 32"/>
                <a:gd name="T69" fmla="*/ 46 h 54"/>
                <a:gd name="T70" fmla="*/ 23 w 32"/>
                <a:gd name="T71" fmla="*/ 44 h 54"/>
                <a:gd name="T72" fmla="*/ 24 w 32"/>
                <a:gd name="T73" fmla="*/ 42 h 54"/>
                <a:gd name="T74" fmla="*/ 24 w 32"/>
                <a:gd name="T75" fmla="*/ 2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2" h="54">
                  <a:moveTo>
                    <a:pt x="24" y="53"/>
                  </a:moveTo>
                  <a:cubicBezTo>
                    <a:pt x="24" y="50"/>
                    <a:pt x="24" y="50"/>
                    <a:pt x="24" y="50"/>
                  </a:cubicBezTo>
                  <a:cubicBezTo>
                    <a:pt x="24" y="50"/>
                    <a:pt x="23" y="51"/>
                    <a:pt x="22" y="51"/>
                  </a:cubicBezTo>
                  <a:cubicBezTo>
                    <a:pt x="21" y="52"/>
                    <a:pt x="21" y="52"/>
                    <a:pt x="20" y="53"/>
                  </a:cubicBezTo>
                  <a:cubicBezTo>
                    <a:pt x="19" y="53"/>
                    <a:pt x="18" y="54"/>
                    <a:pt x="17" y="54"/>
                  </a:cubicBezTo>
                  <a:cubicBezTo>
                    <a:pt x="16" y="54"/>
                    <a:pt x="15" y="54"/>
                    <a:pt x="14" y="54"/>
                  </a:cubicBezTo>
                  <a:cubicBezTo>
                    <a:pt x="12" y="54"/>
                    <a:pt x="10" y="54"/>
                    <a:pt x="9" y="53"/>
                  </a:cubicBezTo>
                  <a:cubicBezTo>
                    <a:pt x="7" y="52"/>
                    <a:pt x="5" y="51"/>
                    <a:pt x="4" y="49"/>
                  </a:cubicBezTo>
                  <a:cubicBezTo>
                    <a:pt x="3" y="48"/>
                    <a:pt x="1" y="45"/>
                    <a:pt x="1" y="43"/>
                  </a:cubicBezTo>
                  <a:cubicBezTo>
                    <a:pt x="0" y="40"/>
                    <a:pt x="0" y="37"/>
                    <a:pt x="0" y="33"/>
                  </a:cubicBezTo>
                  <a:cubicBezTo>
                    <a:pt x="0" y="30"/>
                    <a:pt x="0" y="27"/>
                    <a:pt x="1" y="25"/>
                  </a:cubicBezTo>
                  <a:cubicBezTo>
                    <a:pt x="2" y="22"/>
                    <a:pt x="3" y="20"/>
                    <a:pt x="4" y="19"/>
                  </a:cubicBezTo>
                  <a:cubicBezTo>
                    <a:pt x="6" y="17"/>
                    <a:pt x="7" y="16"/>
                    <a:pt x="9" y="15"/>
                  </a:cubicBezTo>
                  <a:cubicBezTo>
                    <a:pt x="11" y="14"/>
                    <a:pt x="13" y="14"/>
                    <a:pt x="15" y="14"/>
                  </a:cubicBezTo>
                  <a:cubicBezTo>
                    <a:pt x="16" y="14"/>
                    <a:pt x="17" y="14"/>
                    <a:pt x="18" y="14"/>
                  </a:cubicBezTo>
                  <a:cubicBezTo>
                    <a:pt x="18" y="15"/>
                    <a:pt x="19" y="15"/>
                    <a:pt x="20" y="15"/>
                  </a:cubicBezTo>
                  <a:cubicBezTo>
                    <a:pt x="21" y="16"/>
                    <a:pt x="22" y="16"/>
                    <a:pt x="22" y="17"/>
                  </a:cubicBezTo>
                  <a:cubicBezTo>
                    <a:pt x="23" y="17"/>
                    <a:pt x="24" y="18"/>
                    <a:pt x="24" y="18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53"/>
                    <a:pt x="32" y="53"/>
                    <a:pt x="32" y="53"/>
                  </a:cubicBezTo>
                  <a:lnTo>
                    <a:pt x="24" y="53"/>
                  </a:lnTo>
                  <a:close/>
                  <a:moveTo>
                    <a:pt x="24" y="26"/>
                  </a:moveTo>
                  <a:cubicBezTo>
                    <a:pt x="24" y="26"/>
                    <a:pt x="23" y="25"/>
                    <a:pt x="23" y="24"/>
                  </a:cubicBezTo>
                  <a:cubicBezTo>
                    <a:pt x="22" y="24"/>
                    <a:pt x="22" y="23"/>
                    <a:pt x="21" y="23"/>
                  </a:cubicBezTo>
                  <a:cubicBezTo>
                    <a:pt x="20" y="22"/>
                    <a:pt x="19" y="22"/>
                    <a:pt x="18" y="22"/>
                  </a:cubicBezTo>
                  <a:cubicBezTo>
                    <a:pt x="17" y="21"/>
                    <a:pt x="16" y="21"/>
                    <a:pt x="15" y="21"/>
                  </a:cubicBezTo>
                  <a:cubicBezTo>
                    <a:pt x="13" y="21"/>
                    <a:pt x="11" y="22"/>
                    <a:pt x="9" y="24"/>
                  </a:cubicBezTo>
                  <a:cubicBezTo>
                    <a:pt x="8" y="26"/>
                    <a:pt x="7" y="29"/>
                    <a:pt x="7" y="33"/>
                  </a:cubicBezTo>
                  <a:cubicBezTo>
                    <a:pt x="7" y="36"/>
                    <a:pt x="7" y="38"/>
                    <a:pt x="8" y="39"/>
                  </a:cubicBezTo>
                  <a:cubicBezTo>
                    <a:pt x="8" y="41"/>
                    <a:pt x="9" y="43"/>
                    <a:pt x="9" y="44"/>
                  </a:cubicBezTo>
                  <a:cubicBezTo>
                    <a:pt x="10" y="45"/>
                    <a:pt x="11" y="46"/>
                    <a:pt x="12" y="46"/>
                  </a:cubicBezTo>
                  <a:cubicBezTo>
                    <a:pt x="13" y="47"/>
                    <a:pt x="14" y="47"/>
                    <a:pt x="16" y="47"/>
                  </a:cubicBezTo>
                  <a:cubicBezTo>
                    <a:pt x="17" y="47"/>
                    <a:pt x="18" y="47"/>
                    <a:pt x="18" y="47"/>
                  </a:cubicBezTo>
                  <a:cubicBezTo>
                    <a:pt x="19" y="46"/>
                    <a:pt x="20" y="46"/>
                    <a:pt x="21" y="46"/>
                  </a:cubicBezTo>
                  <a:cubicBezTo>
                    <a:pt x="21" y="45"/>
                    <a:pt x="22" y="45"/>
                    <a:pt x="23" y="44"/>
                  </a:cubicBezTo>
                  <a:cubicBezTo>
                    <a:pt x="23" y="43"/>
                    <a:pt x="24" y="43"/>
                    <a:pt x="24" y="42"/>
                  </a:cubicBezTo>
                  <a:lnTo>
                    <a:pt x="24" y="2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28" name="Freeform 65">
              <a:extLst>
                <a:ext uri="{FF2B5EF4-FFF2-40B4-BE49-F238E27FC236}">
                  <a16:creationId xmlns:a16="http://schemas.microsoft.com/office/drawing/2014/main" id="{A2A2BF8E-DA3A-4AC0-B7EB-7CAABFC9E69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29624" y="6421821"/>
              <a:ext cx="122060" cy="97648"/>
            </a:xfrm>
            <a:custGeom>
              <a:avLst/>
              <a:gdLst>
                <a:gd name="T0" fmla="*/ 55 w 70"/>
                <a:gd name="T1" fmla="*/ 56 h 56"/>
                <a:gd name="T2" fmla="*/ 45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6 w 70"/>
                <a:gd name="T9" fmla="*/ 56 h 56"/>
                <a:gd name="T10" fmla="*/ 0 w 70"/>
                <a:gd name="T11" fmla="*/ 0 h 56"/>
                <a:gd name="T12" fmla="*/ 12 w 70"/>
                <a:gd name="T13" fmla="*/ 0 h 56"/>
                <a:gd name="T14" fmla="*/ 20 w 70"/>
                <a:gd name="T15" fmla="*/ 38 h 56"/>
                <a:gd name="T16" fmla="*/ 31 w 70"/>
                <a:gd name="T17" fmla="*/ 0 h 56"/>
                <a:gd name="T18" fmla="*/ 39 w 70"/>
                <a:gd name="T19" fmla="*/ 0 h 56"/>
                <a:gd name="T20" fmla="*/ 51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5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5" y="56"/>
                  </a:moveTo>
                  <a:lnTo>
                    <a:pt x="45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6" y="56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0" y="38"/>
                  </a:lnTo>
                  <a:lnTo>
                    <a:pt x="31" y="0"/>
                  </a:lnTo>
                  <a:lnTo>
                    <a:pt x="39" y="0"/>
                  </a:lnTo>
                  <a:lnTo>
                    <a:pt x="51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29" name="Freeform 66">
              <a:extLst>
                <a:ext uri="{FF2B5EF4-FFF2-40B4-BE49-F238E27FC236}">
                  <a16:creationId xmlns:a16="http://schemas.microsoft.com/office/drawing/2014/main" id="{BEBFC1A4-92B9-418F-A0A9-2E210A37BCF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62147" y="6418333"/>
              <a:ext cx="88930" cy="102879"/>
            </a:xfrm>
            <a:custGeom>
              <a:avLst/>
              <a:gdLst>
                <a:gd name="T0" fmla="*/ 35 w 35"/>
                <a:gd name="T1" fmla="*/ 20 h 40"/>
                <a:gd name="T2" fmla="*/ 33 w 35"/>
                <a:gd name="T3" fmla="*/ 28 h 40"/>
                <a:gd name="T4" fmla="*/ 30 w 35"/>
                <a:gd name="T5" fmla="*/ 35 h 40"/>
                <a:gd name="T6" fmla="*/ 24 w 35"/>
                <a:gd name="T7" fmla="*/ 39 h 40"/>
                <a:gd name="T8" fmla="*/ 17 w 35"/>
                <a:gd name="T9" fmla="*/ 40 h 40"/>
                <a:gd name="T10" fmla="*/ 11 w 35"/>
                <a:gd name="T11" fmla="*/ 39 h 40"/>
                <a:gd name="T12" fmla="*/ 5 w 35"/>
                <a:gd name="T13" fmla="*/ 35 h 40"/>
                <a:gd name="T14" fmla="*/ 2 w 35"/>
                <a:gd name="T15" fmla="*/ 28 h 40"/>
                <a:gd name="T16" fmla="*/ 0 w 35"/>
                <a:gd name="T17" fmla="*/ 20 h 40"/>
                <a:gd name="T18" fmla="*/ 2 w 35"/>
                <a:gd name="T19" fmla="*/ 12 h 40"/>
                <a:gd name="T20" fmla="*/ 5 w 35"/>
                <a:gd name="T21" fmla="*/ 5 h 40"/>
                <a:gd name="T22" fmla="*/ 11 w 35"/>
                <a:gd name="T23" fmla="*/ 1 h 40"/>
                <a:gd name="T24" fmla="*/ 18 w 35"/>
                <a:gd name="T25" fmla="*/ 0 h 40"/>
                <a:gd name="T26" fmla="*/ 24 w 35"/>
                <a:gd name="T27" fmla="*/ 1 h 40"/>
                <a:gd name="T28" fmla="*/ 30 w 35"/>
                <a:gd name="T29" fmla="*/ 5 h 40"/>
                <a:gd name="T30" fmla="*/ 33 w 35"/>
                <a:gd name="T31" fmla="*/ 12 h 40"/>
                <a:gd name="T32" fmla="*/ 35 w 35"/>
                <a:gd name="T33" fmla="*/ 20 h 40"/>
                <a:gd name="T34" fmla="*/ 27 w 35"/>
                <a:gd name="T35" fmla="*/ 20 h 40"/>
                <a:gd name="T36" fmla="*/ 26 w 35"/>
                <a:gd name="T37" fmla="*/ 15 h 40"/>
                <a:gd name="T38" fmla="*/ 24 w 35"/>
                <a:gd name="T39" fmla="*/ 11 h 40"/>
                <a:gd name="T40" fmla="*/ 21 w 35"/>
                <a:gd name="T41" fmla="*/ 8 h 40"/>
                <a:gd name="T42" fmla="*/ 17 w 35"/>
                <a:gd name="T43" fmla="*/ 7 h 40"/>
                <a:gd name="T44" fmla="*/ 13 w 35"/>
                <a:gd name="T45" fmla="*/ 8 h 40"/>
                <a:gd name="T46" fmla="*/ 10 w 35"/>
                <a:gd name="T47" fmla="*/ 11 h 40"/>
                <a:gd name="T48" fmla="*/ 9 w 35"/>
                <a:gd name="T49" fmla="*/ 15 h 40"/>
                <a:gd name="T50" fmla="*/ 8 w 35"/>
                <a:gd name="T51" fmla="*/ 20 h 40"/>
                <a:gd name="T52" fmla="*/ 9 w 35"/>
                <a:gd name="T53" fmla="*/ 26 h 40"/>
                <a:gd name="T54" fmla="*/ 11 w 35"/>
                <a:gd name="T55" fmla="*/ 30 h 40"/>
                <a:gd name="T56" fmla="*/ 14 w 35"/>
                <a:gd name="T57" fmla="*/ 32 h 40"/>
                <a:gd name="T58" fmla="*/ 18 w 35"/>
                <a:gd name="T59" fmla="*/ 33 h 40"/>
                <a:gd name="T60" fmla="*/ 21 w 35"/>
                <a:gd name="T61" fmla="*/ 32 h 40"/>
                <a:gd name="T62" fmla="*/ 24 w 35"/>
                <a:gd name="T63" fmla="*/ 29 h 40"/>
                <a:gd name="T64" fmla="*/ 26 w 35"/>
                <a:gd name="T65" fmla="*/ 25 h 40"/>
                <a:gd name="T66" fmla="*/ 27 w 35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5" h="40">
                  <a:moveTo>
                    <a:pt x="35" y="20"/>
                  </a:moveTo>
                  <a:cubicBezTo>
                    <a:pt x="35" y="23"/>
                    <a:pt x="34" y="26"/>
                    <a:pt x="33" y="28"/>
                  </a:cubicBezTo>
                  <a:cubicBezTo>
                    <a:pt x="32" y="31"/>
                    <a:pt x="31" y="33"/>
                    <a:pt x="30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3" y="40"/>
                    <a:pt x="11" y="39"/>
                  </a:cubicBezTo>
                  <a:cubicBezTo>
                    <a:pt x="8" y="38"/>
                    <a:pt x="7" y="36"/>
                    <a:pt x="5" y="35"/>
                  </a:cubicBezTo>
                  <a:cubicBezTo>
                    <a:pt x="4" y="33"/>
                    <a:pt x="2" y="31"/>
                    <a:pt x="2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3" y="9"/>
                    <a:pt x="4" y="7"/>
                    <a:pt x="5" y="5"/>
                  </a:cubicBezTo>
                  <a:cubicBezTo>
                    <a:pt x="7" y="4"/>
                    <a:pt x="9" y="2"/>
                    <a:pt x="11" y="1"/>
                  </a:cubicBezTo>
                  <a:cubicBezTo>
                    <a:pt x="13" y="1"/>
                    <a:pt x="15" y="0"/>
                    <a:pt x="18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30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5" y="17"/>
                    <a:pt x="35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4" y="10"/>
                    <a:pt x="23" y="9"/>
                    <a:pt x="21" y="8"/>
                  </a:cubicBezTo>
                  <a:cubicBezTo>
                    <a:pt x="20" y="8"/>
                    <a:pt x="19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10" y="12"/>
                    <a:pt x="9" y="13"/>
                    <a:pt x="9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9" y="26"/>
                  </a:cubicBezTo>
                  <a:cubicBezTo>
                    <a:pt x="9" y="27"/>
                    <a:pt x="10" y="28"/>
                    <a:pt x="11" y="30"/>
                  </a:cubicBezTo>
                  <a:cubicBezTo>
                    <a:pt x="11" y="31"/>
                    <a:pt x="12" y="32"/>
                    <a:pt x="14" y="32"/>
                  </a:cubicBezTo>
                  <a:cubicBezTo>
                    <a:pt x="15" y="33"/>
                    <a:pt x="16" y="33"/>
                    <a:pt x="18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3" y="31"/>
                    <a:pt x="24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30" name="Freeform 67">
              <a:extLst>
                <a:ext uri="{FF2B5EF4-FFF2-40B4-BE49-F238E27FC236}">
                  <a16:creationId xmlns:a16="http://schemas.microsoft.com/office/drawing/2014/main" id="{A28B9FD0-8354-4DD6-856A-157C5F8768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68514" y="6418333"/>
              <a:ext cx="59286" cy="101135"/>
            </a:xfrm>
            <a:custGeom>
              <a:avLst/>
              <a:gdLst>
                <a:gd name="T0" fmla="*/ 21 w 23"/>
                <a:gd name="T1" fmla="*/ 9 h 39"/>
                <a:gd name="T2" fmla="*/ 19 w 23"/>
                <a:gd name="T3" fmla="*/ 8 h 39"/>
                <a:gd name="T4" fmla="*/ 16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10 w 23"/>
                <a:gd name="T21" fmla="*/ 3 h 39"/>
                <a:gd name="T22" fmla="*/ 12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1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20" y="8"/>
                    <a:pt x="19" y="8"/>
                  </a:cubicBezTo>
                  <a:cubicBezTo>
                    <a:pt x="18" y="8"/>
                    <a:pt x="17" y="7"/>
                    <a:pt x="16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9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10" y="3"/>
                  </a:cubicBezTo>
                  <a:cubicBezTo>
                    <a:pt x="10" y="2"/>
                    <a:pt x="11" y="2"/>
                    <a:pt x="12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20" y="0"/>
                    <a:pt x="21" y="1"/>
                  </a:cubicBezTo>
                  <a:cubicBezTo>
                    <a:pt x="22" y="1"/>
                    <a:pt x="23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31" name="Freeform 68">
              <a:extLst>
                <a:ext uri="{FF2B5EF4-FFF2-40B4-BE49-F238E27FC236}">
                  <a16:creationId xmlns:a16="http://schemas.microsoft.com/office/drawing/2014/main" id="{83D3DEEE-A610-48BE-BADD-6BA188B5B86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5237" y="6383459"/>
              <a:ext cx="76723" cy="136010"/>
            </a:xfrm>
            <a:custGeom>
              <a:avLst/>
              <a:gdLst>
                <a:gd name="T0" fmla="*/ 31 w 44"/>
                <a:gd name="T1" fmla="*/ 78 h 78"/>
                <a:gd name="T2" fmla="*/ 19 w 44"/>
                <a:gd name="T3" fmla="*/ 50 h 78"/>
                <a:gd name="T4" fmla="*/ 10 w 44"/>
                <a:gd name="T5" fmla="*/ 61 h 78"/>
                <a:gd name="T6" fmla="*/ 10 w 44"/>
                <a:gd name="T7" fmla="*/ 78 h 78"/>
                <a:gd name="T8" fmla="*/ 0 w 44"/>
                <a:gd name="T9" fmla="*/ 78 h 78"/>
                <a:gd name="T10" fmla="*/ 0 w 44"/>
                <a:gd name="T11" fmla="*/ 6 h 78"/>
                <a:gd name="T12" fmla="*/ 10 w 44"/>
                <a:gd name="T13" fmla="*/ 0 h 78"/>
                <a:gd name="T14" fmla="*/ 10 w 44"/>
                <a:gd name="T15" fmla="*/ 47 h 78"/>
                <a:gd name="T16" fmla="*/ 28 w 44"/>
                <a:gd name="T17" fmla="*/ 22 h 78"/>
                <a:gd name="T18" fmla="*/ 41 w 44"/>
                <a:gd name="T19" fmla="*/ 22 h 78"/>
                <a:gd name="T20" fmla="*/ 26 w 44"/>
                <a:gd name="T21" fmla="*/ 41 h 78"/>
                <a:gd name="T22" fmla="*/ 44 w 44"/>
                <a:gd name="T23" fmla="*/ 78 h 78"/>
                <a:gd name="T24" fmla="*/ 31 w 44"/>
                <a:gd name="T25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4" h="78">
                  <a:moveTo>
                    <a:pt x="31" y="78"/>
                  </a:moveTo>
                  <a:lnTo>
                    <a:pt x="19" y="50"/>
                  </a:lnTo>
                  <a:lnTo>
                    <a:pt x="10" y="61"/>
                  </a:lnTo>
                  <a:lnTo>
                    <a:pt x="10" y="78"/>
                  </a:lnTo>
                  <a:lnTo>
                    <a:pt x="0" y="78"/>
                  </a:lnTo>
                  <a:lnTo>
                    <a:pt x="0" y="6"/>
                  </a:lnTo>
                  <a:lnTo>
                    <a:pt x="10" y="0"/>
                  </a:lnTo>
                  <a:lnTo>
                    <a:pt x="10" y="47"/>
                  </a:lnTo>
                  <a:lnTo>
                    <a:pt x="28" y="22"/>
                  </a:lnTo>
                  <a:lnTo>
                    <a:pt x="41" y="22"/>
                  </a:lnTo>
                  <a:lnTo>
                    <a:pt x="26" y="41"/>
                  </a:lnTo>
                  <a:lnTo>
                    <a:pt x="44" y="78"/>
                  </a:lnTo>
                  <a:lnTo>
                    <a:pt x="31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32" name="Freeform 69">
              <a:extLst>
                <a:ext uri="{FF2B5EF4-FFF2-40B4-BE49-F238E27FC236}">
                  <a16:creationId xmlns:a16="http://schemas.microsoft.com/office/drawing/2014/main" id="{463C7ADB-C654-4D24-9055-0B6003A770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28936" y="6418333"/>
              <a:ext cx="74980" cy="102879"/>
            </a:xfrm>
            <a:custGeom>
              <a:avLst/>
              <a:gdLst>
                <a:gd name="T0" fmla="*/ 28 w 29"/>
                <a:gd name="T1" fmla="*/ 4 h 40"/>
                <a:gd name="T2" fmla="*/ 25 w 29"/>
                <a:gd name="T3" fmla="*/ 10 h 40"/>
                <a:gd name="T4" fmla="*/ 20 w 29"/>
                <a:gd name="T5" fmla="*/ 8 h 40"/>
                <a:gd name="T6" fmla="*/ 15 w 29"/>
                <a:gd name="T7" fmla="*/ 7 h 40"/>
                <a:gd name="T8" fmla="*/ 11 w 29"/>
                <a:gd name="T9" fmla="*/ 8 h 40"/>
                <a:gd name="T10" fmla="*/ 9 w 29"/>
                <a:gd name="T11" fmla="*/ 10 h 40"/>
                <a:gd name="T12" fmla="*/ 10 w 29"/>
                <a:gd name="T13" fmla="*/ 12 h 40"/>
                <a:gd name="T14" fmla="*/ 11 w 29"/>
                <a:gd name="T15" fmla="*/ 13 h 40"/>
                <a:gd name="T16" fmla="*/ 13 w 29"/>
                <a:gd name="T17" fmla="*/ 14 h 40"/>
                <a:gd name="T18" fmla="*/ 17 w 29"/>
                <a:gd name="T19" fmla="*/ 16 h 40"/>
                <a:gd name="T20" fmla="*/ 22 w 29"/>
                <a:gd name="T21" fmla="*/ 18 h 40"/>
                <a:gd name="T22" fmla="*/ 26 w 29"/>
                <a:gd name="T23" fmla="*/ 21 h 40"/>
                <a:gd name="T24" fmla="*/ 29 w 29"/>
                <a:gd name="T25" fmla="*/ 24 h 40"/>
                <a:gd name="T26" fmla="*/ 29 w 29"/>
                <a:gd name="T27" fmla="*/ 29 h 40"/>
                <a:gd name="T28" fmla="*/ 28 w 29"/>
                <a:gd name="T29" fmla="*/ 34 h 40"/>
                <a:gd name="T30" fmla="*/ 25 w 29"/>
                <a:gd name="T31" fmla="*/ 38 h 40"/>
                <a:gd name="T32" fmla="*/ 21 w 29"/>
                <a:gd name="T33" fmla="*/ 40 h 40"/>
                <a:gd name="T34" fmla="*/ 15 w 29"/>
                <a:gd name="T35" fmla="*/ 40 h 40"/>
                <a:gd name="T36" fmla="*/ 7 w 29"/>
                <a:gd name="T37" fmla="*/ 39 h 40"/>
                <a:gd name="T38" fmla="*/ 0 w 29"/>
                <a:gd name="T39" fmla="*/ 35 h 40"/>
                <a:gd name="T40" fmla="*/ 4 w 29"/>
                <a:gd name="T41" fmla="*/ 30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20 w 29"/>
                <a:gd name="T53" fmla="*/ 26 h 40"/>
                <a:gd name="T54" fmla="*/ 17 w 29"/>
                <a:gd name="T55" fmla="*/ 24 h 40"/>
                <a:gd name="T56" fmla="*/ 13 w 29"/>
                <a:gd name="T57" fmla="*/ 23 h 40"/>
                <a:gd name="T58" fmla="*/ 8 w 29"/>
                <a:gd name="T59" fmla="*/ 20 h 40"/>
                <a:gd name="T60" fmla="*/ 4 w 29"/>
                <a:gd name="T61" fmla="*/ 18 h 40"/>
                <a:gd name="T62" fmla="*/ 2 w 29"/>
                <a:gd name="T63" fmla="*/ 15 h 40"/>
                <a:gd name="T64" fmla="*/ 2 w 29"/>
                <a:gd name="T65" fmla="*/ 11 h 40"/>
                <a:gd name="T66" fmla="*/ 3 w 29"/>
                <a:gd name="T67" fmla="*/ 6 h 40"/>
                <a:gd name="T68" fmla="*/ 6 w 29"/>
                <a:gd name="T69" fmla="*/ 3 h 40"/>
                <a:gd name="T70" fmla="*/ 10 w 29"/>
                <a:gd name="T71" fmla="*/ 1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5" y="10"/>
                    <a:pt x="25" y="10"/>
                    <a:pt x="25" y="10"/>
                  </a:cubicBezTo>
                  <a:cubicBezTo>
                    <a:pt x="23" y="9"/>
                    <a:pt x="22" y="8"/>
                    <a:pt x="20" y="8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2" y="7"/>
                    <a:pt x="11" y="8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1"/>
                    <a:pt x="10" y="11"/>
                    <a:pt x="10" y="12"/>
                  </a:cubicBezTo>
                  <a:cubicBezTo>
                    <a:pt x="10" y="12"/>
                    <a:pt x="10" y="13"/>
                    <a:pt x="11" y="13"/>
                  </a:cubicBezTo>
                  <a:cubicBezTo>
                    <a:pt x="11" y="13"/>
                    <a:pt x="12" y="14"/>
                    <a:pt x="13" y="14"/>
                  </a:cubicBezTo>
                  <a:cubicBezTo>
                    <a:pt x="14" y="15"/>
                    <a:pt x="15" y="15"/>
                    <a:pt x="17" y="16"/>
                  </a:cubicBezTo>
                  <a:cubicBezTo>
                    <a:pt x="19" y="17"/>
                    <a:pt x="21" y="18"/>
                    <a:pt x="22" y="18"/>
                  </a:cubicBezTo>
                  <a:cubicBezTo>
                    <a:pt x="24" y="19"/>
                    <a:pt x="25" y="20"/>
                    <a:pt x="26" y="21"/>
                  </a:cubicBezTo>
                  <a:cubicBezTo>
                    <a:pt x="27" y="22"/>
                    <a:pt x="28" y="23"/>
                    <a:pt x="29" y="24"/>
                  </a:cubicBezTo>
                  <a:cubicBezTo>
                    <a:pt x="29" y="25"/>
                    <a:pt x="29" y="27"/>
                    <a:pt x="29" y="29"/>
                  </a:cubicBezTo>
                  <a:cubicBezTo>
                    <a:pt x="29" y="31"/>
                    <a:pt x="29" y="33"/>
                    <a:pt x="28" y="34"/>
                  </a:cubicBezTo>
                  <a:cubicBezTo>
                    <a:pt x="28" y="36"/>
                    <a:pt x="26" y="37"/>
                    <a:pt x="25" y="38"/>
                  </a:cubicBezTo>
                  <a:cubicBezTo>
                    <a:pt x="24" y="39"/>
                    <a:pt x="22" y="39"/>
                    <a:pt x="21" y="40"/>
                  </a:cubicBezTo>
                  <a:cubicBezTo>
                    <a:pt x="19" y="40"/>
                    <a:pt x="17" y="40"/>
                    <a:pt x="15" y="40"/>
                  </a:cubicBezTo>
                  <a:cubicBezTo>
                    <a:pt x="13" y="40"/>
                    <a:pt x="10" y="40"/>
                    <a:pt x="7" y="39"/>
                  </a:cubicBezTo>
                  <a:cubicBezTo>
                    <a:pt x="5" y="38"/>
                    <a:pt x="2" y="37"/>
                    <a:pt x="0" y="35"/>
                  </a:cubicBezTo>
                  <a:cubicBezTo>
                    <a:pt x="4" y="30"/>
                    <a:pt x="4" y="30"/>
                    <a:pt x="4" y="30"/>
                  </a:cubicBezTo>
                  <a:cubicBezTo>
                    <a:pt x="6" y="31"/>
                    <a:pt x="7" y="32"/>
                    <a:pt x="9" y="32"/>
                  </a:cubicBezTo>
                  <a:cubicBezTo>
                    <a:pt x="11" y="33"/>
                    <a:pt x="13" y="33"/>
                    <a:pt x="15" y="33"/>
                  </a:cubicBezTo>
                  <a:cubicBezTo>
                    <a:pt x="17" y="33"/>
                    <a:pt x="19" y="33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8"/>
                    <a:pt x="21" y="27"/>
                  </a:cubicBezTo>
                  <a:cubicBezTo>
                    <a:pt x="21" y="27"/>
                    <a:pt x="20" y="26"/>
                    <a:pt x="20" y="26"/>
                  </a:cubicBezTo>
                  <a:cubicBezTo>
                    <a:pt x="19" y="25"/>
                    <a:pt x="18" y="25"/>
                    <a:pt x="17" y="24"/>
                  </a:cubicBezTo>
                  <a:cubicBezTo>
                    <a:pt x="16" y="24"/>
                    <a:pt x="15" y="23"/>
                    <a:pt x="13" y="23"/>
                  </a:cubicBezTo>
                  <a:cubicBezTo>
                    <a:pt x="11" y="22"/>
                    <a:pt x="9" y="21"/>
                    <a:pt x="8" y="20"/>
                  </a:cubicBezTo>
                  <a:cubicBezTo>
                    <a:pt x="6" y="19"/>
                    <a:pt x="5" y="19"/>
                    <a:pt x="4" y="18"/>
                  </a:cubicBezTo>
                  <a:cubicBezTo>
                    <a:pt x="3" y="17"/>
                    <a:pt x="3" y="16"/>
                    <a:pt x="2" y="15"/>
                  </a:cubicBezTo>
                  <a:cubicBezTo>
                    <a:pt x="2" y="13"/>
                    <a:pt x="2" y="12"/>
                    <a:pt x="2" y="11"/>
                  </a:cubicBezTo>
                  <a:cubicBezTo>
                    <a:pt x="2" y="9"/>
                    <a:pt x="2" y="7"/>
                    <a:pt x="3" y="6"/>
                  </a:cubicBezTo>
                  <a:cubicBezTo>
                    <a:pt x="3" y="5"/>
                    <a:pt x="4" y="4"/>
                    <a:pt x="6" y="3"/>
                  </a:cubicBezTo>
                  <a:cubicBezTo>
                    <a:pt x="7" y="2"/>
                    <a:pt x="8" y="1"/>
                    <a:pt x="10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20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33" name="Freeform 70">
              <a:extLst>
                <a:ext uri="{FF2B5EF4-FFF2-40B4-BE49-F238E27FC236}">
                  <a16:creationId xmlns:a16="http://schemas.microsoft.com/office/drawing/2014/main" id="{40CF3793-E792-4DB3-8064-4B43F4706A3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23096" y="6489826"/>
              <a:ext cx="27899" cy="31387"/>
            </a:xfrm>
            <a:custGeom>
              <a:avLst/>
              <a:gdLst>
                <a:gd name="T0" fmla="*/ 11 w 11"/>
                <a:gd name="T1" fmla="*/ 6 h 12"/>
                <a:gd name="T2" fmla="*/ 11 w 11"/>
                <a:gd name="T3" fmla="*/ 9 h 12"/>
                <a:gd name="T4" fmla="*/ 10 w 11"/>
                <a:gd name="T5" fmla="*/ 10 h 12"/>
                <a:gd name="T6" fmla="*/ 8 w 11"/>
                <a:gd name="T7" fmla="*/ 12 h 12"/>
                <a:gd name="T8" fmla="*/ 6 w 11"/>
                <a:gd name="T9" fmla="*/ 12 h 12"/>
                <a:gd name="T10" fmla="*/ 3 w 11"/>
                <a:gd name="T11" fmla="*/ 12 h 12"/>
                <a:gd name="T12" fmla="*/ 1 w 11"/>
                <a:gd name="T13" fmla="*/ 10 h 12"/>
                <a:gd name="T14" fmla="*/ 0 w 11"/>
                <a:gd name="T15" fmla="*/ 9 h 12"/>
                <a:gd name="T16" fmla="*/ 0 w 11"/>
                <a:gd name="T17" fmla="*/ 6 h 12"/>
                <a:gd name="T18" fmla="*/ 0 w 11"/>
                <a:gd name="T19" fmla="*/ 4 h 12"/>
                <a:gd name="T20" fmla="*/ 1 w 11"/>
                <a:gd name="T21" fmla="*/ 2 h 12"/>
                <a:gd name="T22" fmla="*/ 3 w 11"/>
                <a:gd name="T23" fmla="*/ 1 h 12"/>
                <a:gd name="T24" fmla="*/ 6 w 11"/>
                <a:gd name="T25" fmla="*/ 0 h 12"/>
                <a:gd name="T26" fmla="*/ 8 w 11"/>
                <a:gd name="T27" fmla="*/ 1 h 12"/>
                <a:gd name="T28" fmla="*/ 10 w 11"/>
                <a:gd name="T29" fmla="*/ 2 h 12"/>
                <a:gd name="T30" fmla="*/ 11 w 11"/>
                <a:gd name="T31" fmla="*/ 4 h 12"/>
                <a:gd name="T32" fmla="*/ 11 w 11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" h="12">
                  <a:moveTo>
                    <a:pt x="11" y="6"/>
                  </a:moveTo>
                  <a:cubicBezTo>
                    <a:pt x="11" y="7"/>
                    <a:pt x="11" y="8"/>
                    <a:pt x="11" y="9"/>
                  </a:cubicBezTo>
                  <a:cubicBezTo>
                    <a:pt x="11" y="9"/>
                    <a:pt x="10" y="10"/>
                    <a:pt x="10" y="10"/>
                  </a:cubicBezTo>
                  <a:cubicBezTo>
                    <a:pt x="9" y="11"/>
                    <a:pt x="9" y="11"/>
                    <a:pt x="8" y="12"/>
                  </a:cubicBezTo>
                  <a:cubicBezTo>
                    <a:pt x="7" y="12"/>
                    <a:pt x="6" y="12"/>
                    <a:pt x="6" y="12"/>
                  </a:cubicBezTo>
                  <a:cubicBezTo>
                    <a:pt x="5" y="12"/>
                    <a:pt x="4" y="12"/>
                    <a:pt x="3" y="12"/>
                  </a:cubicBezTo>
                  <a:cubicBezTo>
                    <a:pt x="3" y="11"/>
                    <a:pt x="2" y="11"/>
                    <a:pt x="1" y="10"/>
                  </a:cubicBezTo>
                  <a:cubicBezTo>
                    <a:pt x="1" y="10"/>
                    <a:pt x="1" y="9"/>
                    <a:pt x="0" y="9"/>
                  </a:cubicBezTo>
                  <a:cubicBezTo>
                    <a:pt x="0" y="8"/>
                    <a:pt x="0" y="7"/>
                    <a:pt x="0" y="6"/>
                  </a:cubicBezTo>
                  <a:cubicBezTo>
                    <a:pt x="0" y="6"/>
                    <a:pt x="0" y="5"/>
                    <a:pt x="0" y="4"/>
                  </a:cubicBezTo>
                  <a:cubicBezTo>
                    <a:pt x="1" y="3"/>
                    <a:pt x="1" y="3"/>
                    <a:pt x="1" y="2"/>
                  </a:cubicBezTo>
                  <a:cubicBezTo>
                    <a:pt x="2" y="2"/>
                    <a:pt x="3" y="1"/>
                    <a:pt x="3" y="1"/>
                  </a:cubicBezTo>
                  <a:cubicBezTo>
                    <a:pt x="4" y="1"/>
                    <a:pt x="5" y="0"/>
                    <a:pt x="6" y="0"/>
                  </a:cubicBezTo>
                  <a:cubicBezTo>
                    <a:pt x="6" y="0"/>
                    <a:pt x="7" y="1"/>
                    <a:pt x="8" y="1"/>
                  </a:cubicBezTo>
                  <a:cubicBezTo>
                    <a:pt x="9" y="1"/>
                    <a:pt x="9" y="2"/>
                    <a:pt x="10" y="2"/>
                  </a:cubicBezTo>
                  <a:cubicBezTo>
                    <a:pt x="10" y="3"/>
                    <a:pt x="11" y="3"/>
                    <a:pt x="11" y="4"/>
                  </a:cubicBezTo>
                  <a:cubicBezTo>
                    <a:pt x="11" y="5"/>
                    <a:pt x="11" y="6"/>
                    <a:pt x="11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</p:grpSp>
      <p:sp>
        <p:nvSpPr>
          <p:cNvPr id="18" name="Title 1"/>
          <p:cNvSpPr>
            <a:spLocks noGrp="1"/>
          </p:cNvSpPr>
          <p:nvPr userDrawn="1">
            <p:ph type="ctrTitle"/>
          </p:nvPr>
        </p:nvSpPr>
        <p:spPr>
          <a:xfrm>
            <a:off x="944388" y="2158329"/>
            <a:ext cx="4781392" cy="860400"/>
          </a:xfrm>
          <a:prstGeom prst="rect">
            <a:avLst/>
          </a:prstGeom>
        </p:spPr>
        <p:txBody>
          <a:bodyPr/>
          <a:lstStyle>
            <a:lvl1pPr>
              <a:defRPr sz="2998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9" name="Subtitle 2"/>
          <p:cNvSpPr>
            <a:spLocks noGrp="1"/>
          </p:cNvSpPr>
          <p:nvPr userDrawn="1">
            <p:ph type="subTitle" idx="1"/>
          </p:nvPr>
        </p:nvSpPr>
        <p:spPr>
          <a:xfrm>
            <a:off x="944580" y="3200329"/>
            <a:ext cx="4805525" cy="64574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998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  <a:lvl2pPr marL="0" indent="0" algn="l">
              <a:buNone/>
              <a:defRPr sz="1598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9134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2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69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37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04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72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3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3" name="Freeform: Shape 2">
            <a:extLst>
              <a:ext uri="{FF2B5EF4-FFF2-40B4-BE49-F238E27FC236}">
                <a16:creationId xmlns:a16="http://schemas.microsoft.com/office/drawing/2014/main" id="{44A731D0-020D-4D8E-955D-2354AF0FE452}"/>
              </a:ext>
            </a:extLst>
          </p:cNvPr>
          <p:cNvSpPr/>
          <p:nvPr userDrawn="1"/>
        </p:nvSpPr>
        <p:spPr>
          <a:xfrm>
            <a:off x="489113" y="723658"/>
            <a:ext cx="5677988" cy="3452894"/>
          </a:xfrm>
          <a:custGeom>
            <a:avLst/>
            <a:gdLst>
              <a:gd name="connsiteX0" fmla="*/ 8749 w 5680945"/>
              <a:gd name="connsiteY0" fmla="*/ 1021520 h 3452894"/>
              <a:gd name="connsiteX1" fmla="*/ 8749 w 5680945"/>
              <a:gd name="connsiteY1" fmla="*/ 3164181 h 3452894"/>
              <a:gd name="connsiteX2" fmla="*/ 151414 w 5680945"/>
              <a:gd name="connsiteY2" fmla="*/ 3164181 h 3452894"/>
              <a:gd name="connsiteX3" fmla="*/ 151414 w 5680945"/>
              <a:gd name="connsiteY3" fmla="*/ 1140155 h 3452894"/>
              <a:gd name="connsiteX4" fmla="*/ 5534897 w 5680945"/>
              <a:gd name="connsiteY4" fmla="*/ 179294 h 3452894"/>
              <a:gd name="connsiteX5" fmla="*/ 5534897 w 5680945"/>
              <a:gd name="connsiteY5" fmla="*/ 3306846 h 3452894"/>
              <a:gd name="connsiteX6" fmla="*/ 864624 w 5680945"/>
              <a:gd name="connsiteY6" fmla="*/ 3306846 h 3452894"/>
              <a:gd name="connsiteX7" fmla="*/ 864624 w 5680945"/>
              <a:gd name="connsiteY7" fmla="*/ 3449395 h 3452894"/>
              <a:gd name="connsiteX8" fmla="*/ 5677562 w 5680945"/>
              <a:gd name="connsiteY8" fmla="*/ 3449395 h 3452894"/>
              <a:gd name="connsiteX9" fmla="*/ 5677562 w 5680945"/>
              <a:gd name="connsiteY9" fmla="*/ 8749 h 3452894"/>
              <a:gd name="connsiteX10" fmla="*/ 8749 w 5680945"/>
              <a:gd name="connsiteY10" fmla="*/ 1021520 h 34528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5680945" h="3452894">
                <a:moveTo>
                  <a:pt x="8749" y="1021520"/>
                </a:moveTo>
                <a:lnTo>
                  <a:pt x="8749" y="3164181"/>
                </a:lnTo>
                <a:lnTo>
                  <a:pt x="151414" y="3164181"/>
                </a:lnTo>
                <a:lnTo>
                  <a:pt x="151414" y="1140155"/>
                </a:lnTo>
                <a:lnTo>
                  <a:pt x="5534897" y="179294"/>
                </a:lnTo>
                <a:lnTo>
                  <a:pt x="5534897" y="3306846"/>
                </a:lnTo>
                <a:lnTo>
                  <a:pt x="864624" y="3306846"/>
                </a:lnTo>
                <a:lnTo>
                  <a:pt x="864624" y="3449395"/>
                </a:lnTo>
                <a:lnTo>
                  <a:pt x="5677562" y="3449395"/>
                </a:lnTo>
                <a:lnTo>
                  <a:pt x="5677562" y="8749"/>
                </a:lnTo>
                <a:lnTo>
                  <a:pt x="8749" y="1021520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 sz="1798" dirty="0"/>
          </a:p>
        </p:txBody>
      </p:sp>
      <p:sp>
        <p:nvSpPr>
          <p:cNvPr id="4" name="Freeform: Shape 3">
            <a:extLst>
              <a:ext uri="{FF2B5EF4-FFF2-40B4-BE49-F238E27FC236}">
                <a16:creationId xmlns:a16="http://schemas.microsoft.com/office/drawing/2014/main" id="{15324C54-B75E-4AC0-90C2-FA558C7716F7}"/>
              </a:ext>
            </a:extLst>
          </p:cNvPr>
          <p:cNvSpPr/>
          <p:nvPr/>
        </p:nvSpPr>
        <p:spPr>
          <a:xfrm>
            <a:off x="489113" y="4021758"/>
            <a:ext cx="151568" cy="151647"/>
          </a:xfrm>
          <a:custGeom>
            <a:avLst/>
            <a:gdLst>
              <a:gd name="connsiteX0" fmla="*/ 8749 w 151647"/>
              <a:gd name="connsiteY0" fmla="*/ 8749 h 151647"/>
              <a:gd name="connsiteX1" fmla="*/ 151414 w 151647"/>
              <a:gd name="connsiteY1" fmla="*/ 8749 h 151647"/>
              <a:gd name="connsiteX2" fmla="*/ 151414 w 151647"/>
              <a:gd name="connsiteY2" fmla="*/ 151414 h 151647"/>
              <a:gd name="connsiteX3" fmla="*/ 8749 w 151647"/>
              <a:gd name="connsiteY3" fmla="*/ 151414 h 151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647" h="151647">
                <a:moveTo>
                  <a:pt x="8749" y="8749"/>
                </a:moveTo>
                <a:lnTo>
                  <a:pt x="151414" y="8749"/>
                </a:lnTo>
                <a:lnTo>
                  <a:pt x="151414" y="151414"/>
                </a:lnTo>
                <a:lnTo>
                  <a:pt x="8749" y="151414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 sz="1798" dirty="0"/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CAA95478-C099-485F-AD95-A617656C6C7C}"/>
              </a:ext>
            </a:extLst>
          </p:cNvPr>
          <p:cNvSpPr/>
          <p:nvPr/>
        </p:nvSpPr>
        <p:spPr>
          <a:xfrm>
            <a:off x="774294" y="4021758"/>
            <a:ext cx="151568" cy="151647"/>
          </a:xfrm>
          <a:custGeom>
            <a:avLst/>
            <a:gdLst>
              <a:gd name="connsiteX0" fmla="*/ 8749 w 151647"/>
              <a:gd name="connsiteY0" fmla="*/ 8749 h 151647"/>
              <a:gd name="connsiteX1" fmla="*/ 151414 w 151647"/>
              <a:gd name="connsiteY1" fmla="*/ 8749 h 151647"/>
              <a:gd name="connsiteX2" fmla="*/ 151414 w 151647"/>
              <a:gd name="connsiteY2" fmla="*/ 151414 h 151647"/>
              <a:gd name="connsiteX3" fmla="*/ 8749 w 151647"/>
              <a:gd name="connsiteY3" fmla="*/ 151414 h 151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647" h="151647">
                <a:moveTo>
                  <a:pt x="8749" y="8749"/>
                </a:moveTo>
                <a:lnTo>
                  <a:pt x="151414" y="8749"/>
                </a:lnTo>
                <a:lnTo>
                  <a:pt x="151414" y="151414"/>
                </a:lnTo>
                <a:lnTo>
                  <a:pt x="8749" y="151414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 sz="1798" dirty="0"/>
          </a:p>
        </p:txBody>
      </p: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D65680A1-86D1-44C2-AA38-0DF5735F1F26}"/>
              </a:ext>
            </a:extLst>
          </p:cNvPr>
          <p:cNvSpPr/>
          <p:nvPr/>
        </p:nvSpPr>
        <p:spPr>
          <a:xfrm>
            <a:off x="1059360" y="4021758"/>
            <a:ext cx="151568" cy="151647"/>
          </a:xfrm>
          <a:custGeom>
            <a:avLst/>
            <a:gdLst>
              <a:gd name="connsiteX0" fmla="*/ 8749 w 151647"/>
              <a:gd name="connsiteY0" fmla="*/ 8749 h 151647"/>
              <a:gd name="connsiteX1" fmla="*/ 151414 w 151647"/>
              <a:gd name="connsiteY1" fmla="*/ 8749 h 151647"/>
              <a:gd name="connsiteX2" fmla="*/ 151414 w 151647"/>
              <a:gd name="connsiteY2" fmla="*/ 151414 h 151647"/>
              <a:gd name="connsiteX3" fmla="*/ 8749 w 151647"/>
              <a:gd name="connsiteY3" fmla="*/ 151414 h 151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647" h="151647">
                <a:moveTo>
                  <a:pt x="8749" y="8749"/>
                </a:moveTo>
                <a:lnTo>
                  <a:pt x="151414" y="8749"/>
                </a:lnTo>
                <a:lnTo>
                  <a:pt x="151414" y="151414"/>
                </a:lnTo>
                <a:lnTo>
                  <a:pt x="8749" y="151414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 sz="1798" dirty="0"/>
          </a:p>
        </p:txBody>
      </p:sp>
      <p:grpSp>
        <p:nvGrpSpPr>
          <p:cNvPr id="76" name="Group 4">
            <a:extLst>
              <a:ext uri="{FF2B5EF4-FFF2-40B4-BE49-F238E27FC236}">
                <a16:creationId xmlns:a16="http://schemas.microsoft.com/office/drawing/2014/main" id="{9D60B6B0-F7ED-4B9F-A77C-632AC4EA661D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59392" y="4960938"/>
            <a:ext cx="1224912" cy="1435100"/>
            <a:chOff x="6529" y="3125"/>
            <a:chExt cx="772" cy="904"/>
          </a:xfrm>
        </p:grpSpPr>
        <p:sp>
          <p:nvSpPr>
            <p:cNvPr id="77" name="Freeform 5">
              <a:extLst>
                <a:ext uri="{FF2B5EF4-FFF2-40B4-BE49-F238E27FC236}">
                  <a16:creationId xmlns:a16="http://schemas.microsoft.com/office/drawing/2014/main" id="{CC1B45B9-64DF-4C5B-9711-FA69AD53707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/>
            </a:p>
          </p:txBody>
        </p:sp>
        <p:sp>
          <p:nvSpPr>
            <p:cNvPr id="78" name="Freeform 6">
              <a:extLst>
                <a:ext uri="{FF2B5EF4-FFF2-40B4-BE49-F238E27FC236}">
                  <a16:creationId xmlns:a16="http://schemas.microsoft.com/office/drawing/2014/main" id="{BA55CB73-EE25-43B6-9720-855E16C4B15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/>
            </a:p>
          </p:txBody>
        </p:sp>
      </p:grpSp>
    </p:spTree>
    <p:extLst>
      <p:ext uri="{BB962C8B-B14F-4D97-AF65-F5344CB8AC3E}">
        <p14:creationId xmlns:p14="http://schemas.microsoft.com/office/powerpoint/2010/main" val="168338064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2" y="294200"/>
            <a:ext cx="10972800" cy="590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Table Placeholder 4">
            <a:extLst>
              <a:ext uri="{FF2B5EF4-FFF2-40B4-BE49-F238E27FC236}">
                <a16:creationId xmlns:a16="http://schemas.microsoft.com/office/drawing/2014/main" id="{95A2BE92-ABF7-4A82-BC35-00F28F500FED}"/>
              </a:ext>
            </a:extLst>
          </p:cNvPr>
          <p:cNvSpPr>
            <a:spLocks noGrp="1"/>
          </p:cNvSpPr>
          <p:nvPr>
            <p:ph type="tbl" sz="quarter" idx="10"/>
          </p:nvPr>
        </p:nvSpPr>
        <p:spPr>
          <a:xfrm>
            <a:off x="609600" y="1137923"/>
            <a:ext cx="4954924" cy="4267457"/>
          </a:xfrm>
        </p:spPr>
        <p:txBody>
          <a:bodyPr/>
          <a:lstStyle/>
          <a:p>
            <a:endParaRPr lang="en-IN" dirty="0"/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DA81FCAA-64D2-4A9C-B16E-9C4E3BB431B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129749" y="3813288"/>
            <a:ext cx="3087667" cy="180000"/>
          </a:xfrm>
        </p:spPr>
        <p:txBody>
          <a:bodyPr/>
          <a:lstStyle>
            <a:lvl1pPr marL="0" indent="0">
              <a:buNone/>
              <a:defRPr sz="1198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Name Surname</a:t>
            </a:r>
            <a:endParaRPr lang="en-GB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03CDC117-35F2-47B2-85B2-29CB8EE7E09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129749" y="4055931"/>
            <a:ext cx="3087667" cy="180000"/>
          </a:xfrm>
        </p:spPr>
        <p:txBody>
          <a:bodyPr/>
          <a:lstStyle>
            <a:lvl1pPr marL="0" indent="0">
              <a:buNone/>
              <a:defRPr sz="1198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Job Title to go here</a:t>
            </a:r>
            <a:endParaRPr lang="en-GB"/>
          </a:p>
        </p:txBody>
      </p:sp>
      <p:sp>
        <p:nvSpPr>
          <p:cNvPr id="14" name="Picture Placeholder 19">
            <a:extLst>
              <a:ext uri="{FF2B5EF4-FFF2-40B4-BE49-F238E27FC236}">
                <a16:creationId xmlns:a16="http://schemas.microsoft.com/office/drawing/2014/main" id="{00A15EA9-2372-4E06-83C2-1E13AB1FA62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19821" y="3578084"/>
            <a:ext cx="778554" cy="778959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9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DB83DAE-9FEB-4E9C-85BA-A34BD239275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19821" y="1137923"/>
            <a:ext cx="5462580" cy="37380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Key Takeaways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C1ABE303-7041-4312-AD03-0E872AEF99B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119821" y="1635009"/>
            <a:ext cx="5462580" cy="1611554"/>
          </a:xfrm>
        </p:spPr>
        <p:txBody>
          <a:bodyPr/>
          <a:lstStyle>
            <a:lvl1pPr marL="0" indent="0">
              <a:buNone/>
              <a:defRPr sz="1598"/>
            </a:lvl1pPr>
          </a:lstStyle>
          <a:p>
            <a:pPr lvl="0"/>
            <a:r>
              <a:rPr lang="en-US"/>
              <a:t>Content EY Interstate Light, 16pt, Lorem ipsum dolor, 12pt, </a:t>
            </a:r>
            <a:r>
              <a:rPr lang="en-US" err="1"/>
              <a:t>Utinam</a:t>
            </a:r>
            <a:r>
              <a:rPr lang="en-US"/>
              <a:t>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abhorreant</a:t>
            </a:r>
            <a:r>
              <a:rPr lang="en-US"/>
              <a:t> </a:t>
            </a:r>
            <a:r>
              <a:rPr lang="en-US" err="1"/>
              <a:t>sead</a:t>
            </a:r>
            <a:r>
              <a:rPr lang="en-US"/>
              <a:t>. </a:t>
            </a:r>
            <a:r>
              <a:rPr lang="en-US" err="1"/>
              <a:t>Putant</a:t>
            </a:r>
            <a:r>
              <a:rPr lang="en-US"/>
              <a:t> </a:t>
            </a:r>
            <a:r>
              <a:rPr lang="en-US" err="1"/>
              <a:t>probatus</a:t>
            </a:r>
            <a:r>
              <a:rPr lang="en-US"/>
              <a:t> id vis, ad his </a:t>
            </a:r>
            <a:r>
              <a:rPr lang="en-US" err="1"/>
              <a:t>meis</a:t>
            </a:r>
            <a:r>
              <a:rPr lang="en-US"/>
              <a:t> </a:t>
            </a:r>
            <a:r>
              <a:rPr lang="en-US" err="1"/>
              <a:t>habemus</a:t>
            </a:r>
            <a:r>
              <a:rPr lang="en-US"/>
              <a:t> </a:t>
            </a:r>
            <a:r>
              <a:rPr lang="en-US" err="1"/>
              <a:t>repudiare</a:t>
            </a:r>
            <a:r>
              <a:rPr lang="en-US"/>
              <a:t>, has an </a:t>
            </a:r>
            <a:r>
              <a:rPr lang="en-US" err="1"/>
              <a:t>pericula</a:t>
            </a:r>
            <a:r>
              <a:rPr lang="en-US"/>
              <a:t> </a:t>
            </a:r>
            <a:r>
              <a:rPr lang="en-US" err="1"/>
              <a:t>tractatos</a:t>
            </a:r>
            <a:r>
              <a:rPr lang="en-US"/>
              <a:t>. </a:t>
            </a:r>
            <a:r>
              <a:rPr lang="en-US" err="1"/>
              <a:t>Nec</a:t>
            </a:r>
            <a:r>
              <a:rPr lang="en-US"/>
              <a:t> </a:t>
            </a:r>
            <a:r>
              <a:rPr lang="en-US" err="1"/>
              <a:t>debitis</a:t>
            </a:r>
            <a:r>
              <a:rPr lang="en-US"/>
              <a:t> </a:t>
            </a:r>
            <a:r>
              <a:rPr lang="en-US" err="1"/>
              <a:t>dissentias</a:t>
            </a:r>
            <a:r>
              <a:rPr lang="en-US"/>
              <a:t> ad. </a:t>
            </a:r>
            <a:r>
              <a:rPr lang="en-US" err="1"/>
              <a:t>Patrioque</a:t>
            </a:r>
            <a:r>
              <a:rPr lang="en-US"/>
              <a:t> </a:t>
            </a:r>
            <a:r>
              <a:rPr lang="en-US" err="1"/>
              <a:t>voluptatum</a:t>
            </a:r>
            <a:r>
              <a:rPr lang="en-US"/>
              <a:t> </a:t>
            </a:r>
            <a:r>
              <a:rPr lang="en-US" err="1"/>
              <a:t>sed</a:t>
            </a:r>
            <a:r>
              <a:rPr lang="en-US"/>
              <a:t> ex, id </a:t>
            </a:r>
            <a:r>
              <a:rPr lang="en-US" err="1"/>
              <a:t>admodum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20" name="Line 10">
            <a:extLst>
              <a:ext uri="{FF2B5EF4-FFF2-40B4-BE49-F238E27FC236}">
                <a16:creationId xmlns:a16="http://schemas.microsoft.com/office/drawing/2014/main" id="{B69EB865-6B86-419B-923C-F7DDC68C9C66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601" y="907750"/>
            <a:ext cx="10974284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8" noProof="0" dirty="0">
              <a:solidFill>
                <a:schemeClr val="bg1"/>
              </a:solidFill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A661012-3455-4F88-94AD-14869D2D5405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86AD1DFC-053D-4B86-B715-9C611EC38679}" type="datetime3">
              <a:rPr lang="en-US" smtClean="0"/>
              <a:t>5 August 2022</a:t>
            </a:fld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21FBA45-9D10-4CA1-B5FE-DF08BC4B79DE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IN" dirty="0"/>
              <a:t>Presentation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11C45D8-BA71-4A92-82B2-C059AF6B6702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13833980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628F8CDB-776D-4811-AE2C-217236ECDEC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223938" y="0"/>
            <a:ext cx="5968062" cy="6858000"/>
          </a:xfrm>
        </p:spPr>
        <p:txBody>
          <a:bodyPr/>
          <a:lstStyle/>
          <a:p>
            <a:endParaRPr lang="en-IN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26E96BA-E9E4-496B-8CA5-6DA27B8AD7E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69513" y="2578743"/>
            <a:ext cx="4535597" cy="1055708"/>
          </a:xfrm>
        </p:spPr>
        <p:txBody>
          <a:bodyPr/>
          <a:lstStyle>
            <a:lvl1pPr marL="0" indent="0">
              <a:buNone/>
              <a:defRPr sz="2999"/>
            </a:lvl1pPr>
          </a:lstStyle>
          <a:p>
            <a:pPr lvl="0"/>
            <a:r>
              <a:rPr lang="en-IN" dirty="0"/>
              <a:t>Chapter Title</a:t>
            </a:r>
          </a:p>
          <a:p>
            <a:pPr lvl="0"/>
            <a:r>
              <a:rPr lang="en-IN" dirty="0"/>
              <a:t>EY Interstate Light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1173C8A3-BA2F-497B-A214-45B02D73AF2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9513" y="3840384"/>
            <a:ext cx="4535597" cy="1055708"/>
          </a:xfrm>
        </p:spPr>
        <p:txBody>
          <a:bodyPr/>
          <a:lstStyle>
            <a:lvl1pPr marL="0" indent="0">
              <a:buNone/>
              <a:defRPr sz="1599"/>
            </a:lvl1pPr>
          </a:lstStyle>
          <a:p>
            <a:pPr lvl="0"/>
            <a:r>
              <a:rPr lang="en-IN" dirty="0"/>
              <a:t>text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3EABBDA-A77F-45A2-9996-90CD0EE5C388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1057AB47-DE48-402E-B5B7-CB9A0D0B7D44}" type="datetime3">
              <a:rPr lang="en-US" smtClean="0"/>
              <a:t>5 August 2022</a:t>
            </a:fld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F883B36-3BA3-42B4-A811-65C0AF01A86F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IN"/>
              <a:t>Presentation title</a:t>
            </a:r>
            <a:endParaRPr lang="en-IN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9D9C98C-F30E-45BC-A1D9-67DB57119DCE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785458114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2" y="294200"/>
            <a:ext cx="10972800" cy="590400"/>
          </a:xfrm>
        </p:spPr>
        <p:txBody>
          <a:bodyPr/>
          <a:lstStyle>
            <a:lvl1pPr>
              <a:defRPr sz="2398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2" name="Line 10">
            <a:extLst>
              <a:ext uri="{FF2B5EF4-FFF2-40B4-BE49-F238E27FC236}">
                <a16:creationId xmlns:a16="http://schemas.microsoft.com/office/drawing/2014/main" id="{DA9741B6-D337-4A18-8ECB-FB21A6953E44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601" y="907750"/>
            <a:ext cx="10974284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8" noProof="0" dirty="0">
              <a:solidFill>
                <a:schemeClr val="bg1"/>
              </a:solidFill>
            </a:endParaRP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90356C28-34FC-48BD-943E-82B485EB0C4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2" y="1137920"/>
            <a:ext cx="10972800" cy="49479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9369FE1-2141-4E78-8B01-84E57EEFE06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D63E5D-D4D4-47A0-B3D2-9C348E301267}" type="datetime3">
              <a:rPr lang="en-US" smtClean="0"/>
              <a:t>5 August 2022</a:t>
            </a:fld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14482B3-B946-42D6-98EA-72EE48EEB8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 dirty="0"/>
              <a:t>Presentation tit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72DD5AC-66F0-425C-A9DE-0484513193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32200645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80593A0-4211-460E-B6CF-FE2D9CE6D9C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194853" y="1"/>
            <a:ext cx="3997149" cy="6156104"/>
          </a:xfrm>
        </p:spPr>
        <p:txBody>
          <a:bodyPr/>
          <a:lstStyle/>
          <a:p>
            <a:endParaRPr lang="en-IN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94200"/>
            <a:ext cx="7440547" cy="590400"/>
          </a:xfrm>
        </p:spPr>
        <p:txBody>
          <a:bodyPr/>
          <a:lstStyle>
            <a:lvl1pPr>
              <a:defRPr sz="2398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09601" y="1137921"/>
            <a:ext cx="7295842" cy="873760"/>
          </a:xfrm>
        </p:spPr>
        <p:txBody>
          <a:bodyPr/>
          <a:lstStyle>
            <a:lvl1pPr marL="0" indent="0">
              <a:buNone/>
              <a:defRPr sz="1798">
                <a:solidFill>
                  <a:schemeClr val="bg1"/>
                </a:solidFill>
              </a:defRPr>
            </a:lvl1pPr>
            <a:lvl2pPr marL="356260" indent="0">
              <a:buNone/>
              <a:defRPr sz="1798">
                <a:solidFill>
                  <a:schemeClr val="bg1"/>
                </a:solidFill>
              </a:defRPr>
            </a:lvl2pPr>
            <a:lvl3pPr marL="712519" indent="0">
              <a:buNone/>
              <a:defRPr sz="1598">
                <a:solidFill>
                  <a:schemeClr val="bg1"/>
                </a:solidFill>
              </a:defRPr>
            </a:lvl3pPr>
            <a:lvl4pPr marL="1068778" indent="0">
              <a:buNone/>
              <a:defRPr sz="1398">
                <a:solidFill>
                  <a:schemeClr val="bg1"/>
                </a:solidFill>
              </a:defRPr>
            </a:lvl4pPr>
            <a:lvl5pPr marL="1425038" indent="0">
              <a:buNone/>
              <a:defRPr sz="1198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78D3272-120F-430D-AFB5-E93227EEEAAF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609602" y="2311401"/>
            <a:ext cx="3578253" cy="3844704"/>
          </a:xfrm>
        </p:spPr>
        <p:txBody>
          <a:bodyPr numCol="1"/>
          <a:lstStyle>
            <a:lvl1pPr marL="0" indent="0">
              <a:buNone/>
              <a:defRPr sz="1398">
                <a:solidFill>
                  <a:schemeClr val="bg1"/>
                </a:solidFill>
              </a:defRPr>
            </a:lvl1pPr>
            <a:lvl2pPr marL="356260" indent="0">
              <a:buNone/>
              <a:defRPr sz="1798">
                <a:solidFill>
                  <a:schemeClr val="bg1"/>
                </a:solidFill>
              </a:defRPr>
            </a:lvl2pPr>
            <a:lvl3pPr marL="712519" indent="0">
              <a:buNone/>
              <a:defRPr sz="1598">
                <a:solidFill>
                  <a:schemeClr val="bg1"/>
                </a:solidFill>
              </a:defRPr>
            </a:lvl3pPr>
            <a:lvl4pPr marL="1068778" indent="0">
              <a:buNone/>
              <a:defRPr sz="1398">
                <a:solidFill>
                  <a:schemeClr val="bg1"/>
                </a:solidFill>
              </a:defRPr>
            </a:lvl4pPr>
            <a:lvl5pPr marL="1425038" indent="0">
              <a:buNone/>
              <a:defRPr sz="1198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0C7BD71A-882B-40FB-A05F-48ECC69FF73D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4327191" y="2311404"/>
            <a:ext cx="3578253" cy="1254759"/>
          </a:xfrm>
        </p:spPr>
        <p:txBody>
          <a:bodyPr numCol="1"/>
          <a:lstStyle>
            <a:lvl1pPr marL="0" indent="0">
              <a:buNone/>
              <a:defRPr sz="1398">
                <a:solidFill>
                  <a:schemeClr val="bg1"/>
                </a:solidFill>
              </a:defRPr>
            </a:lvl1pPr>
            <a:lvl2pPr marL="356260" indent="0">
              <a:buNone/>
              <a:defRPr sz="1798">
                <a:solidFill>
                  <a:schemeClr val="bg1"/>
                </a:solidFill>
              </a:defRPr>
            </a:lvl2pPr>
            <a:lvl3pPr marL="712519" indent="0">
              <a:buNone/>
              <a:defRPr sz="1598">
                <a:solidFill>
                  <a:schemeClr val="bg1"/>
                </a:solidFill>
              </a:defRPr>
            </a:lvl3pPr>
            <a:lvl4pPr marL="1068778" indent="0">
              <a:buNone/>
              <a:defRPr sz="1398">
                <a:solidFill>
                  <a:schemeClr val="bg1"/>
                </a:solidFill>
              </a:defRPr>
            </a:lvl4pPr>
            <a:lvl5pPr marL="1425038" indent="0">
              <a:buNone/>
              <a:defRPr sz="1198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D87D58C8-1517-42AA-8B2A-E449A3F6F028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327191" y="4236721"/>
            <a:ext cx="3578253" cy="1944160"/>
          </a:xfrm>
        </p:spPr>
        <p:txBody>
          <a:bodyPr numCol="1"/>
          <a:lstStyle>
            <a:lvl1pPr marL="0" indent="0">
              <a:buNone/>
              <a:defRPr sz="1798">
                <a:solidFill>
                  <a:schemeClr val="bg1"/>
                </a:solidFill>
                <a:latin typeface="Georgia" panose="02040502050405020303" pitchFamily="18" charset="0"/>
              </a:defRPr>
            </a:lvl1pPr>
            <a:lvl2pPr marL="356260" indent="0">
              <a:buNone/>
              <a:defRPr sz="1798">
                <a:solidFill>
                  <a:schemeClr val="bg1"/>
                </a:solidFill>
              </a:defRPr>
            </a:lvl2pPr>
            <a:lvl3pPr marL="712519" indent="0">
              <a:buNone/>
              <a:defRPr sz="1598">
                <a:solidFill>
                  <a:schemeClr val="bg1"/>
                </a:solidFill>
              </a:defRPr>
            </a:lvl3pPr>
            <a:lvl4pPr marL="1068778" indent="0">
              <a:buNone/>
              <a:defRPr sz="1398">
                <a:solidFill>
                  <a:schemeClr val="bg1"/>
                </a:solidFill>
              </a:defRPr>
            </a:lvl4pPr>
            <a:lvl5pPr marL="1425038" indent="0">
              <a:buNone/>
              <a:defRPr sz="1198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Quote</a:t>
            </a:r>
          </a:p>
        </p:txBody>
      </p:sp>
      <p:sp>
        <p:nvSpPr>
          <p:cNvPr id="23" name="Line 10">
            <a:extLst>
              <a:ext uri="{FF2B5EF4-FFF2-40B4-BE49-F238E27FC236}">
                <a16:creationId xmlns:a16="http://schemas.microsoft.com/office/drawing/2014/main" id="{E820DC59-E206-4DC0-9012-584F8EBAF730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602" y="907750"/>
            <a:ext cx="7719833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8" noProof="0" dirty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073C7F4-1F66-48B4-8A7F-96C64986A204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0E49E8CE-5235-4494-B0FD-9ECC8206E96E}" type="datetime3">
              <a:rPr lang="en-US" smtClean="0"/>
              <a:t>5 August 2022</a:t>
            </a:fld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28F1198-1F5C-4C8B-A7E4-2658430FBCF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IN" dirty="0"/>
              <a:t>Presentation titl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6EA2D1B-5973-42E9-87B4-02C40C0EF1B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082682096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80593A0-4211-460E-B6CF-FE2D9CE6D9C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" y="3"/>
            <a:ext cx="2383219" cy="6857999"/>
          </a:xfrm>
        </p:spPr>
        <p:txBody>
          <a:bodyPr/>
          <a:lstStyle/>
          <a:p>
            <a:endParaRPr lang="en-IN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3891" y="294200"/>
            <a:ext cx="8887371" cy="590400"/>
          </a:xfrm>
        </p:spPr>
        <p:txBody>
          <a:bodyPr/>
          <a:lstStyle>
            <a:lvl1pPr>
              <a:defRPr sz="2398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693890" y="1137921"/>
            <a:ext cx="2741454" cy="5018184"/>
          </a:xfrm>
        </p:spPr>
        <p:txBody>
          <a:bodyPr/>
          <a:lstStyle>
            <a:lvl1pPr marL="0" indent="0">
              <a:buNone/>
              <a:defRPr sz="1798">
                <a:solidFill>
                  <a:schemeClr val="bg1"/>
                </a:solidFill>
              </a:defRPr>
            </a:lvl1pPr>
            <a:lvl2pPr marL="356260" indent="0">
              <a:buNone/>
              <a:defRPr sz="1798">
                <a:solidFill>
                  <a:schemeClr val="bg1"/>
                </a:solidFill>
              </a:defRPr>
            </a:lvl2pPr>
            <a:lvl3pPr marL="712519" indent="0">
              <a:buNone/>
              <a:defRPr sz="1598">
                <a:solidFill>
                  <a:schemeClr val="bg1"/>
                </a:solidFill>
              </a:defRPr>
            </a:lvl3pPr>
            <a:lvl4pPr marL="1068778" indent="0">
              <a:buNone/>
              <a:defRPr sz="1398">
                <a:solidFill>
                  <a:schemeClr val="bg1"/>
                </a:solidFill>
              </a:defRPr>
            </a:lvl4pPr>
            <a:lvl5pPr marL="1425038" indent="0">
              <a:buNone/>
              <a:defRPr sz="1198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78D3272-120F-430D-AFB5-E93227EEEAAF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5724102" y="1137921"/>
            <a:ext cx="2802382" cy="5018184"/>
          </a:xfrm>
        </p:spPr>
        <p:txBody>
          <a:bodyPr numCol="1"/>
          <a:lstStyle>
            <a:lvl1pPr marL="0" indent="0">
              <a:buNone/>
              <a:defRPr sz="1398">
                <a:solidFill>
                  <a:schemeClr val="bg1"/>
                </a:solidFill>
              </a:defRPr>
            </a:lvl1pPr>
            <a:lvl2pPr marL="356260" indent="0">
              <a:buNone/>
              <a:defRPr sz="1798">
                <a:solidFill>
                  <a:schemeClr val="bg1"/>
                </a:solidFill>
              </a:defRPr>
            </a:lvl2pPr>
            <a:lvl3pPr marL="712519" indent="0">
              <a:buNone/>
              <a:defRPr sz="1598">
                <a:solidFill>
                  <a:schemeClr val="bg1"/>
                </a:solidFill>
              </a:defRPr>
            </a:lvl3pPr>
            <a:lvl4pPr marL="1068778" indent="0">
              <a:buNone/>
              <a:defRPr sz="1398">
                <a:solidFill>
                  <a:schemeClr val="bg1"/>
                </a:solidFill>
              </a:defRPr>
            </a:lvl4pPr>
            <a:lvl5pPr marL="1425038" indent="0">
              <a:buNone/>
              <a:defRPr sz="1198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6FF4A6F8-D9C6-4FEE-9324-5200D308BB1F}"/>
              </a:ext>
            </a:extLst>
          </p:cNvPr>
          <p:cNvSpPr>
            <a:spLocks noGrp="1"/>
          </p:cNvSpPr>
          <p:nvPr userDrawn="1">
            <p:ph idx="12" hasCustomPrompt="1"/>
          </p:nvPr>
        </p:nvSpPr>
        <p:spPr>
          <a:xfrm>
            <a:off x="8815242" y="1137924"/>
            <a:ext cx="2767159" cy="2796151"/>
          </a:xfrm>
        </p:spPr>
        <p:txBody>
          <a:bodyPr numCol="1"/>
          <a:lstStyle>
            <a:lvl1pPr marL="0" indent="0">
              <a:buNone/>
              <a:defRPr sz="1398">
                <a:solidFill>
                  <a:schemeClr val="bg1"/>
                </a:solidFill>
              </a:defRPr>
            </a:lvl1pPr>
            <a:lvl2pPr marL="356260" indent="0">
              <a:buNone/>
              <a:defRPr sz="1798">
                <a:solidFill>
                  <a:schemeClr val="bg1"/>
                </a:solidFill>
              </a:defRPr>
            </a:lvl2pPr>
            <a:lvl3pPr marL="712519" indent="0">
              <a:buNone/>
              <a:defRPr sz="1598">
                <a:solidFill>
                  <a:schemeClr val="bg1"/>
                </a:solidFill>
              </a:defRPr>
            </a:lvl3pPr>
            <a:lvl4pPr marL="1068778" indent="0">
              <a:buNone/>
              <a:defRPr sz="1398">
                <a:solidFill>
                  <a:schemeClr val="bg1"/>
                </a:solidFill>
              </a:defRPr>
            </a:lvl4pPr>
            <a:lvl5pPr marL="1425038" indent="0">
              <a:buNone/>
              <a:defRPr sz="1198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9" name="Line 10">
            <a:extLst>
              <a:ext uri="{FF2B5EF4-FFF2-40B4-BE49-F238E27FC236}">
                <a16:creationId xmlns:a16="http://schemas.microsoft.com/office/drawing/2014/main" id="{B63A7CBA-3151-452E-BD2F-D3E65CE1595F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2693891" y="907750"/>
            <a:ext cx="8887371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8" noProof="0" dirty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18571DE-086F-444C-976E-D386CED54CF9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CFB1ADCF-7548-48F2-B4E3-18B2C0EE8460}" type="datetime3">
              <a:rPr lang="en-US" smtClean="0"/>
              <a:t>5 August 2022</a:t>
            </a:fld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5178D09-F6E9-4981-B6E0-209D099207E6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IN" dirty="0"/>
              <a:t>Presentation titl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AE170B6-45D3-4E0A-A799-1F973EAAC5E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042270078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11">
            <a:extLst>
              <a:ext uri="{FF2B5EF4-FFF2-40B4-BE49-F238E27FC236}">
                <a16:creationId xmlns:a16="http://schemas.microsoft.com/office/drawing/2014/main" id="{8F291EB0-15F5-4E9A-A38B-CE3AC1452E21}"/>
              </a:ext>
            </a:extLst>
          </p:cNvPr>
          <p:cNvSpPr txBox="1">
            <a:spLocks/>
          </p:cNvSpPr>
          <p:nvPr userDrawn="1"/>
        </p:nvSpPr>
        <p:spPr>
          <a:xfrm>
            <a:off x="477102" y="1488927"/>
            <a:ext cx="2337171" cy="858838"/>
          </a:xfrm>
          <a:prstGeom prst="rect">
            <a:avLst/>
          </a:prstGeom>
        </p:spPr>
        <p:txBody>
          <a:bodyPr/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11188" dirty="0">
                <a:solidFill>
                  <a:schemeClr val="tx2"/>
                </a:solidFill>
                <a:latin typeface="Georgia" panose="02040502050405020303" pitchFamily="18" charset="0"/>
              </a:rPr>
              <a:t>“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B5D2AC0-B4F7-4455-9AE0-201966050A6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13084" y="2526765"/>
            <a:ext cx="5289245" cy="1800000"/>
          </a:xfrm>
        </p:spPr>
        <p:txBody>
          <a:bodyPr lIns="90000" tIns="46800" rIns="90000" bIns="46800"/>
          <a:lstStyle>
            <a:lvl1pPr marL="0" indent="0">
              <a:buNone/>
              <a:defRPr lang="en-US" sz="2798" dirty="0" smtClean="0">
                <a:latin typeface="Georgia" panose="02040502050405020303" pitchFamily="18" charset="0"/>
              </a:defRPr>
            </a:lvl1pPr>
          </a:lstStyle>
          <a:p>
            <a:pPr marL="356260" lvl="0" indent="-356260">
              <a:spcBef>
                <a:spcPts val="0"/>
              </a:spcBef>
            </a:pPr>
            <a:r>
              <a:rPr lang="en-US"/>
              <a:t>Edit Master text styles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F1BA83A2-78F0-4F7E-836B-9B4B87820F9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3084" y="4632765"/>
            <a:ext cx="5289245" cy="316838"/>
          </a:xfrm>
        </p:spPr>
        <p:txBody>
          <a:bodyPr lIns="90000" tIns="46800" rIns="90000" bIns="46800"/>
          <a:lstStyle>
            <a:lvl1pPr marL="0" indent="0" algn="l" defTabSz="913486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70000"/>
              <a:buFont typeface="Arial" pitchFamily="34" charset="0"/>
              <a:buNone/>
              <a:defRPr lang="en-US" sz="1598" kern="1200" dirty="0" smtClean="0">
                <a:solidFill>
                  <a:srgbClr val="2E2E38"/>
                </a:solidFill>
                <a:latin typeface="+mn-lt"/>
                <a:ea typeface="+mn-ea"/>
                <a:cs typeface="+mn-cs"/>
              </a:defRPr>
            </a:lvl1pPr>
            <a:lvl2pPr marL="356260" indent="0">
              <a:buNone/>
              <a:defRPr lang="en-US" sz="1998" smtClean="0">
                <a:latin typeface="+mn-lt"/>
              </a:defRPr>
            </a:lvl2pPr>
            <a:lvl3pPr>
              <a:defRPr lang="en-US" sz="1798" smtClean="0">
                <a:latin typeface="+mn-lt"/>
              </a:defRPr>
            </a:lvl3pPr>
            <a:lvl4pPr>
              <a:defRPr lang="en-US" sz="1598" smtClean="0">
                <a:latin typeface="+mn-lt"/>
              </a:defRPr>
            </a:lvl4pPr>
            <a:lvl5pPr>
              <a:defRPr lang="en-IN" sz="1598">
                <a:latin typeface="+mn-lt"/>
              </a:defRPr>
            </a:lvl5pPr>
          </a:lstStyle>
          <a:p>
            <a:pPr marL="0" lvl="0" indent="0">
              <a:spcBef>
                <a:spcPts val="0"/>
              </a:spcBef>
              <a:buNone/>
            </a:pPr>
            <a:r>
              <a:rPr lang="en-US"/>
              <a:t>Name Surname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034CE9DD-CE12-4D9F-8FD6-A2522F36C8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13084" y="4971442"/>
            <a:ext cx="5289245" cy="316838"/>
          </a:xfrm>
        </p:spPr>
        <p:txBody>
          <a:bodyPr lIns="90000" tIns="46800" rIns="90000" bIns="46800"/>
          <a:lstStyle>
            <a:lvl1pPr marL="0" indent="0" algn="l" defTabSz="913486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70000"/>
              <a:buFont typeface="Arial" pitchFamily="34" charset="0"/>
              <a:buNone/>
              <a:defRPr lang="en-US" sz="1598" kern="1200" dirty="0" smtClean="0">
                <a:solidFill>
                  <a:srgbClr val="2E2E38"/>
                </a:solidFill>
                <a:latin typeface="+mn-lt"/>
                <a:ea typeface="+mn-ea"/>
                <a:cs typeface="+mn-cs"/>
              </a:defRPr>
            </a:lvl1pPr>
            <a:lvl2pPr marL="356260" indent="0">
              <a:buNone/>
              <a:defRPr lang="en-US" sz="1998" smtClean="0">
                <a:latin typeface="+mn-lt"/>
              </a:defRPr>
            </a:lvl2pPr>
            <a:lvl3pPr>
              <a:defRPr lang="en-US" sz="1798" smtClean="0">
                <a:latin typeface="+mn-lt"/>
              </a:defRPr>
            </a:lvl3pPr>
            <a:lvl4pPr>
              <a:defRPr lang="en-US" sz="1598" smtClean="0">
                <a:latin typeface="+mn-lt"/>
              </a:defRPr>
            </a:lvl4pPr>
            <a:lvl5pPr>
              <a:defRPr lang="en-IN" sz="1598">
                <a:latin typeface="+mn-lt"/>
              </a:defRPr>
            </a:lvl5pPr>
          </a:lstStyle>
          <a:p>
            <a:pPr marL="0" lvl="0" indent="0">
              <a:spcBef>
                <a:spcPts val="0"/>
              </a:spcBef>
              <a:buNone/>
            </a:pPr>
            <a:r>
              <a:rPr lang="en-US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2159523097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E28D7EA5-A532-4D8B-9984-8F3D1FEA98D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451378" y="2060235"/>
            <a:ext cx="5289245" cy="3025522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lang="en-US" sz="2798" dirty="0" smtClean="0">
                <a:latin typeface="Georgia" panose="02040502050405020303" pitchFamily="18" charset="0"/>
              </a:defRPr>
            </a:lvl1pPr>
          </a:lstStyle>
          <a:p>
            <a:pPr marL="356260" lvl="0" indent="-356260" algn="ctr">
              <a:spcBef>
                <a:spcPts val="0"/>
              </a:spcBef>
            </a:pPr>
            <a:r>
              <a:rPr lang="en-US"/>
              <a:t>Edit Master text styles</a:t>
            </a:r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9F9B9C3C-16F2-40B2-A460-0480520ECF8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451378" y="5506678"/>
            <a:ext cx="5289245" cy="316838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lang="en-US" sz="1598" dirty="0" smtClean="0">
                <a:solidFill>
                  <a:srgbClr val="2E2E38"/>
                </a:solidFill>
                <a:latin typeface="+mn-lt"/>
              </a:defRPr>
            </a:lvl1pPr>
          </a:lstStyle>
          <a:p>
            <a:pPr marL="356260" lvl="0" indent="-356260" algn="ctr">
              <a:spcBef>
                <a:spcPts val="0"/>
              </a:spcBef>
              <a:spcAft>
                <a:spcPts val="600"/>
              </a:spcAft>
            </a:pPr>
            <a:r>
              <a:rPr lang="en-US"/>
              <a:t>Name Surname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8E04541C-CC5D-4455-8271-73223AE0A88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451378" y="5818717"/>
            <a:ext cx="5289245" cy="316838"/>
          </a:xfrm>
        </p:spPr>
        <p:txBody>
          <a:bodyPr vert="horz" lIns="0" tIns="0" rIns="0" bIns="0" rtlCol="0" anchor="t" anchorCtr="0">
            <a:noAutofit/>
          </a:bodyPr>
          <a:lstStyle>
            <a:lvl1pPr marL="0" indent="0" algn="ctr">
              <a:buNone/>
              <a:defRPr lang="en-US" sz="1598" dirty="0" smtClean="0">
                <a:solidFill>
                  <a:srgbClr val="2E2E38"/>
                </a:solidFill>
                <a:latin typeface="+mn-lt"/>
              </a:defRPr>
            </a:lvl1pPr>
          </a:lstStyle>
          <a:p>
            <a:pPr marL="356260" lvl="0" indent="-356260" algn="ctr">
              <a:spcBef>
                <a:spcPts val="0"/>
              </a:spcBef>
              <a:spcAft>
                <a:spcPts val="600"/>
              </a:spcAft>
            </a:pPr>
            <a:r>
              <a:rPr lang="en-US"/>
              <a:t>Job Title</a:t>
            </a:r>
          </a:p>
        </p:txBody>
      </p:sp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FBD672D3-B116-471A-8511-D80D5D920D93}"/>
              </a:ext>
            </a:extLst>
          </p:cNvPr>
          <p:cNvSpPr txBox="1">
            <a:spLocks/>
          </p:cNvSpPr>
          <p:nvPr userDrawn="1"/>
        </p:nvSpPr>
        <p:spPr>
          <a:xfrm>
            <a:off x="4927415" y="979790"/>
            <a:ext cx="2337171" cy="8826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GB" sz="11188" dirty="0">
                <a:solidFill>
                  <a:schemeClr val="tx2"/>
                </a:solidFill>
                <a:latin typeface="Georgia" panose="02040502050405020303" pitchFamily="18" charset="0"/>
              </a:rPr>
              <a:t>“ </a:t>
            </a:r>
          </a:p>
        </p:txBody>
      </p:sp>
    </p:spTree>
    <p:extLst>
      <p:ext uri="{BB962C8B-B14F-4D97-AF65-F5344CB8AC3E}">
        <p14:creationId xmlns:p14="http://schemas.microsoft.com/office/powerpoint/2010/main" val="2446766144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24778186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ivi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2D9F631-BCA2-47E9-B382-A1254CE498E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6D9080-1DFC-4303-893C-6B8A3FEC05E8}" type="datetime3">
              <a:rPr lang="en-US" smtClean="0"/>
              <a:t>5 August 2022</a:t>
            </a:fld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C1D1872-1F65-44DE-8D43-3328C27B587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 dirty="0"/>
              <a:t>Presentation tit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06C50CF-7368-4D25-B2B5-360BA59E76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80258574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edia Placeholder 2">
            <a:extLst>
              <a:ext uri="{FF2B5EF4-FFF2-40B4-BE49-F238E27FC236}">
                <a16:creationId xmlns:a16="http://schemas.microsoft.com/office/drawing/2014/main" id="{0052CFA6-7CF5-41BD-9D94-2D0DAE108428}"/>
              </a:ext>
            </a:extLst>
          </p:cNvPr>
          <p:cNvSpPr>
            <a:spLocks noGrp="1"/>
          </p:cNvSpPr>
          <p:nvPr>
            <p:ph type="media" sz="quarter" idx="10" hasCustomPrompt="1"/>
          </p:nvPr>
        </p:nvSpPr>
        <p:spPr>
          <a:xfrm>
            <a:off x="0" y="0"/>
            <a:ext cx="12192000" cy="6858000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IN" dirty="0"/>
              <a:t>Video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943830C-23AE-48E4-B9DE-E91E6CE0B8B9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A8381BA6-C3FD-495B-9B56-A30783EC7416}" type="datetime3">
              <a:rPr lang="en-US" smtClean="0"/>
              <a:t>5 August 2022</a:t>
            </a:fld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0F742A9-BF69-4BF2-966C-3D76FC687FBA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IN" dirty="0"/>
              <a:t>Presentation tit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B65F912-EBE8-413B-A241-0FB3A540BA82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583425504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Key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37B5C6B-B98B-4A4C-A8A7-B006989B59B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7C88E1-FE33-48AD-9218-9258D62CDCC4}" type="datetime3">
              <a:rPr lang="en-US" smtClean="0"/>
              <a:t>5 August 2022</a:t>
            </a:fld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CEF6675-2050-4038-B9E1-B80DB63D73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 dirty="0"/>
              <a:t>Presentation titl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BA4D6F3-1431-4069-B814-2558466772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34099227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Focused da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897186E-D73E-46D0-965A-D83686BA73F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2FE8F4A-3FA1-4A64-AE77-2254BB85F3D2}" type="datetime3">
              <a:rPr lang="en-US" smtClean="0"/>
              <a:t>5 August 2022</a:t>
            </a:fld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DEF40EA-FE63-4D50-8C90-EC25A860C0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 dirty="0"/>
              <a:t>Presentation tit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F37420B-CF82-4784-8E9C-5C496E27C5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64834795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94200"/>
            <a:ext cx="10972800" cy="590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5" name="Table Placeholder 4">
            <a:extLst>
              <a:ext uri="{FF2B5EF4-FFF2-40B4-BE49-F238E27FC236}">
                <a16:creationId xmlns:a16="http://schemas.microsoft.com/office/drawing/2014/main" id="{95A2BE92-ABF7-4A82-BC35-00F28F500FED}"/>
              </a:ext>
            </a:extLst>
          </p:cNvPr>
          <p:cNvSpPr>
            <a:spLocks noGrp="1"/>
          </p:cNvSpPr>
          <p:nvPr>
            <p:ph type="tbl" sz="quarter" idx="10"/>
          </p:nvPr>
        </p:nvSpPr>
        <p:spPr>
          <a:xfrm>
            <a:off x="609600" y="1137921"/>
            <a:ext cx="4954924" cy="4267457"/>
          </a:xfrm>
        </p:spPr>
        <p:txBody>
          <a:bodyPr/>
          <a:lstStyle/>
          <a:p>
            <a:endParaRPr lang="en-IN"/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DA81FCAA-64D2-4A9C-B16E-9C4E3BB431B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129748" y="3813288"/>
            <a:ext cx="3087667" cy="180000"/>
          </a:xfrm>
        </p:spPr>
        <p:txBody>
          <a:bodyPr/>
          <a:lstStyle>
            <a:lvl1pPr marL="0" indent="0">
              <a:buNone/>
              <a:defRPr sz="1199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03CDC117-35F2-47B2-85B2-29CB8EE7E09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129748" y="4055931"/>
            <a:ext cx="3087667" cy="180000"/>
          </a:xfrm>
        </p:spPr>
        <p:txBody>
          <a:bodyPr/>
          <a:lstStyle>
            <a:lvl1pPr marL="0" indent="0">
              <a:buNone/>
              <a:defRPr sz="1199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Job Title to go here</a:t>
            </a:r>
            <a:endParaRPr lang="en-GB" dirty="0"/>
          </a:p>
        </p:txBody>
      </p:sp>
      <p:sp>
        <p:nvSpPr>
          <p:cNvPr id="14" name="Picture Placeholder 19">
            <a:extLst>
              <a:ext uri="{FF2B5EF4-FFF2-40B4-BE49-F238E27FC236}">
                <a16:creationId xmlns:a16="http://schemas.microsoft.com/office/drawing/2014/main" id="{00A15EA9-2372-4E06-83C2-1E13AB1FA62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19820" y="3578084"/>
            <a:ext cx="778554" cy="778959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9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DB83DAE-9FEB-4E9C-85BA-A34BD239275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19821" y="1137921"/>
            <a:ext cx="5462580" cy="37380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Key Takeaways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C1ABE303-7041-4312-AD03-0E872AEF99B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119821" y="1635009"/>
            <a:ext cx="5462580" cy="1611554"/>
          </a:xfrm>
        </p:spPr>
        <p:txBody>
          <a:bodyPr/>
          <a:lstStyle>
            <a:lvl1pPr marL="0" indent="0">
              <a:buNone/>
              <a:defRPr sz="1599"/>
            </a:lvl1pPr>
          </a:lstStyle>
          <a:p>
            <a:pPr lvl="0"/>
            <a:r>
              <a:rPr lang="en-US" dirty="0"/>
              <a:t>Content EY Interstate Light, 16pt, Lorem ipsum dolor, 12pt, </a:t>
            </a:r>
            <a:r>
              <a:rPr lang="en-US" dirty="0" err="1"/>
              <a:t>Utinam</a:t>
            </a:r>
            <a:r>
              <a:rPr lang="en-US" dirty="0"/>
              <a:t> </a:t>
            </a:r>
            <a:r>
              <a:rPr lang="en-US" dirty="0" err="1"/>
              <a:t>nonumy</a:t>
            </a:r>
            <a:r>
              <a:rPr lang="en-US" dirty="0"/>
              <a:t> </a:t>
            </a:r>
            <a:r>
              <a:rPr lang="en-US" dirty="0" err="1"/>
              <a:t>abhorreant</a:t>
            </a:r>
            <a:r>
              <a:rPr lang="en-US" dirty="0"/>
              <a:t> </a:t>
            </a:r>
            <a:r>
              <a:rPr lang="en-US" dirty="0" err="1"/>
              <a:t>sead</a:t>
            </a:r>
            <a:r>
              <a:rPr lang="en-US" dirty="0"/>
              <a:t>. </a:t>
            </a:r>
            <a:r>
              <a:rPr lang="en-US" dirty="0" err="1"/>
              <a:t>Putant</a:t>
            </a:r>
            <a:r>
              <a:rPr lang="en-US" dirty="0"/>
              <a:t> </a:t>
            </a:r>
            <a:r>
              <a:rPr lang="en-US" dirty="0" err="1"/>
              <a:t>probatus</a:t>
            </a:r>
            <a:r>
              <a:rPr lang="en-US" dirty="0"/>
              <a:t> id vis, ad his </a:t>
            </a:r>
            <a:r>
              <a:rPr lang="en-US" dirty="0" err="1"/>
              <a:t>meis</a:t>
            </a:r>
            <a:r>
              <a:rPr lang="en-US" dirty="0"/>
              <a:t> </a:t>
            </a:r>
            <a:r>
              <a:rPr lang="en-US" dirty="0" err="1"/>
              <a:t>habemus</a:t>
            </a:r>
            <a:r>
              <a:rPr lang="en-US" dirty="0"/>
              <a:t> </a:t>
            </a:r>
            <a:r>
              <a:rPr lang="en-US" dirty="0" err="1"/>
              <a:t>repudiare</a:t>
            </a:r>
            <a:r>
              <a:rPr lang="en-US" dirty="0"/>
              <a:t>, has an </a:t>
            </a:r>
            <a:r>
              <a:rPr lang="en-US" dirty="0" err="1"/>
              <a:t>pericula</a:t>
            </a:r>
            <a:r>
              <a:rPr lang="en-US" dirty="0"/>
              <a:t> </a:t>
            </a:r>
            <a:r>
              <a:rPr lang="en-US" dirty="0" err="1"/>
              <a:t>tractatos</a:t>
            </a:r>
            <a:r>
              <a:rPr lang="en-US" dirty="0"/>
              <a:t>. </a:t>
            </a:r>
            <a:r>
              <a:rPr lang="en-US" dirty="0" err="1"/>
              <a:t>Nec</a:t>
            </a:r>
            <a:r>
              <a:rPr lang="en-US" dirty="0"/>
              <a:t> </a:t>
            </a:r>
            <a:r>
              <a:rPr lang="en-US" dirty="0" err="1"/>
              <a:t>debitis</a:t>
            </a:r>
            <a:r>
              <a:rPr lang="en-US" dirty="0"/>
              <a:t> </a:t>
            </a:r>
            <a:r>
              <a:rPr lang="en-US" dirty="0" err="1"/>
              <a:t>dissentias</a:t>
            </a:r>
            <a:r>
              <a:rPr lang="en-US" dirty="0"/>
              <a:t> ad. </a:t>
            </a:r>
            <a:r>
              <a:rPr lang="en-US" dirty="0" err="1"/>
              <a:t>Patrioque</a:t>
            </a:r>
            <a:r>
              <a:rPr lang="en-US" dirty="0"/>
              <a:t> </a:t>
            </a:r>
            <a:r>
              <a:rPr lang="en-US" dirty="0" err="1"/>
              <a:t>voluptatum</a:t>
            </a:r>
            <a:r>
              <a:rPr lang="en-US" dirty="0"/>
              <a:t> </a:t>
            </a:r>
            <a:r>
              <a:rPr lang="en-US" dirty="0" err="1"/>
              <a:t>sed</a:t>
            </a:r>
            <a:r>
              <a:rPr lang="en-US" dirty="0"/>
              <a:t> ex, id </a:t>
            </a:r>
            <a:r>
              <a:rPr lang="en-US" dirty="0" err="1"/>
              <a:t>admodum</a:t>
            </a:r>
            <a:r>
              <a:rPr lang="en-US" dirty="0"/>
              <a:t>.</a:t>
            </a:r>
          </a:p>
          <a:p>
            <a:pPr lvl="0"/>
            <a:endParaRPr lang="en-US" dirty="0"/>
          </a:p>
        </p:txBody>
      </p:sp>
      <p:sp>
        <p:nvSpPr>
          <p:cNvPr id="20" name="Line 10">
            <a:extLst>
              <a:ext uri="{FF2B5EF4-FFF2-40B4-BE49-F238E27FC236}">
                <a16:creationId xmlns:a16="http://schemas.microsoft.com/office/drawing/2014/main" id="{B69EB865-6B86-419B-923C-F7DDC68C9C66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601" y="907750"/>
            <a:ext cx="10974284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 dirty="0">
              <a:solidFill>
                <a:schemeClr val="bg1"/>
              </a:solidFill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A661012-3455-4F88-94AD-14869D2D5405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86AD1DFC-053D-4B86-B715-9C611EC38679}" type="datetime3">
              <a:rPr lang="en-US" smtClean="0"/>
              <a:t>5 August 2022</a:t>
            </a:fld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21FBA45-9D10-4CA1-B5FE-DF08BC4B79DE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IN"/>
              <a:t>Presentation tit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11C45D8-BA71-4A92-82B2-C059AF6B6702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157443765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602" y="294200"/>
            <a:ext cx="10972800" cy="590400"/>
          </a:xfrm>
        </p:spPr>
        <p:txBody>
          <a:bodyPr/>
          <a:lstStyle>
            <a:lvl1pPr>
              <a:defRPr sz="2398">
                <a:solidFill>
                  <a:schemeClr val="bg1"/>
                </a:solidFill>
              </a:defRPr>
            </a:lvl1pPr>
          </a:lstStyle>
          <a:p>
            <a:r>
              <a:rPr lang="en-US"/>
              <a:t>Standard slide</a:t>
            </a:r>
            <a:endParaRPr lang="en-GB"/>
          </a:p>
        </p:txBody>
      </p:sp>
      <p:sp>
        <p:nvSpPr>
          <p:cNvPr id="80" name="Line 10">
            <a:extLst>
              <a:ext uri="{FF2B5EF4-FFF2-40B4-BE49-F238E27FC236}">
                <a16:creationId xmlns:a16="http://schemas.microsoft.com/office/drawing/2014/main" id="{EF8E9275-C0E0-4ABA-8699-73E5E292EC85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601" y="907750"/>
            <a:ext cx="10974284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8" noProof="0" dirty="0">
              <a:solidFill>
                <a:schemeClr val="bg1"/>
              </a:solidFill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BD5E823-546D-4100-9D33-42F450A382E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A9E02A-78D6-48B7-A389-464ED573BA5D}" type="datetime3">
              <a:rPr lang="en-US" smtClean="0"/>
              <a:t>5 August 2022</a:t>
            </a:fld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4EEA008-3E80-49A8-A128-C1EEB8A02F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 dirty="0"/>
              <a:t>Presentation tit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A192330-2E70-49F4-A5DA-F82320E708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953020340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wo columns with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12329" y="1869443"/>
            <a:ext cx="5390400" cy="4256075"/>
          </a:xfrm>
        </p:spPr>
        <p:txBody>
          <a:bodyPr/>
          <a:lstStyle>
            <a:lvl1pPr>
              <a:defRPr sz="1998">
                <a:solidFill>
                  <a:schemeClr val="bg1"/>
                </a:solidFill>
              </a:defRPr>
            </a:lvl1pPr>
            <a:lvl2pPr>
              <a:defRPr sz="1798">
                <a:solidFill>
                  <a:schemeClr val="bg1"/>
                </a:solidFill>
              </a:defRPr>
            </a:lvl2pPr>
            <a:lvl3pPr>
              <a:defRPr sz="1598">
                <a:solidFill>
                  <a:schemeClr val="bg1"/>
                </a:solidFill>
              </a:defRPr>
            </a:lvl3pPr>
            <a:lvl4pPr>
              <a:defRPr sz="1398">
                <a:solidFill>
                  <a:schemeClr val="bg1"/>
                </a:solidFill>
              </a:defRPr>
            </a:lvl4pPr>
            <a:lvl5pPr>
              <a:defRPr sz="1198">
                <a:solidFill>
                  <a:schemeClr val="bg1"/>
                </a:solidFill>
              </a:defRPr>
            </a:lvl5pPr>
            <a:lvl6pPr>
              <a:defRPr sz="1798"/>
            </a:lvl6pPr>
            <a:lvl7pPr>
              <a:defRPr sz="1798"/>
            </a:lvl7pPr>
            <a:lvl8pPr>
              <a:defRPr sz="1798"/>
            </a:lvl8pPr>
            <a:lvl9pPr>
              <a:defRPr sz="1798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6405" y="1869443"/>
            <a:ext cx="5390400" cy="4256075"/>
          </a:xfrm>
        </p:spPr>
        <p:txBody>
          <a:bodyPr/>
          <a:lstStyle>
            <a:lvl1pPr>
              <a:defRPr sz="1998">
                <a:solidFill>
                  <a:schemeClr val="bg1"/>
                </a:solidFill>
              </a:defRPr>
            </a:lvl1pPr>
            <a:lvl2pPr>
              <a:defRPr sz="1798">
                <a:solidFill>
                  <a:schemeClr val="bg1"/>
                </a:solidFill>
              </a:defRPr>
            </a:lvl2pPr>
            <a:lvl3pPr>
              <a:defRPr sz="1598">
                <a:solidFill>
                  <a:schemeClr val="bg1"/>
                </a:solidFill>
              </a:defRPr>
            </a:lvl3pPr>
            <a:lvl4pPr>
              <a:defRPr sz="1398">
                <a:solidFill>
                  <a:schemeClr val="bg1"/>
                </a:solidFill>
              </a:defRPr>
            </a:lvl4pPr>
            <a:lvl5pPr>
              <a:defRPr sz="1198">
                <a:solidFill>
                  <a:schemeClr val="bg1"/>
                </a:solidFill>
              </a:defRPr>
            </a:lvl5pPr>
            <a:lvl6pPr>
              <a:defRPr sz="1798"/>
            </a:lvl6pPr>
            <a:lvl7pPr>
              <a:defRPr sz="1798"/>
            </a:lvl7pPr>
            <a:lvl8pPr>
              <a:defRPr sz="1798"/>
            </a:lvl8pPr>
            <a:lvl9pPr>
              <a:defRPr sz="1798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609601" y="1137920"/>
            <a:ext cx="5390400" cy="640800"/>
          </a:xfrm>
        </p:spPr>
        <p:txBody>
          <a:bodyPr anchor="t" anchorCtr="0"/>
          <a:lstStyle>
            <a:lvl1pPr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196405" y="1137920"/>
            <a:ext cx="5390400" cy="640800"/>
          </a:xfrm>
        </p:spPr>
        <p:txBody>
          <a:bodyPr anchor="t" anchorCtr="0"/>
          <a:lstStyle>
            <a:lvl1pPr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2" y="294200"/>
            <a:ext cx="10972800" cy="59088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Line 10">
            <a:extLst>
              <a:ext uri="{FF2B5EF4-FFF2-40B4-BE49-F238E27FC236}">
                <a16:creationId xmlns:a16="http://schemas.microsoft.com/office/drawing/2014/main" id="{9773E7D9-2434-4381-A00D-27B62C086733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601" y="907750"/>
            <a:ext cx="10974284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8" noProof="0" dirty="0">
              <a:solidFill>
                <a:schemeClr val="bg1"/>
              </a:solidFill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A3CD3F7-62DC-4CC4-8F34-C353DB087D7C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029E1942-EB53-47E3-BCA7-F99D05C795EC}" type="datetime3">
              <a:rPr lang="en-US" smtClean="0"/>
              <a:t>5 August 2022</a:t>
            </a:fld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BD2EC01-3D34-4D32-9B76-5269D1AA465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IN" dirty="0"/>
              <a:t>Presentation titl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4BE1C2B-4DA4-468F-9976-85F6CBF826F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925164967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628F8CDB-776D-4811-AE2C-217236ECDEC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223938" y="0"/>
            <a:ext cx="5968062" cy="6858000"/>
          </a:xfrm>
        </p:spPr>
        <p:txBody>
          <a:bodyPr/>
          <a:lstStyle/>
          <a:p>
            <a:endParaRPr lang="en-IN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26E96BA-E9E4-496B-8CA5-6DA27B8AD7E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69514" y="2578743"/>
            <a:ext cx="4535597" cy="1055708"/>
          </a:xfrm>
        </p:spPr>
        <p:txBody>
          <a:bodyPr/>
          <a:lstStyle>
            <a:lvl1pPr marL="0" indent="0">
              <a:buNone/>
              <a:defRPr sz="2998"/>
            </a:lvl1pPr>
          </a:lstStyle>
          <a:p>
            <a:pPr lvl="0"/>
            <a:r>
              <a:rPr lang="en-IN"/>
              <a:t>Chapter Title</a:t>
            </a:r>
          </a:p>
          <a:p>
            <a:pPr lvl="0"/>
            <a:r>
              <a:rPr lang="en-IN"/>
              <a:t>EY Interstate Light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1173C8A3-BA2F-497B-A214-45B02D73AF2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9514" y="3840384"/>
            <a:ext cx="4535597" cy="1055708"/>
          </a:xfrm>
        </p:spPr>
        <p:txBody>
          <a:bodyPr/>
          <a:lstStyle>
            <a:lvl1pPr marL="0" indent="0">
              <a:buNone/>
              <a:defRPr sz="1598"/>
            </a:lvl1pPr>
          </a:lstStyle>
          <a:p>
            <a:pPr lvl="0"/>
            <a:r>
              <a:rPr lang="en-IN"/>
              <a:t>text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3EABBDA-A77F-45A2-9996-90CD0EE5C388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1057AB47-DE48-402E-B5B7-CB9A0D0B7D44}" type="datetime3">
              <a:rPr lang="en-US" smtClean="0"/>
              <a:t>5 August 2022</a:t>
            </a:fld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F883B36-3BA3-42B4-A811-65C0AF01A86F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IN" dirty="0"/>
              <a:t>Presentation tit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9D9C98C-F30E-45BC-A1D9-67DB57119DCE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624825764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697C43D-4F1B-43DA-A0C6-DA6B6708E16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2616" y="2851522"/>
            <a:ext cx="4445485" cy="1202318"/>
          </a:xfrm>
        </p:spPr>
        <p:txBody>
          <a:bodyPr vert="horz" lIns="0" tIns="0" rIns="0" bIns="0" rtlCol="0" anchor="ctr" anchorCtr="0">
            <a:noAutofit/>
          </a:bodyPr>
          <a:lstStyle>
            <a:lvl1pPr marL="0" indent="0">
              <a:buNone/>
              <a:defRPr kumimoji="0" lang="en-IN" sz="3596" b="0" i="0" u="none" strike="noStrike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EYInterstate Light" panose="02000506000000020004" pitchFamily="2" charset="0"/>
                <a:ea typeface="+mj-ea"/>
                <a:cs typeface="+mj-cs"/>
              </a:defRPr>
            </a:lvl1pPr>
          </a:lstStyle>
          <a:p>
            <a:pPr marL="356260" marR="0" lvl="0" indent="-356260" defTabSz="1006879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Chapter Title</a:t>
            </a:r>
            <a:endParaRPr lang="en-IN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00C2D9D-B0D7-494E-9184-FCD6E94AACE5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6A95EDC0-9791-477B-BA1D-1692FE9BFBAA}" type="datetime3">
              <a:rPr lang="en-US" smtClean="0"/>
              <a:t>5 August 2022</a:t>
            </a:fld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87FD91A-AB40-450B-8784-9A5D99C62D81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IN" dirty="0"/>
              <a:t>Presentation tit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2CE5F90-7113-4FA1-AFCF-3BC8EF010002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922814019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BD5388A-86DF-494E-B137-EE20B7E1CF9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1FBADE3-2F67-4EB8-B1F9-B00F8B809757}" type="datetime3">
              <a:rPr lang="en-US" smtClean="0"/>
              <a:t>5 August 2022</a:t>
            </a:fld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297E548-6FF4-4D89-ADE0-60181F5365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 dirty="0"/>
              <a:t>Presentation tit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10B0A8B-D001-432B-877C-21558412BB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52803326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Final leg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607483" y="719139"/>
            <a:ext cx="4675200" cy="5210062"/>
          </a:xfrm>
        </p:spPr>
        <p:txBody>
          <a:bodyPr/>
          <a:lstStyle>
            <a:lvl1pPr marL="0" indent="0" algn="l" defTabSz="994368" rtl="0" fontAlgn="base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SzPct val="100000"/>
              <a:buNone/>
              <a:defRPr lang="en-US" sz="1198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1pPr>
            <a:lvl2pPr marL="0" indent="0" algn="l" defTabSz="994368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900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2pPr>
            <a:lvl3pPr marL="176037" indent="-176037" algn="l" defTabSz="994368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900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3pPr>
            <a:lvl4pPr marL="0" indent="0" algn="l" defTabSz="994368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8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4pPr>
            <a:lvl5pPr marL="188725" indent="-188725" algn="l" defTabSz="994368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800" kern="1200" noProof="0" dirty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3886309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5291068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andard slide_no_first_level_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94200"/>
            <a:ext cx="10972800" cy="590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1" y="1137920"/>
            <a:ext cx="8234455" cy="483480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356438">
              <a:defRPr>
                <a:solidFill>
                  <a:schemeClr val="bg1"/>
                </a:solidFill>
              </a:defRPr>
            </a:lvl2pPr>
            <a:lvl3pPr marL="712875">
              <a:defRPr>
                <a:solidFill>
                  <a:schemeClr val="bg1"/>
                </a:solidFill>
              </a:defRPr>
            </a:lvl3pPr>
            <a:lvl4pPr marL="1069313">
              <a:defRPr>
                <a:solidFill>
                  <a:schemeClr val="bg1"/>
                </a:solidFill>
              </a:defRPr>
            </a:lvl4pPr>
            <a:lvl5pPr marL="1425751"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1" name="Line 10">
            <a:extLst>
              <a:ext uri="{FF2B5EF4-FFF2-40B4-BE49-F238E27FC236}">
                <a16:creationId xmlns:a16="http://schemas.microsoft.com/office/drawing/2014/main" id="{8D4CA674-C969-4C5C-9EA4-6D41FE961DE2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601" y="907750"/>
            <a:ext cx="10974284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 dirty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BEFDBB3-7C34-4E5E-AD13-1B49910A265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C4D46D-36B7-425F-AEB7-676F0E436ACC}" type="datetime3">
              <a:rPr lang="en-US" smtClean="0"/>
              <a:t>5 August 2022</a:t>
            </a:fld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AD0F565-A080-4523-A04C-6DEE2789C3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/>
              <a:t>Presentation tit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6977AFB-BAAB-4831-9B67-3646A934EC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48245196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, no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94200"/>
            <a:ext cx="10972800" cy="59088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6" name="Line 10">
            <a:extLst>
              <a:ext uri="{FF2B5EF4-FFF2-40B4-BE49-F238E27FC236}">
                <a16:creationId xmlns:a16="http://schemas.microsoft.com/office/drawing/2014/main" id="{97A26880-8DD7-4A78-ADAF-91ED2E744A7C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601" y="907750"/>
            <a:ext cx="10974284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 dirty="0">
              <a:solidFill>
                <a:schemeClr val="bg1"/>
              </a:solidFill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C197511-0A94-4CF5-9020-59041E7FD0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683591-978A-463D-B9B3-9852A288C9B6}" type="datetime3">
              <a:rPr lang="en-US" smtClean="0"/>
              <a:t>5 August 2022</a:t>
            </a:fld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2EEF30F-48C0-4828-BF78-0AF655745C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/>
              <a:t>Presentation title</a:t>
            </a:r>
            <a:endParaRPr lang="en-IN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284586F-9A9C-4BEB-AF2F-2F8B1B885C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15162915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lumns, no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94200"/>
            <a:ext cx="10972800" cy="59088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1" y="1137919"/>
            <a:ext cx="5384800" cy="4834800"/>
          </a:xfrm>
        </p:spPr>
        <p:txBody>
          <a:bodyPr/>
          <a:lstStyle>
            <a:lvl1pPr>
              <a:defRPr sz="1999">
                <a:solidFill>
                  <a:schemeClr val="bg1"/>
                </a:solidFill>
              </a:defRPr>
            </a:lvl1pPr>
            <a:lvl2pPr>
              <a:defRPr sz="1799">
                <a:solidFill>
                  <a:schemeClr val="bg1"/>
                </a:solidFill>
              </a:defRPr>
            </a:lvl2pPr>
            <a:lvl3pPr>
              <a:defRPr sz="1599">
                <a:solidFill>
                  <a:schemeClr val="bg1"/>
                </a:solidFill>
              </a:defRPr>
            </a:lvl3pPr>
            <a:lvl4pPr>
              <a:defRPr sz="1399">
                <a:solidFill>
                  <a:schemeClr val="bg1"/>
                </a:solidFill>
              </a:defRPr>
            </a:lvl4pPr>
            <a:lvl5pPr>
              <a:defRPr sz="1199">
                <a:solidFill>
                  <a:schemeClr val="bg1"/>
                </a:solidFill>
              </a:defRPr>
            </a:lvl5pPr>
            <a:lvl6pPr>
              <a:defRPr sz="1799"/>
            </a:lvl6pPr>
            <a:lvl7pPr>
              <a:defRPr sz="1799"/>
            </a:lvl7pPr>
            <a:lvl8pPr>
              <a:defRPr sz="1799"/>
            </a:lvl8pPr>
            <a:lvl9pPr>
              <a:defRPr sz="1799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1" y="1137919"/>
            <a:ext cx="5384800" cy="4834800"/>
          </a:xfrm>
        </p:spPr>
        <p:txBody>
          <a:bodyPr/>
          <a:lstStyle>
            <a:lvl1pPr>
              <a:defRPr sz="1999">
                <a:solidFill>
                  <a:schemeClr val="bg1"/>
                </a:solidFill>
              </a:defRPr>
            </a:lvl1pPr>
            <a:lvl2pPr>
              <a:defRPr sz="1799">
                <a:solidFill>
                  <a:schemeClr val="bg1"/>
                </a:solidFill>
              </a:defRPr>
            </a:lvl2pPr>
            <a:lvl3pPr>
              <a:defRPr sz="1599">
                <a:solidFill>
                  <a:schemeClr val="bg1"/>
                </a:solidFill>
              </a:defRPr>
            </a:lvl3pPr>
            <a:lvl4pPr>
              <a:defRPr sz="1399">
                <a:solidFill>
                  <a:schemeClr val="bg1"/>
                </a:solidFill>
              </a:defRPr>
            </a:lvl4pPr>
            <a:lvl5pPr>
              <a:defRPr sz="1199">
                <a:solidFill>
                  <a:schemeClr val="bg1"/>
                </a:solidFill>
              </a:defRPr>
            </a:lvl5pPr>
            <a:lvl6pPr>
              <a:defRPr sz="1799"/>
            </a:lvl6pPr>
            <a:lvl7pPr>
              <a:defRPr sz="1799"/>
            </a:lvl7pPr>
            <a:lvl8pPr>
              <a:defRPr sz="1799"/>
            </a:lvl8pPr>
            <a:lvl9pPr>
              <a:defRPr sz="1799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0" name="Line 10">
            <a:extLst>
              <a:ext uri="{FF2B5EF4-FFF2-40B4-BE49-F238E27FC236}">
                <a16:creationId xmlns:a16="http://schemas.microsoft.com/office/drawing/2014/main" id="{9B070B28-7AAC-47E5-9EB5-96B8B8B88057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601" y="907750"/>
            <a:ext cx="10974284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 dirty="0">
              <a:solidFill>
                <a:schemeClr val="bg1"/>
              </a:solidFill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64DE21E-2E07-4ED3-B534-8AED469C8F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E6CAE4F-17A3-4837-8418-FB6AD56A8907}" type="datetime3">
              <a:rPr lang="en-US" smtClean="0"/>
              <a:t>5 August 2022</a:t>
            </a:fld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8601461-720E-4840-BF9B-D9C7BF8C9E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/>
              <a:t>Presentation title</a:t>
            </a:r>
            <a:endParaRPr lang="en-IN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AACE970-AAFF-42C7-8A32-759BAA7BA4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05636276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 altern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56">
            <a:extLst>
              <a:ext uri="{FF2B5EF4-FFF2-40B4-BE49-F238E27FC236}">
                <a16:creationId xmlns:a16="http://schemas.microsoft.com/office/drawing/2014/main" id="{13A7AC18-CF42-4EC5-8D40-441EAE30A06C}"/>
              </a:ext>
            </a:extLst>
          </p:cNvPr>
          <p:cNvSpPr/>
          <p:nvPr userDrawn="1"/>
        </p:nvSpPr>
        <p:spPr>
          <a:xfrm>
            <a:off x="497856" y="795662"/>
            <a:ext cx="4927845" cy="3581484"/>
          </a:xfrm>
          <a:custGeom>
            <a:avLst/>
            <a:gdLst>
              <a:gd name="connsiteX0" fmla="*/ 4238387 w 4257675"/>
              <a:gd name="connsiteY0" fmla="*/ 0 h 3092804"/>
              <a:gd name="connsiteX1" fmla="*/ 4257675 w 4257675"/>
              <a:gd name="connsiteY1" fmla="*/ 0 h 3092804"/>
              <a:gd name="connsiteX2" fmla="*/ 4257675 w 4257675"/>
              <a:gd name="connsiteY2" fmla="*/ 3092804 h 3092804"/>
              <a:gd name="connsiteX3" fmla="*/ 0 w 4257675"/>
              <a:gd name="connsiteY3" fmla="*/ 3092804 h 3092804"/>
              <a:gd name="connsiteX4" fmla="*/ 0 w 4257675"/>
              <a:gd name="connsiteY4" fmla="*/ 747342 h 30928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7675" h="3092804">
                <a:moveTo>
                  <a:pt x="4238387" y="0"/>
                </a:moveTo>
                <a:lnTo>
                  <a:pt x="4257675" y="0"/>
                </a:lnTo>
                <a:lnTo>
                  <a:pt x="4257675" y="3092804"/>
                </a:lnTo>
                <a:lnTo>
                  <a:pt x="0" y="3092804"/>
                </a:lnTo>
                <a:lnTo>
                  <a:pt x="0" y="747342"/>
                </a:lnTo>
                <a:close/>
              </a:path>
            </a:pathLst>
          </a:custGeom>
          <a:solidFill>
            <a:srgbClr val="FFE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775100" y="1954221"/>
            <a:ext cx="4326679" cy="979702"/>
          </a:xfrm>
        </p:spPr>
        <p:txBody>
          <a:bodyPr/>
          <a:lstStyle>
            <a:lvl1pPr>
              <a:defRPr sz="2999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2" name="Subtitle 2"/>
          <p:cNvSpPr>
            <a:spLocks noGrp="1"/>
          </p:cNvSpPr>
          <p:nvPr>
            <p:ph type="subTitle" idx="1"/>
          </p:nvPr>
        </p:nvSpPr>
        <p:spPr>
          <a:xfrm>
            <a:off x="775100" y="3046159"/>
            <a:ext cx="4326679" cy="1046323"/>
          </a:xfrm>
        </p:spPr>
        <p:txBody>
          <a:bodyPr/>
          <a:lstStyle>
            <a:lvl1pPr marL="0" indent="0" algn="l">
              <a:spcAft>
                <a:spcPts val="1199"/>
              </a:spcAft>
              <a:buNone/>
              <a:defRPr sz="1999">
                <a:solidFill>
                  <a:schemeClr val="bg1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599" b="1">
                <a:solidFill>
                  <a:srgbClr val="404040"/>
                </a:solidFill>
              </a:defRPr>
            </a:lvl2pPr>
            <a:lvl3pPr marL="913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9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8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8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7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subtitle style</a:t>
            </a:r>
            <a:endParaRPr lang="en-GB" dirty="0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F93BD223-2224-476C-AB5C-300C248C1618}"/>
              </a:ext>
            </a:extLst>
          </p:cNvPr>
          <p:cNvCxnSpPr>
            <a:cxnSpLocks/>
          </p:cNvCxnSpPr>
          <p:nvPr userDrawn="1"/>
        </p:nvCxnSpPr>
        <p:spPr>
          <a:xfrm>
            <a:off x="1332490" y="5709060"/>
            <a:ext cx="8117873" cy="0"/>
          </a:xfrm>
          <a:prstGeom prst="line">
            <a:avLst/>
          </a:prstGeom>
          <a:ln>
            <a:solidFill>
              <a:srgbClr val="82829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651B4C43-E5F8-400E-A971-58A3766B1BF0}"/>
              </a:ext>
            </a:extLst>
          </p:cNvPr>
          <p:cNvSpPr txBox="1"/>
          <p:nvPr userDrawn="1"/>
        </p:nvSpPr>
        <p:spPr>
          <a:xfrm>
            <a:off x="461744" y="5605201"/>
            <a:ext cx="1044529" cy="197581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r>
              <a:rPr lang="en-GB" sz="1199" dirty="0">
                <a:solidFill>
                  <a:srgbClr val="828290"/>
                </a:solidFill>
                <a:latin typeface="EYInterstate Light" panose="02000506000000020004" pitchFamily="2" charset="0"/>
              </a:rPr>
              <a:t>Written by</a:t>
            </a:r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A9465B6B-DFD4-4E0C-9ACE-E88CA22204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61744" y="6019189"/>
            <a:ext cx="3087667" cy="180000"/>
          </a:xfrm>
        </p:spPr>
        <p:txBody>
          <a:bodyPr/>
          <a:lstStyle>
            <a:lvl1pPr marL="0" indent="0">
              <a:buNone/>
              <a:defRPr sz="1199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16">
            <a:extLst>
              <a:ext uri="{FF2B5EF4-FFF2-40B4-BE49-F238E27FC236}">
                <a16:creationId xmlns:a16="http://schemas.microsoft.com/office/drawing/2014/main" id="{A1F2ED22-5637-4AB8-ABD8-3693A6EA55F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61744" y="6216807"/>
            <a:ext cx="3087667" cy="180000"/>
          </a:xfrm>
        </p:spPr>
        <p:txBody>
          <a:bodyPr/>
          <a:lstStyle>
            <a:lvl1pPr marL="0" indent="0">
              <a:buNone/>
              <a:defRPr sz="1199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Job Title</a:t>
            </a:r>
            <a:endParaRPr lang="en-GB" dirty="0"/>
          </a:p>
        </p:txBody>
      </p:sp>
      <p:grpSp>
        <p:nvGrpSpPr>
          <p:cNvPr id="14" name="Group 4">
            <a:extLst>
              <a:ext uri="{FF2B5EF4-FFF2-40B4-BE49-F238E27FC236}">
                <a16:creationId xmlns:a16="http://schemas.microsoft.com/office/drawing/2014/main" id="{5CE71800-5B4B-4F94-8DA1-A2C05D9E8750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59392" y="4960938"/>
            <a:ext cx="1224912" cy="1435100"/>
            <a:chOff x="6529" y="3125"/>
            <a:chExt cx="772" cy="904"/>
          </a:xfrm>
        </p:grpSpPr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58FB548F-77B7-4F42-8CF1-C53943386AA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40005A69-42DA-4C6D-A41C-62C78DAFEFB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</p:grpSp>
    </p:spTree>
    <p:extLst>
      <p:ext uri="{BB962C8B-B14F-4D97-AF65-F5344CB8AC3E}">
        <p14:creationId xmlns:p14="http://schemas.microsoft.com/office/powerpoint/2010/main" val="7381672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2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with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12329" y="1869441"/>
            <a:ext cx="5390400" cy="4256075"/>
          </a:xfrm>
        </p:spPr>
        <p:txBody>
          <a:bodyPr/>
          <a:lstStyle>
            <a:lvl1pPr>
              <a:defRPr sz="1999">
                <a:solidFill>
                  <a:schemeClr val="bg1"/>
                </a:solidFill>
              </a:defRPr>
            </a:lvl1pPr>
            <a:lvl2pPr>
              <a:defRPr sz="1799">
                <a:solidFill>
                  <a:schemeClr val="bg1"/>
                </a:solidFill>
              </a:defRPr>
            </a:lvl2pPr>
            <a:lvl3pPr>
              <a:defRPr sz="1599">
                <a:solidFill>
                  <a:schemeClr val="bg1"/>
                </a:solidFill>
              </a:defRPr>
            </a:lvl3pPr>
            <a:lvl4pPr>
              <a:defRPr sz="1399">
                <a:solidFill>
                  <a:schemeClr val="bg1"/>
                </a:solidFill>
              </a:defRPr>
            </a:lvl4pPr>
            <a:lvl5pPr>
              <a:defRPr sz="1199">
                <a:solidFill>
                  <a:schemeClr val="bg1"/>
                </a:solidFill>
              </a:defRPr>
            </a:lvl5pPr>
            <a:lvl6pPr>
              <a:defRPr sz="1799"/>
            </a:lvl6pPr>
            <a:lvl7pPr>
              <a:defRPr sz="1799"/>
            </a:lvl7pPr>
            <a:lvl8pPr>
              <a:defRPr sz="1799"/>
            </a:lvl8pPr>
            <a:lvl9pPr>
              <a:defRPr sz="1799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6405" y="1869441"/>
            <a:ext cx="5390400" cy="4256075"/>
          </a:xfrm>
        </p:spPr>
        <p:txBody>
          <a:bodyPr/>
          <a:lstStyle>
            <a:lvl1pPr>
              <a:defRPr sz="1999">
                <a:solidFill>
                  <a:schemeClr val="bg1"/>
                </a:solidFill>
              </a:defRPr>
            </a:lvl1pPr>
            <a:lvl2pPr>
              <a:defRPr sz="1799">
                <a:solidFill>
                  <a:schemeClr val="bg1"/>
                </a:solidFill>
              </a:defRPr>
            </a:lvl2pPr>
            <a:lvl3pPr>
              <a:defRPr sz="1599">
                <a:solidFill>
                  <a:schemeClr val="bg1"/>
                </a:solidFill>
              </a:defRPr>
            </a:lvl3pPr>
            <a:lvl4pPr>
              <a:defRPr sz="1399">
                <a:solidFill>
                  <a:schemeClr val="bg1"/>
                </a:solidFill>
              </a:defRPr>
            </a:lvl4pPr>
            <a:lvl5pPr>
              <a:defRPr sz="1199">
                <a:solidFill>
                  <a:schemeClr val="bg1"/>
                </a:solidFill>
              </a:defRPr>
            </a:lvl5pPr>
            <a:lvl6pPr>
              <a:defRPr sz="1799"/>
            </a:lvl6pPr>
            <a:lvl7pPr>
              <a:defRPr sz="1799"/>
            </a:lvl7pPr>
            <a:lvl8pPr>
              <a:defRPr sz="1799"/>
            </a:lvl8pPr>
            <a:lvl9pPr>
              <a:defRPr sz="1799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609601" y="1137920"/>
            <a:ext cx="5390400" cy="640800"/>
          </a:xfrm>
        </p:spPr>
        <p:txBody>
          <a:bodyPr anchor="t" anchorCtr="0"/>
          <a:lstStyle>
            <a:lvl1pPr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endParaRPr lang="en-GB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196405" y="1137920"/>
            <a:ext cx="5390400" cy="640800"/>
          </a:xfrm>
        </p:spPr>
        <p:txBody>
          <a:bodyPr anchor="t" anchorCtr="0"/>
          <a:lstStyle>
            <a:lvl1pPr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94200"/>
            <a:ext cx="10972800" cy="59088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4" name="Line 10">
            <a:extLst>
              <a:ext uri="{FF2B5EF4-FFF2-40B4-BE49-F238E27FC236}">
                <a16:creationId xmlns:a16="http://schemas.microsoft.com/office/drawing/2014/main" id="{9773E7D9-2434-4381-A00D-27B62C086733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601" y="907750"/>
            <a:ext cx="10974284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 dirty="0">
              <a:solidFill>
                <a:schemeClr val="bg1"/>
              </a:solidFill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A3CD3F7-62DC-4CC4-8F34-C353DB087D7C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029E1942-EB53-47E3-BCA7-F99D05C795EC}" type="datetime3">
              <a:rPr lang="en-US" smtClean="0"/>
              <a:t>5 August 2022</a:t>
            </a:fld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BD2EC01-3D34-4D32-9B76-5269D1AA465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IN"/>
              <a:t>Presentation title</a:t>
            </a:r>
            <a:endParaRPr lang="en-IN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4BE1C2B-4DA4-468F-9976-85F6CBF826F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43633404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37B5C6B-B98B-4A4C-A8A7-B006989B59B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7C88E1-FE33-48AD-9218-9258D62CDCC4}" type="datetime3">
              <a:rPr lang="en-US" smtClean="0"/>
              <a:t>5 August 2022</a:t>
            </a:fld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CEF6675-2050-4038-B9E1-B80DB63D73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/>
              <a:t>Presentation title</a:t>
            </a:r>
            <a:endParaRPr lang="en-IN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BA4D6F3-1431-4069-B814-2558466772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8871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cused da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897186E-D73E-46D0-965A-D83686BA73F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2FE8F4A-3FA1-4A64-AE77-2254BB85F3D2}" type="datetime3">
              <a:rPr lang="en-US" smtClean="0"/>
              <a:t>5 August 2022</a:t>
            </a:fld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DEF40EA-FE63-4D50-8C90-EC25A860C0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/>
              <a:t>Presentation title</a:t>
            </a:r>
            <a:endParaRPr lang="en-IN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F37420B-CF82-4784-8E9C-5C496E27C5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93232603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BD5388A-86DF-494E-B137-EE20B7E1CF9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1FBADE3-2F67-4EB8-B1F9-B00F8B809757}" type="datetime3">
              <a:rPr lang="en-US" smtClean="0"/>
              <a:t>5 August 2022</a:t>
            </a:fld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297E548-6FF4-4D89-ADE0-60181F5365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/>
              <a:t>Presentation title</a:t>
            </a:r>
            <a:endParaRPr lang="en-IN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10B0A8B-D001-432B-877C-21558412BB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26123964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2D9F631-BCA2-47E9-B382-A1254CE498E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6D9080-1DFC-4303-893C-6B8A3FEC05E8}" type="datetime3">
              <a:rPr lang="en-US" smtClean="0"/>
              <a:t>5 August 2022</a:t>
            </a:fld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C1D1872-1F65-44DE-8D43-3328C27B587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/>
              <a:t>Presentation title</a:t>
            </a:r>
            <a:endParaRPr lang="en-IN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06C50CF-7368-4D25-B2B5-360BA59E76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7615907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1046763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edia Placeholder 2">
            <a:extLst>
              <a:ext uri="{FF2B5EF4-FFF2-40B4-BE49-F238E27FC236}">
                <a16:creationId xmlns:a16="http://schemas.microsoft.com/office/drawing/2014/main" id="{0052CFA6-7CF5-41BD-9D94-2D0DAE108428}"/>
              </a:ext>
            </a:extLst>
          </p:cNvPr>
          <p:cNvSpPr>
            <a:spLocks noGrp="1"/>
          </p:cNvSpPr>
          <p:nvPr>
            <p:ph type="media" sz="quarter" idx="10" hasCustomPrompt="1"/>
          </p:nvPr>
        </p:nvSpPr>
        <p:spPr>
          <a:xfrm>
            <a:off x="0" y="0"/>
            <a:ext cx="12192000" cy="6858000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IN" dirty="0"/>
              <a:t>Video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943830C-23AE-48E4-B9DE-E91E6CE0B8B9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A8381BA6-C3FD-495B-9B56-A30783EC7416}" type="datetime3">
              <a:rPr lang="en-US" smtClean="0"/>
              <a:t>5 August 2022</a:t>
            </a:fld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0F742A9-BF69-4BF2-966C-3D76FC687FBA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IN"/>
              <a:t>Presentation title</a:t>
            </a:r>
            <a:endParaRPr lang="en-IN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B65F912-EBE8-413B-A241-0FB3A540BA82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74794732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nal leg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607483" y="719139"/>
            <a:ext cx="4675200" cy="5210062"/>
          </a:xfrm>
        </p:spPr>
        <p:txBody>
          <a:bodyPr/>
          <a:lstStyle>
            <a:lvl1pPr marL="0" indent="0" algn="l" defTabSz="994865" rtl="0" fontAlgn="base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SzPct val="100000"/>
              <a:buNone/>
              <a:defRPr lang="en-US" sz="1199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1pPr>
            <a:lvl2pPr marL="0" indent="0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900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2pPr>
            <a:lvl3pPr marL="176125" indent="-176125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900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3pPr>
            <a:lvl4pPr marL="0" indent="0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8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4pPr>
            <a:lvl5pPr marL="188819" indent="-188819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800" kern="1200" noProof="0" dirty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8885667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9005909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Cover altern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>
            <a:extLst>
              <a:ext uri="{FF2B5EF4-FFF2-40B4-BE49-F238E27FC236}">
                <a16:creationId xmlns:a16="http://schemas.microsoft.com/office/drawing/2014/main" id="{CF9247CA-24EE-4C8A-BE7E-1562C04F958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Freeform 5">
            <a:extLst>
              <a:ext uri="{FF2B5EF4-FFF2-40B4-BE49-F238E27FC236}">
                <a16:creationId xmlns:a16="http://schemas.microsoft.com/office/drawing/2014/main" id="{B7F2A12E-7729-47A0-BC4C-937A569C1503}"/>
              </a:ext>
            </a:extLst>
          </p:cNvPr>
          <p:cNvSpPr>
            <a:spLocks noChangeAspect="1"/>
          </p:cNvSpPr>
          <p:nvPr userDrawn="1"/>
        </p:nvSpPr>
        <p:spPr bwMode="gray">
          <a:xfrm rot="10800000">
            <a:off x="626740" y="457199"/>
            <a:ext cx="6009412" cy="3805316"/>
          </a:xfrm>
          <a:custGeom>
            <a:avLst/>
            <a:gdLst>
              <a:gd name="connsiteX0" fmla="*/ 0 w 10000"/>
              <a:gd name="connsiteY0" fmla="*/ 0 h 9745"/>
              <a:gd name="connsiteX1" fmla="*/ 921 w 10000"/>
              <a:gd name="connsiteY1" fmla="*/ 9745 h 9745"/>
              <a:gd name="connsiteX2" fmla="*/ 10000 w 10000"/>
              <a:gd name="connsiteY2" fmla="*/ 7201 h 9745"/>
              <a:gd name="connsiteX3" fmla="*/ 10000 w 10000"/>
              <a:gd name="connsiteY3" fmla="*/ 0 h 9745"/>
              <a:gd name="connsiteX4" fmla="*/ 0 w 10000"/>
              <a:gd name="connsiteY4" fmla="*/ 0 h 9745"/>
              <a:gd name="connsiteX0" fmla="*/ 0 w 9079"/>
              <a:gd name="connsiteY0" fmla="*/ 0 h 10000"/>
              <a:gd name="connsiteX1" fmla="*/ 0 w 9079"/>
              <a:gd name="connsiteY1" fmla="*/ 10000 h 10000"/>
              <a:gd name="connsiteX2" fmla="*/ 9079 w 9079"/>
              <a:gd name="connsiteY2" fmla="*/ 7389 h 10000"/>
              <a:gd name="connsiteX3" fmla="*/ 9079 w 9079"/>
              <a:gd name="connsiteY3" fmla="*/ 0 h 10000"/>
              <a:gd name="connsiteX4" fmla="*/ 0 w 9079"/>
              <a:gd name="connsiteY4" fmla="*/ 0 h 10000"/>
              <a:gd name="connsiteX0" fmla="*/ 5 w 10000"/>
              <a:gd name="connsiteY0" fmla="*/ 2555 h 10000"/>
              <a:gd name="connsiteX1" fmla="*/ 0 w 10000"/>
              <a:gd name="connsiteY1" fmla="*/ 10000 h 10000"/>
              <a:gd name="connsiteX2" fmla="*/ 10000 w 10000"/>
              <a:gd name="connsiteY2" fmla="*/ 7389 h 10000"/>
              <a:gd name="connsiteX3" fmla="*/ 10000 w 10000"/>
              <a:gd name="connsiteY3" fmla="*/ 0 h 10000"/>
              <a:gd name="connsiteX4" fmla="*/ 5 w 10000"/>
              <a:gd name="connsiteY4" fmla="*/ 2555 h 10000"/>
              <a:gd name="connsiteX0" fmla="*/ 5 w 10000"/>
              <a:gd name="connsiteY0" fmla="*/ 0 h 7445"/>
              <a:gd name="connsiteX1" fmla="*/ 0 w 10000"/>
              <a:gd name="connsiteY1" fmla="*/ 7445 h 7445"/>
              <a:gd name="connsiteX2" fmla="*/ 10000 w 10000"/>
              <a:gd name="connsiteY2" fmla="*/ 4834 h 7445"/>
              <a:gd name="connsiteX3" fmla="*/ 10000 w 10000"/>
              <a:gd name="connsiteY3" fmla="*/ 7 h 7445"/>
              <a:gd name="connsiteX4" fmla="*/ 5 w 10000"/>
              <a:gd name="connsiteY4" fmla="*/ 0 h 7445"/>
              <a:gd name="connsiteX0" fmla="*/ 5 w 10000"/>
              <a:gd name="connsiteY0" fmla="*/ 0 h 10000"/>
              <a:gd name="connsiteX1" fmla="*/ 0 w 10000"/>
              <a:gd name="connsiteY1" fmla="*/ 10000 h 10000"/>
              <a:gd name="connsiteX2" fmla="*/ 8453 w 10000"/>
              <a:gd name="connsiteY2" fmla="*/ 7036 h 10000"/>
              <a:gd name="connsiteX3" fmla="*/ 10000 w 10000"/>
              <a:gd name="connsiteY3" fmla="*/ 9 h 10000"/>
              <a:gd name="connsiteX4" fmla="*/ 5 w 10000"/>
              <a:gd name="connsiteY4" fmla="*/ 0 h 10000"/>
              <a:gd name="connsiteX0" fmla="*/ 5 w 8453"/>
              <a:gd name="connsiteY0" fmla="*/ 4143 h 14143"/>
              <a:gd name="connsiteX1" fmla="*/ 0 w 8453"/>
              <a:gd name="connsiteY1" fmla="*/ 14143 h 14143"/>
              <a:gd name="connsiteX2" fmla="*/ 8453 w 8453"/>
              <a:gd name="connsiteY2" fmla="*/ 11179 h 14143"/>
              <a:gd name="connsiteX3" fmla="*/ 8453 w 8453"/>
              <a:gd name="connsiteY3" fmla="*/ 0 h 14143"/>
              <a:gd name="connsiteX4" fmla="*/ 5 w 8453"/>
              <a:gd name="connsiteY4" fmla="*/ 4143 h 14143"/>
              <a:gd name="connsiteX0" fmla="*/ 6 w 10000"/>
              <a:gd name="connsiteY0" fmla="*/ 0 h 10007"/>
              <a:gd name="connsiteX1" fmla="*/ 0 w 10000"/>
              <a:gd name="connsiteY1" fmla="*/ 10007 h 10007"/>
              <a:gd name="connsiteX2" fmla="*/ 10000 w 10000"/>
              <a:gd name="connsiteY2" fmla="*/ 7911 h 10007"/>
              <a:gd name="connsiteX3" fmla="*/ 10000 w 10000"/>
              <a:gd name="connsiteY3" fmla="*/ 7 h 10007"/>
              <a:gd name="connsiteX4" fmla="*/ 6 w 10000"/>
              <a:gd name="connsiteY4" fmla="*/ 0 h 100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7">
                <a:moveTo>
                  <a:pt x="6" y="0"/>
                </a:moveTo>
                <a:cubicBezTo>
                  <a:pt x="4" y="2358"/>
                  <a:pt x="2" y="7650"/>
                  <a:pt x="0" y="10007"/>
                </a:cubicBezTo>
                <a:lnTo>
                  <a:pt x="10000" y="7911"/>
                </a:lnTo>
                <a:lnTo>
                  <a:pt x="10000" y="7"/>
                </a:lnTo>
                <a:lnTo>
                  <a:pt x="6" y="0"/>
                </a:lnTo>
                <a:close/>
              </a:path>
            </a:pathLst>
          </a:custGeom>
          <a:solidFill>
            <a:srgbClr val="FFE600"/>
          </a:solidFill>
          <a:ln w="9525">
            <a:noFill/>
            <a:round/>
            <a:headEnd/>
            <a:tailEnd/>
          </a:ln>
        </p:spPr>
        <p:txBody>
          <a:bodyPr vert="horz" wrap="square" lIns="91392" tIns="45696" rIns="91392" bIns="45696" numCol="1" anchor="t" anchorCtr="0" compatLnSpc="1">
            <a:prstTxWarp prst="textNoShape">
              <a:avLst/>
            </a:prstTxWarp>
          </a:bodyPr>
          <a:lstStyle/>
          <a:p>
            <a:endParaRPr lang="en-GB" sz="1799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9306FE6B-2888-42EC-9409-22E0C44C3EF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15103" y="1476597"/>
            <a:ext cx="5419932" cy="860400"/>
          </a:xfrm>
        </p:spPr>
        <p:txBody>
          <a:bodyPr/>
          <a:lstStyle>
            <a:lvl1pPr>
              <a:defRPr sz="2999" b="0">
                <a:solidFill>
                  <a:srgbClr val="404040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GB" dirty="0"/>
              <a:t>Title (EY Interstate Light 30 point)</a:t>
            </a: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62FC3DF6-2861-4293-9E33-F3E405EF9FA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915104" y="2422866"/>
            <a:ext cx="5419932" cy="391225"/>
          </a:xfrm>
        </p:spPr>
        <p:txBody>
          <a:bodyPr/>
          <a:lstStyle>
            <a:lvl1pPr marL="0" marR="0" indent="0" algn="l" defTabSz="91394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199"/>
              </a:spcAft>
              <a:buClr>
                <a:schemeClr val="accent2"/>
              </a:buClr>
              <a:buSzPct val="70000"/>
              <a:buFont typeface="Arial" pitchFamily="34" charset="0"/>
              <a:buNone/>
              <a:tabLst/>
              <a:defRPr sz="1599" b="0">
                <a:solidFill>
                  <a:srgbClr val="404040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599">
                <a:solidFill>
                  <a:srgbClr val="404040"/>
                </a:solidFill>
              </a:defRPr>
            </a:lvl2pPr>
            <a:lvl3pPr marL="913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9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8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8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7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sz="1599" dirty="0"/>
              <a:t>Subtitle (EY Interstate 16 point)</a:t>
            </a:r>
          </a:p>
          <a:p>
            <a:pPr marL="0" marR="0" lvl="0" indent="0" algn="l" defTabSz="91394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199"/>
              </a:spcAft>
              <a:buClr>
                <a:schemeClr val="accent2"/>
              </a:buClr>
              <a:buSzPct val="70000"/>
              <a:buFont typeface="Arial" pitchFamily="34" charset="0"/>
              <a:buNone/>
              <a:tabLst/>
              <a:defRPr/>
            </a:pPr>
            <a:r>
              <a:rPr lang="en-IN" b="1" dirty="0"/>
              <a:t>XX Month 200X (EY Interstate bold 16 point)</a:t>
            </a:r>
          </a:p>
        </p:txBody>
      </p:sp>
      <p:grpSp>
        <p:nvGrpSpPr>
          <p:cNvPr id="11" name="Group 4">
            <a:extLst>
              <a:ext uri="{FF2B5EF4-FFF2-40B4-BE49-F238E27FC236}">
                <a16:creationId xmlns:a16="http://schemas.microsoft.com/office/drawing/2014/main" id="{9028A34C-C83A-4B49-97F1-0B4317EB279C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280652" y="5340350"/>
            <a:ext cx="1316566" cy="1157288"/>
            <a:chOff x="4857" y="3364"/>
            <a:chExt cx="622" cy="729"/>
          </a:xfrm>
        </p:grpSpPr>
        <p:sp>
          <p:nvSpPr>
            <p:cNvPr id="12" name="AutoShape 3">
              <a:extLst>
                <a:ext uri="{FF2B5EF4-FFF2-40B4-BE49-F238E27FC236}">
                  <a16:creationId xmlns:a16="http://schemas.microsoft.com/office/drawing/2014/main" id="{5B105918-9C6D-4EC1-9467-952B7D69497A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4857" y="3364"/>
              <a:ext cx="622" cy="72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13" name="Freeform 5">
              <a:extLst>
                <a:ext uri="{FF2B5EF4-FFF2-40B4-BE49-F238E27FC236}">
                  <a16:creationId xmlns:a16="http://schemas.microsoft.com/office/drawing/2014/main" id="{CD3EC252-BD9D-4DED-9D68-1B3A10E1ECD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57" y="3364"/>
              <a:ext cx="498" cy="182"/>
            </a:xfrm>
            <a:custGeom>
              <a:avLst/>
              <a:gdLst>
                <a:gd name="T0" fmla="*/ 2491 w 2491"/>
                <a:gd name="T1" fmla="*/ 0 h 910"/>
                <a:gd name="T2" fmla="*/ 0 w 2491"/>
                <a:gd name="T3" fmla="*/ 910 h 910"/>
                <a:gd name="T4" fmla="*/ 2491 w 2491"/>
                <a:gd name="T5" fmla="*/ 469 h 910"/>
                <a:gd name="T6" fmla="*/ 2491 w 2491"/>
                <a:gd name="T7" fmla="*/ 0 h 9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91" h="910">
                  <a:moveTo>
                    <a:pt x="2491" y="0"/>
                  </a:moveTo>
                  <a:lnTo>
                    <a:pt x="0" y="910"/>
                  </a:lnTo>
                  <a:lnTo>
                    <a:pt x="2491" y="469"/>
                  </a:lnTo>
                  <a:lnTo>
                    <a:pt x="2491" y="0"/>
                  </a:lnTo>
                  <a:close/>
                </a:path>
              </a:pathLst>
            </a:custGeom>
            <a:solidFill>
              <a:srgbClr val="FEE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14" name="Freeform 6">
              <a:extLst>
                <a:ext uri="{FF2B5EF4-FFF2-40B4-BE49-F238E27FC236}">
                  <a16:creationId xmlns:a16="http://schemas.microsoft.com/office/drawing/2014/main" id="{EAC697A4-C647-48B0-A5F7-E7F4D0A4A79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857" y="3622"/>
              <a:ext cx="622" cy="471"/>
            </a:xfrm>
            <a:custGeom>
              <a:avLst/>
              <a:gdLst>
                <a:gd name="T0" fmla="*/ 235 w 3110"/>
                <a:gd name="T1" fmla="*/ 1600 h 2357"/>
                <a:gd name="T2" fmla="*/ 255 w 3110"/>
                <a:gd name="T3" fmla="*/ 1809 h 2357"/>
                <a:gd name="T4" fmla="*/ 152 w 3110"/>
                <a:gd name="T5" fmla="*/ 1823 h 2357"/>
                <a:gd name="T6" fmla="*/ 353 w 3110"/>
                <a:gd name="T7" fmla="*/ 1774 h 2357"/>
                <a:gd name="T8" fmla="*/ 419 w 3110"/>
                <a:gd name="T9" fmla="*/ 1871 h 2357"/>
                <a:gd name="T10" fmla="*/ 1148 w 3110"/>
                <a:gd name="T11" fmla="*/ 1664 h 2357"/>
                <a:gd name="T12" fmla="*/ 1225 w 3110"/>
                <a:gd name="T13" fmla="*/ 1751 h 2357"/>
                <a:gd name="T14" fmla="*/ 701 w 3110"/>
                <a:gd name="T15" fmla="*/ 1558 h 2357"/>
                <a:gd name="T16" fmla="*/ 744 w 3110"/>
                <a:gd name="T17" fmla="*/ 1723 h 2357"/>
                <a:gd name="T18" fmla="*/ 866 w 3110"/>
                <a:gd name="T19" fmla="*/ 1868 h 2357"/>
                <a:gd name="T20" fmla="*/ 838 w 3110"/>
                <a:gd name="T21" fmla="*/ 1696 h 2357"/>
                <a:gd name="T22" fmla="*/ 2035 w 3110"/>
                <a:gd name="T23" fmla="*/ 1874 h 2357"/>
                <a:gd name="T24" fmla="*/ 2173 w 3110"/>
                <a:gd name="T25" fmla="*/ 1760 h 2357"/>
                <a:gd name="T26" fmla="*/ 2115 w 3110"/>
                <a:gd name="T27" fmla="*/ 1743 h 2357"/>
                <a:gd name="T28" fmla="*/ 2074 w 3110"/>
                <a:gd name="T29" fmla="*/ 1696 h 2357"/>
                <a:gd name="T30" fmla="*/ 1318 w 3110"/>
                <a:gd name="T31" fmla="*/ 1748 h 2357"/>
                <a:gd name="T32" fmla="*/ 1455 w 3110"/>
                <a:gd name="T33" fmla="*/ 1858 h 2357"/>
                <a:gd name="T34" fmla="*/ 1484 w 3110"/>
                <a:gd name="T35" fmla="*/ 1938 h 2357"/>
                <a:gd name="T36" fmla="*/ 1378 w 3110"/>
                <a:gd name="T37" fmla="*/ 1794 h 2357"/>
                <a:gd name="T38" fmla="*/ 1740 w 3110"/>
                <a:gd name="T39" fmla="*/ 1690 h 2357"/>
                <a:gd name="T40" fmla="*/ 1644 w 3110"/>
                <a:gd name="T41" fmla="*/ 1791 h 2357"/>
                <a:gd name="T42" fmla="*/ 1835 w 3110"/>
                <a:gd name="T43" fmla="*/ 1723 h 2357"/>
                <a:gd name="T44" fmla="*/ 1698 w 3110"/>
                <a:gd name="T45" fmla="*/ 1800 h 2357"/>
                <a:gd name="T46" fmla="*/ 1721 w 3110"/>
                <a:gd name="T47" fmla="*/ 1831 h 2357"/>
                <a:gd name="T48" fmla="*/ 2256 w 3110"/>
                <a:gd name="T49" fmla="*/ 1780 h 2357"/>
                <a:gd name="T50" fmla="*/ 2243 w 3110"/>
                <a:gd name="T51" fmla="*/ 1665 h 2357"/>
                <a:gd name="T52" fmla="*/ 2306 w 3110"/>
                <a:gd name="T53" fmla="*/ 1880 h 2357"/>
                <a:gd name="T54" fmla="*/ 2338 w 3110"/>
                <a:gd name="T55" fmla="*/ 1722 h 2357"/>
                <a:gd name="T56" fmla="*/ 2929 w 3110"/>
                <a:gd name="T57" fmla="*/ 1763 h 2357"/>
                <a:gd name="T58" fmla="*/ 2750 w 3110"/>
                <a:gd name="T59" fmla="*/ 1695 h 2357"/>
                <a:gd name="T60" fmla="*/ 2872 w 3110"/>
                <a:gd name="T61" fmla="*/ 1874 h 2357"/>
                <a:gd name="T62" fmla="*/ 2658 w 3110"/>
                <a:gd name="T63" fmla="*/ 1797 h 2357"/>
                <a:gd name="T64" fmla="*/ 2623 w 3110"/>
                <a:gd name="T65" fmla="*/ 1867 h 2357"/>
                <a:gd name="T66" fmla="*/ 2482 w 3110"/>
                <a:gd name="T67" fmla="*/ 1876 h 2357"/>
                <a:gd name="T68" fmla="*/ 2513 w 3110"/>
                <a:gd name="T69" fmla="*/ 1825 h 2357"/>
                <a:gd name="T70" fmla="*/ 3019 w 3110"/>
                <a:gd name="T71" fmla="*/ 1651 h 2357"/>
                <a:gd name="T72" fmla="*/ 981 w 3110"/>
                <a:gd name="T73" fmla="*/ 1874 h 2357"/>
                <a:gd name="T74" fmla="*/ 2433 w 3110"/>
                <a:gd name="T75" fmla="*/ 2085 h 2357"/>
                <a:gd name="T76" fmla="*/ 2528 w 3110"/>
                <a:gd name="T77" fmla="*/ 2268 h 2357"/>
                <a:gd name="T78" fmla="*/ 2503 w 3110"/>
                <a:gd name="T79" fmla="*/ 2090 h 2357"/>
                <a:gd name="T80" fmla="*/ 631 w 3110"/>
                <a:gd name="T81" fmla="*/ 2093 h 2357"/>
                <a:gd name="T82" fmla="*/ 677 w 3110"/>
                <a:gd name="T83" fmla="*/ 2105 h 2357"/>
                <a:gd name="T84" fmla="*/ 203 w 3110"/>
                <a:gd name="T85" fmla="*/ 2151 h 2357"/>
                <a:gd name="T86" fmla="*/ 312 w 3110"/>
                <a:gd name="T87" fmla="*/ 2190 h 2357"/>
                <a:gd name="T88" fmla="*/ 507 w 3110"/>
                <a:gd name="T89" fmla="*/ 2190 h 2357"/>
                <a:gd name="T90" fmla="*/ 377 w 3110"/>
                <a:gd name="T91" fmla="*/ 2201 h 2357"/>
                <a:gd name="T92" fmla="*/ 442 w 3110"/>
                <a:gd name="T93" fmla="*/ 2201 h 2357"/>
                <a:gd name="T94" fmla="*/ 2213 w 3110"/>
                <a:gd name="T95" fmla="*/ 2056 h 2357"/>
                <a:gd name="T96" fmla="*/ 1608 w 3110"/>
                <a:gd name="T97" fmla="*/ 2042 h 2357"/>
                <a:gd name="T98" fmla="*/ 1951 w 3110"/>
                <a:gd name="T99" fmla="*/ 2062 h 2357"/>
                <a:gd name="T100" fmla="*/ 2016 w 3110"/>
                <a:gd name="T101" fmla="*/ 2271 h 2357"/>
                <a:gd name="T102" fmla="*/ 2075 w 3110"/>
                <a:gd name="T103" fmla="*/ 2057 h 2357"/>
                <a:gd name="T104" fmla="*/ 2016 w 3110"/>
                <a:gd name="T105" fmla="*/ 2089 h 2357"/>
                <a:gd name="T106" fmla="*/ 772 w 3110"/>
                <a:gd name="T107" fmla="*/ 1949 h 2357"/>
                <a:gd name="T108" fmla="*/ 1210 w 3110"/>
                <a:gd name="T109" fmla="*/ 2052 h 2357"/>
                <a:gd name="T110" fmla="*/ 1116 w 3110"/>
                <a:gd name="T111" fmla="*/ 2102 h 2357"/>
                <a:gd name="T112" fmla="*/ 1289 w 3110"/>
                <a:gd name="T113" fmla="*/ 2093 h 2357"/>
                <a:gd name="T114" fmla="*/ 1395 w 3110"/>
                <a:gd name="T115" fmla="*/ 2266 h 2357"/>
                <a:gd name="T116" fmla="*/ 1413 w 3110"/>
                <a:gd name="T117" fmla="*/ 2350 h 2357"/>
                <a:gd name="T118" fmla="*/ 1364 w 3110"/>
                <a:gd name="T119" fmla="*/ 2217 h 2357"/>
                <a:gd name="T120" fmla="*/ 1000 w 3110"/>
                <a:gd name="T121" fmla="*/ 2139 h 2357"/>
                <a:gd name="T122" fmla="*/ 400 w 3110"/>
                <a:gd name="T123" fmla="*/ 970 h 23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110" h="2357">
                  <a:moveTo>
                    <a:pt x="259" y="1777"/>
                  </a:moveTo>
                  <a:lnTo>
                    <a:pt x="259" y="1777"/>
                  </a:lnTo>
                  <a:lnTo>
                    <a:pt x="259" y="1769"/>
                  </a:lnTo>
                  <a:lnTo>
                    <a:pt x="258" y="1762"/>
                  </a:lnTo>
                  <a:lnTo>
                    <a:pt x="255" y="1749"/>
                  </a:lnTo>
                  <a:lnTo>
                    <a:pt x="249" y="1738"/>
                  </a:lnTo>
                  <a:lnTo>
                    <a:pt x="242" y="1729"/>
                  </a:lnTo>
                  <a:lnTo>
                    <a:pt x="235" y="1722"/>
                  </a:lnTo>
                  <a:lnTo>
                    <a:pt x="227" y="1717"/>
                  </a:lnTo>
                  <a:lnTo>
                    <a:pt x="220" y="1712"/>
                  </a:lnTo>
                  <a:lnTo>
                    <a:pt x="213" y="1709"/>
                  </a:lnTo>
                  <a:lnTo>
                    <a:pt x="213" y="1709"/>
                  </a:lnTo>
                  <a:lnTo>
                    <a:pt x="221" y="1703"/>
                  </a:lnTo>
                  <a:lnTo>
                    <a:pt x="228" y="1698"/>
                  </a:lnTo>
                  <a:lnTo>
                    <a:pt x="233" y="1691"/>
                  </a:lnTo>
                  <a:lnTo>
                    <a:pt x="239" y="1683"/>
                  </a:lnTo>
                  <a:lnTo>
                    <a:pt x="243" y="1675"/>
                  </a:lnTo>
                  <a:lnTo>
                    <a:pt x="246" y="1666"/>
                  </a:lnTo>
                  <a:lnTo>
                    <a:pt x="248" y="1658"/>
                  </a:lnTo>
                  <a:lnTo>
                    <a:pt x="248" y="1648"/>
                  </a:lnTo>
                  <a:lnTo>
                    <a:pt x="248" y="1648"/>
                  </a:lnTo>
                  <a:lnTo>
                    <a:pt x="248" y="1639"/>
                  </a:lnTo>
                  <a:lnTo>
                    <a:pt x="247" y="1630"/>
                  </a:lnTo>
                  <a:lnTo>
                    <a:pt x="245" y="1622"/>
                  </a:lnTo>
                  <a:lnTo>
                    <a:pt x="242" y="1614"/>
                  </a:lnTo>
                  <a:lnTo>
                    <a:pt x="239" y="1606"/>
                  </a:lnTo>
                  <a:lnTo>
                    <a:pt x="235" y="1600"/>
                  </a:lnTo>
                  <a:lnTo>
                    <a:pt x="229" y="1594"/>
                  </a:lnTo>
                  <a:lnTo>
                    <a:pt x="223" y="1589"/>
                  </a:lnTo>
                  <a:lnTo>
                    <a:pt x="217" y="1584"/>
                  </a:lnTo>
                  <a:lnTo>
                    <a:pt x="210" y="1580"/>
                  </a:lnTo>
                  <a:lnTo>
                    <a:pt x="202" y="1576"/>
                  </a:lnTo>
                  <a:lnTo>
                    <a:pt x="193" y="1573"/>
                  </a:lnTo>
                  <a:lnTo>
                    <a:pt x="185" y="1571"/>
                  </a:lnTo>
                  <a:lnTo>
                    <a:pt x="175" y="1569"/>
                  </a:lnTo>
                  <a:lnTo>
                    <a:pt x="165" y="1569"/>
                  </a:lnTo>
                  <a:lnTo>
                    <a:pt x="153" y="1568"/>
                  </a:lnTo>
                  <a:lnTo>
                    <a:pt x="22" y="1568"/>
                  </a:lnTo>
                  <a:lnTo>
                    <a:pt x="22" y="1874"/>
                  </a:lnTo>
                  <a:lnTo>
                    <a:pt x="152" y="1874"/>
                  </a:lnTo>
                  <a:lnTo>
                    <a:pt x="152" y="1874"/>
                  </a:lnTo>
                  <a:lnTo>
                    <a:pt x="165" y="1874"/>
                  </a:lnTo>
                  <a:lnTo>
                    <a:pt x="176" y="1873"/>
                  </a:lnTo>
                  <a:lnTo>
                    <a:pt x="187" y="1871"/>
                  </a:lnTo>
                  <a:lnTo>
                    <a:pt x="197" y="1868"/>
                  </a:lnTo>
                  <a:lnTo>
                    <a:pt x="207" y="1864"/>
                  </a:lnTo>
                  <a:lnTo>
                    <a:pt x="216" y="1860"/>
                  </a:lnTo>
                  <a:lnTo>
                    <a:pt x="223" y="1854"/>
                  </a:lnTo>
                  <a:lnTo>
                    <a:pt x="230" y="1849"/>
                  </a:lnTo>
                  <a:lnTo>
                    <a:pt x="237" y="1842"/>
                  </a:lnTo>
                  <a:lnTo>
                    <a:pt x="242" y="1834"/>
                  </a:lnTo>
                  <a:lnTo>
                    <a:pt x="248" y="1827"/>
                  </a:lnTo>
                  <a:lnTo>
                    <a:pt x="251" y="1818"/>
                  </a:lnTo>
                  <a:lnTo>
                    <a:pt x="255" y="1809"/>
                  </a:lnTo>
                  <a:lnTo>
                    <a:pt x="257" y="1799"/>
                  </a:lnTo>
                  <a:lnTo>
                    <a:pt x="258" y="1788"/>
                  </a:lnTo>
                  <a:lnTo>
                    <a:pt x="259" y="1777"/>
                  </a:lnTo>
                  <a:lnTo>
                    <a:pt x="259" y="1777"/>
                  </a:lnTo>
                  <a:close/>
                  <a:moveTo>
                    <a:pt x="152" y="1823"/>
                  </a:moveTo>
                  <a:lnTo>
                    <a:pt x="79" y="1823"/>
                  </a:lnTo>
                  <a:lnTo>
                    <a:pt x="79" y="1735"/>
                  </a:lnTo>
                  <a:lnTo>
                    <a:pt x="152" y="1735"/>
                  </a:lnTo>
                  <a:lnTo>
                    <a:pt x="152" y="1735"/>
                  </a:lnTo>
                  <a:lnTo>
                    <a:pt x="163" y="1737"/>
                  </a:lnTo>
                  <a:lnTo>
                    <a:pt x="172" y="1738"/>
                  </a:lnTo>
                  <a:lnTo>
                    <a:pt x="180" y="1741"/>
                  </a:lnTo>
                  <a:lnTo>
                    <a:pt x="187" y="1747"/>
                  </a:lnTo>
                  <a:lnTo>
                    <a:pt x="192" y="1752"/>
                  </a:lnTo>
                  <a:lnTo>
                    <a:pt x="196" y="1760"/>
                  </a:lnTo>
                  <a:lnTo>
                    <a:pt x="198" y="1769"/>
                  </a:lnTo>
                  <a:lnTo>
                    <a:pt x="199" y="1779"/>
                  </a:lnTo>
                  <a:lnTo>
                    <a:pt x="199" y="1779"/>
                  </a:lnTo>
                  <a:lnTo>
                    <a:pt x="198" y="1789"/>
                  </a:lnTo>
                  <a:lnTo>
                    <a:pt x="196" y="1798"/>
                  </a:lnTo>
                  <a:lnTo>
                    <a:pt x="191" y="1805"/>
                  </a:lnTo>
                  <a:lnTo>
                    <a:pt x="187" y="1811"/>
                  </a:lnTo>
                  <a:lnTo>
                    <a:pt x="180" y="1817"/>
                  </a:lnTo>
                  <a:lnTo>
                    <a:pt x="172" y="1820"/>
                  </a:lnTo>
                  <a:lnTo>
                    <a:pt x="162" y="1822"/>
                  </a:lnTo>
                  <a:lnTo>
                    <a:pt x="152" y="1823"/>
                  </a:lnTo>
                  <a:lnTo>
                    <a:pt x="152" y="1823"/>
                  </a:lnTo>
                  <a:close/>
                  <a:moveTo>
                    <a:pt x="151" y="1685"/>
                  </a:moveTo>
                  <a:lnTo>
                    <a:pt x="79" y="1685"/>
                  </a:lnTo>
                  <a:lnTo>
                    <a:pt x="79" y="1620"/>
                  </a:lnTo>
                  <a:lnTo>
                    <a:pt x="149" y="1620"/>
                  </a:lnTo>
                  <a:lnTo>
                    <a:pt x="149" y="1620"/>
                  </a:lnTo>
                  <a:lnTo>
                    <a:pt x="158" y="1621"/>
                  </a:lnTo>
                  <a:lnTo>
                    <a:pt x="167" y="1622"/>
                  </a:lnTo>
                  <a:lnTo>
                    <a:pt x="173" y="1624"/>
                  </a:lnTo>
                  <a:lnTo>
                    <a:pt x="179" y="1628"/>
                  </a:lnTo>
                  <a:lnTo>
                    <a:pt x="183" y="1633"/>
                  </a:lnTo>
                  <a:lnTo>
                    <a:pt x="187" y="1639"/>
                  </a:lnTo>
                  <a:lnTo>
                    <a:pt x="188" y="1645"/>
                  </a:lnTo>
                  <a:lnTo>
                    <a:pt x="189" y="1653"/>
                  </a:lnTo>
                  <a:lnTo>
                    <a:pt x="189" y="1653"/>
                  </a:lnTo>
                  <a:lnTo>
                    <a:pt x="189" y="1659"/>
                  </a:lnTo>
                  <a:lnTo>
                    <a:pt x="188" y="1664"/>
                  </a:lnTo>
                  <a:lnTo>
                    <a:pt x="186" y="1670"/>
                  </a:lnTo>
                  <a:lnTo>
                    <a:pt x="182" y="1674"/>
                  </a:lnTo>
                  <a:lnTo>
                    <a:pt x="177" y="1679"/>
                  </a:lnTo>
                  <a:lnTo>
                    <a:pt x="170" y="1682"/>
                  </a:lnTo>
                  <a:lnTo>
                    <a:pt x="162" y="1684"/>
                  </a:lnTo>
                  <a:lnTo>
                    <a:pt x="151" y="1685"/>
                  </a:lnTo>
                  <a:lnTo>
                    <a:pt x="151" y="1685"/>
                  </a:lnTo>
                  <a:close/>
                  <a:moveTo>
                    <a:pt x="298" y="1778"/>
                  </a:moveTo>
                  <a:lnTo>
                    <a:pt x="298" y="1651"/>
                  </a:lnTo>
                  <a:lnTo>
                    <a:pt x="353" y="1651"/>
                  </a:lnTo>
                  <a:lnTo>
                    <a:pt x="353" y="1774"/>
                  </a:lnTo>
                  <a:lnTo>
                    <a:pt x="353" y="1774"/>
                  </a:lnTo>
                  <a:lnTo>
                    <a:pt x="353" y="1787"/>
                  </a:lnTo>
                  <a:lnTo>
                    <a:pt x="356" y="1799"/>
                  </a:lnTo>
                  <a:lnTo>
                    <a:pt x="359" y="1808"/>
                  </a:lnTo>
                  <a:lnTo>
                    <a:pt x="363" y="1815"/>
                  </a:lnTo>
                  <a:lnTo>
                    <a:pt x="369" y="1821"/>
                  </a:lnTo>
                  <a:lnTo>
                    <a:pt x="376" y="1825"/>
                  </a:lnTo>
                  <a:lnTo>
                    <a:pt x="385" y="1828"/>
                  </a:lnTo>
                  <a:lnTo>
                    <a:pt x="395" y="1829"/>
                  </a:lnTo>
                  <a:lnTo>
                    <a:pt x="395" y="1829"/>
                  </a:lnTo>
                  <a:lnTo>
                    <a:pt x="405" y="1828"/>
                  </a:lnTo>
                  <a:lnTo>
                    <a:pt x="412" y="1825"/>
                  </a:lnTo>
                  <a:lnTo>
                    <a:pt x="420" y="1821"/>
                  </a:lnTo>
                  <a:lnTo>
                    <a:pt x="426" y="1815"/>
                  </a:lnTo>
                  <a:lnTo>
                    <a:pt x="430" y="1808"/>
                  </a:lnTo>
                  <a:lnTo>
                    <a:pt x="433" y="1798"/>
                  </a:lnTo>
                  <a:lnTo>
                    <a:pt x="436" y="1787"/>
                  </a:lnTo>
                  <a:lnTo>
                    <a:pt x="436" y="1774"/>
                  </a:lnTo>
                  <a:lnTo>
                    <a:pt x="436" y="1651"/>
                  </a:lnTo>
                  <a:lnTo>
                    <a:pt x="491" y="1651"/>
                  </a:lnTo>
                  <a:lnTo>
                    <a:pt x="491" y="1874"/>
                  </a:lnTo>
                  <a:lnTo>
                    <a:pt x="436" y="1874"/>
                  </a:lnTo>
                  <a:lnTo>
                    <a:pt x="436" y="1857"/>
                  </a:lnTo>
                  <a:lnTo>
                    <a:pt x="436" y="1857"/>
                  </a:lnTo>
                  <a:lnTo>
                    <a:pt x="431" y="1862"/>
                  </a:lnTo>
                  <a:lnTo>
                    <a:pt x="425" y="1867"/>
                  </a:lnTo>
                  <a:lnTo>
                    <a:pt x="419" y="1871"/>
                  </a:lnTo>
                  <a:lnTo>
                    <a:pt x="412" y="1873"/>
                  </a:lnTo>
                  <a:lnTo>
                    <a:pt x="406" y="1877"/>
                  </a:lnTo>
                  <a:lnTo>
                    <a:pt x="398" y="1878"/>
                  </a:lnTo>
                  <a:lnTo>
                    <a:pt x="390" y="1879"/>
                  </a:lnTo>
                  <a:lnTo>
                    <a:pt x="382" y="1880"/>
                  </a:lnTo>
                  <a:lnTo>
                    <a:pt x="382" y="1880"/>
                  </a:lnTo>
                  <a:lnTo>
                    <a:pt x="369" y="1879"/>
                  </a:lnTo>
                  <a:lnTo>
                    <a:pt x="358" y="1877"/>
                  </a:lnTo>
                  <a:lnTo>
                    <a:pt x="348" y="1873"/>
                  </a:lnTo>
                  <a:lnTo>
                    <a:pt x="338" y="1869"/>
                  </a:lnTo>
                  <a:lnTo>
                    <a:pt x="330" y="1863"/>
                  </a:lnTo>
                  <a:lnTo>
                    <a:pt x="323" y="1858"/>
                  </a:lnTo>
                  <a:lnTo>
                    <a:pt x="318" y="1850"/>
                  </a:lnTo>
                  <a:lnTo>
                    <a:pt x="312" y="1842"/>
                  </a:lnTo>
                  <a:lnTo>
                    <a:pt x="309" y="1834"/>
                  </a:lnTo>
                  <a:lnTo>
                    <a:pt x="306" y="1827"/>
                  </a:lnTo>
                  <a:lnTo>
                    <a:pt x="301" y="1809"/>
                  </a:lnTo>
                  <a:lnTo>
                    <a:pt x="299" y="1792"/>
                  </a:lnTo>
                  <a:lnTo>
                    <a:pt x="298" y="1778"/>
                  </a:lnTo>
                  <a:lnTo>
                    <a:pt x="298" y="1778"/>
                  </a:lnTo>
                  <a:close/>
                  <a:moveTo>
                    <a:pt x="1143" y="1874"/>
                  </a:moveTo>
                  <a:lnTo>
                    <a:pt x="1087" y="1874"/>
                  </a:lnTo>
                  <a:lnTo>
                    <a:pt x="1087" y="1651"/>
                  </a:lnTo>
                  <a:lnTo>
                    <a:pt x="1143" y="1651"/>
                  </a:lnTo>
                  <a:lnTo>
                    <a:pt x="1143" y="1670"/>
                  </a:lnTo>
                  <a:lnTo>
                    <a:pt x="1143" y="1670"/>
                  </a:lnTo>
                  <a:lnTo>
                    <a:pt x="1148" y="1664"/>
                  </a:lnTo>
                  <a:lnTo>
                    <a:pt x="1154" y="1659"/>
                  </a:lnTo>
                  <a:lnTo>
                    <a:pt x="1160" y="1655"/>
                  </a:lnTo>
                  <a:lnTo>
                    <a:pt x="1167" y="1652"/>
                  </a:lnTo>
                  <a:lnTo>
                    <a:pt x="1175" y="1649"/>
                  </a:lnTo>
                  <a:lnTo>
                    <a:pt x="1182" y="1648"/>
                  </a:lnTo>
                  <a:lnTo>
                    <a:pt x="1190" y="1646"/>
                  </a:lnTo>
                  <a:lnTo>
                    <a:pt x="1198" y="1645"/>
                  </a:lnTo>
                  <a:lnTo>
                    <a:pt x="1198" y="1645"/>
                  </a:lnTo>
                  <a:lnTo>
                    <a:pt x="1208" y="1646"/>
                  </a:lnTo>
                  <a:lnTo>
                    <a:pt x="1217" y="1648"/>
                  </a:lnTo>
                  <a:lnTo>
                    <a:pt x="1226" y="1650"/>
                  </a:lnTo>
                  <a:lnTo>
                    <a:pt x="1234" y="1652"/>
                  </a:lnTo>
                  <a:lnTo>
                    <a:pt x="1242" y="1655"/>
                  </a:lnTo>
                  <a:lnTo>
                    <a:pt x="1248" y="1661"/>
                  </a:lnTo>
                  <a:lnTo>
                    <a:pt x="1254" y="1665"/>
                  </a:lnTo>
                  <a:lnTo>
                    <a:pt x="1259" y="1672"/>
                  </a:lnTo>
                  <a:lnTo>
                    <a:pt x="1265" y="1679"/>
                  </a:lnTo>
                  <a:lnTo>
                    <a:pt x="1268" y="1686"/>
                  </a:lnTo>
                  <a:lnTo>
                    <a:pt x="1273" y="1694"/>
                  </a:lnTo>
                  <a:lnTo>
                    <a:pt x="1275" y="1703"/>
                  </a:lnTo>
                  <a:lnTo>
                    <a:pt x="1277" y="1713"/>
                  </a:lnTo>
                  <a:lnTo>
                    <a:pt x="1279" y="1724"/>
                  </a:lnTo>
                  <a:lnTo>
                    <a:pt x="1280" y="1735"/>
                  </a:lnTo>
                  <a:lnTo>
                    <a:pt x="1280" y="1748"/>
                  </a:lnTo>
                  <a:lnTo>
                    <a:pt x="1280" y="1874"/>
                  </a:lnTo>
                  <a:lnTo>
                    <a:pt x="1225" y="1874"/>
                  </a:lnTo>
                  <a:lnTo>
                    <a:pt x="1225" y="1751"/>
                  </a:lnTo>
                  <a:lnTo>
                    <a:pt x="1225" y="1751"/>
                  </a:lnTo>
                  <a:lnTo>
                    <a:pt x="1225" y="1738"/>
                  </a:lnTo>
                  <a:lnTo>
                    <a:pt x="1223" y="1727"/>
                  </a:lnTo>
                  <a:lnTo>
                    <a:pt x="1219" y="1718"/>
                  </a:lnTo>
                  <a:lnTo>
                    <a:pt x="1215" y="1710"/>
                  </a:lnTo>
                  <a:lnTo>
                    <a:pt x="1209" y="1704"/>
                  </a:lnTo>
                  <a:lnTo>
                    <a:pt x="1203" y="1700"/>
                  </a:lnTo>
                  <a:lnTo>
                    <a:pt x="1195" y="1698"/>
                  </a:lnTo>
                  <a:lnTo>
                    <a:pt x="1185" y="1696"/>
                  </a:lnTo>
                  <a:lnTo>
                    <a:pt x="1185" y="1696"/>
                  </a:lnTo>
                  <a:lnTo>
                    <a:pt x="1175" y="1698"/>
                  </a:lnTo>
                  <a:lnTo>
                    <a:pt x="1166" y="1700"/>
                  </a:lnTo>
                  <a:lnTo>
                    <a:pt x="1159" y="1704"/>
                  </a:lnTo>
                  <a:lnTo>
                    <a:pt x="1154" y="1710"/>
                  </a:lnTo>
                  <a:lnTo>
                    <a:pt x="1148" y="1718"/>
                  </a:lnTo>
                  <a:lnTo>
                    <a:pt x="1145" y="1728"/>
                  </a:lnTo>
                  <a:lnTo>
                    <a:pt x="1143" y="1739"/>
                  </a:lnTo>
                  <a:lnTo>
                    <a:pt x="1143" y="1751"/>
                  </a:lnTo>
                  <a:lnTo>
                    <a:pt x="1143" y="1874"/>
                  </a:lnTo>
                  <a:close/>
                  <a:moveTo>
                    <a:pt x="597" y="1755"/>
                  </a:moveTo>
                  <a:lnTo>
                    <a:pt x="597" y="1874"/>
                  </a:lnTo>
                  <a:lnTo>
                    <a:pt x="541" y="1874"/>
                  </a:lnTo>
                  <a:lnTo>
                    <a:pt x="541" y="1651"/>
                  </a:lnTo>
                  <a:lnTo>
                    <a:pt x="597" y="1651"/>
                  </a:lnTo>
                  <a:lnTo>
                    <a:pt x="597" y="1755"/>
                  </a:lnTo>
                  <a:close/>
                  <a:moveTo>
                    <a:pt x="646" y="1585"/>
                  </a:moveTo>
                  <a:lnTo>
                    <a:pt x="701" y="1558"/>
                  </a:lnTo>
                  <a:lnTo>
                    <a:pt x="701" y="1760"/>
                  </a:lnTo>
                  <a:lnTo>
                    <a:pt x="701" y="1874"/>
                  </a:lnTo>
                  <a:lnTo>
                    <a:pt x="646" y="1874"/>
                  </a:lnTo>
                  <a:lnTo>
                    <a:pt x="646" y="1585"/>
                  </a:lnTo>
                  <a:close/>
                  <a:moveTo>
                    <a:pt x="877" y="1666"/>
                  </a:moveTo>
                  <a:lnTo>
                    <a:pt x="877" y="1666"/>
                  </a:lnTo>
                  <a:lnTo>
                    <a:pt x="873" y="1661"/>
                  </a:lnTo>
                  <a:lnTo>
                    <a:pt x="867" y="1658"/>
                  </a:lnTo>
                  <a:lnTo>
                    <a:pt x="860" y="1653"/>
                  </a:lnTo>
                  <a:lnTo>
                    <a:pt x="855" y="1651"/>
                  </a:lnTo>
                  <a:lnTo>
                    <a:pt x="848" y="1649"/>
                  </a:lnTo>
                  <a:lnTo>
                    <a:pt x="841" y="1646"/>
                  </a:lnTo>
                  <a:lnTo>
                    <a:pt x="828" y="1645"/>
                  </a:lnTo>
                  <a:lnTo>
                    <a:pt x="828" y="1645"/>
                  </a:lnTo>
                  <a:lnTo>
                    <a:pt x="818" y="1646"/>
                  </a:lnTo>
                  <a:lnTo>
                    <a:pt x="808" y="1648"/>
                  </a:lnTo>
                  <a:lnTo>
                    <a:pt x="799" y="1650"/>
                  </a:lnTo>
                  <a:lnTo>
                    <a:pt x="791" y="1653"/>
                  </a:lnTo>
                  <a:lnTo>
                    <a:pt x="784" y="1658"/>
                  </a:lnTo>
                  <a:lnTo>
                    <a:pt x="776" y="1663"/>
                  </a:lnTo>
                  <a:lnTo>
                    <a:pt x="769" y="1670"/>
                  </a:lnTo>
                  <a:lnTo>
                    <a:pt x="764" y="1676"/>
                  </a:lnTo>
                  <a:lnTo>
                    <a:pt x="758" y="1684"/>
                  </a:lnTo>
                  <a:lnTo>
                    <a:pt x="754" y="1693"/>
                  </a:lnTo>
                  <a:lnTo>
                    <a:pt x="749" y="1702"/>
                  </a:lnTo>
                  <a:lnTo>
                    <a:pt x="746" y="1712"/>
                  </a:lnTo>
                  <a:lnTo>
                    <a:pt x="744" y="1723"/>
                  </a:lnTo>
                  <a:lnTo>
                    <a:pt x="741" y="1735"/>
                  </a:lnTo>
                  <a:lnTo>
                    <a:pt x="740" y="1748"/>
                  </a:lnTo>
                  <a:lnTo>
                    <a:pt x="740" y="1760"/>
                  </a:lnTo>
                  <a:lnTo>
                    <a:pt x="740" y="1760"/>
                  </a:lnTo>
                  <a:lnTo>
                    <a:pt x="740" y="1774"/>
                  </a:lnTo>
                  <a:lnTo>
                    <a:pt x="741" y="1787"/>
                  </a:lnTo>
                  <a:lnTo>
                    <a:pt x="744" y="1799"/>
                  </a:lnTo>
                  <a:lnTo>
                    <a:pt x="746" y="1810"/>
                  </a:lnTo>
                  <a:lnTo>
                    <a:pt x="749" y="1821"/>
                  </a:lnTo>
                  <a:lnTo>
                    <a:pt x="752" y="1831"/>
                  </a:lnTo>
                  <a:lnTo>
                    <a:pt x="757" y="1840"/>
                  </a:lnTo>
                  <a:lnTo>
                    <a:pt x="762" y="1848"/>
                  </a:lnTo>
                  <a:lnTo>
                    <a:pt x="769" y="1856"/>
                  </a:lnTo>
                  <a:lnTo>
                    <a:pt x="775" y="1861"/>
                  </a:lnTo>
                  <a:lnTo>
                    <a:pt x="783" y="1867"/>
                  </a:lnTo>
                  <a:lnTo>
                    <a:pt x="790" y="1871"/>
                  </a:lnTo>
                  <a:lnTo>
                    <a:pt x="798" y="1874"/>
                  </a:lnTo>
                  <a:lnTo>
                    <a:pt x="807" y="1878"/>
                  </a:lnTo>
                  <a:lnTo>
                    <a:pt x="817" y="1879"/>
                  </a:lnTo>
                  <a:lnTo>
                    <a:pt x="827" y="1880"/>
                  </a:lnTo>
                  <a:lnTo>
                    <a:pt x="827" y="1880"/>
                  </a:lnTo>
                  <a:lnTo>
                    <a:pt x="834" y="1879"/>
                  </a:lnTo>
                  <a:lnTo>
                    <a:pt x="840" y="1878"/>
                  </a:lnTo>
                  <a:lnTo>
                    <a:pt x="847" y="1877"/>
                  </a:lnTo>
                  <a:lnTo>
                    <a:pt x="854" y="1874"/>
                  </a:lnTo>
                  <a:lnTo>
                    <a:pt x="859" y="1871"/>
                  </a:lnTo>
                  <a:lnTo>
                    <a:pt x="866" y="1868"/>
                  </a:lnTo>
                  <a:lnTo>
                    <a:pt x="871" y="1863"/>
                  </a:lnTo>
                  <a:lnTo>
                    <a:pt x="877" y="1858"/>
                  </a:lnTo>
                  <a:lnTo>
                    <a:pt x="877" y="1874"/>
                  </a:lnTo>
                  <a:lnTo>
                    <a:pt x="933" y="1874"/>
                  </a:lnTo>
                  <a:lnTo>
                    <a:pt x="933" y="1558"/>
                  </a:lnTo>
                  <a:lnTo>
                    <a:pt x="877" y="1585"/>
                  </a:lnTo>
                  <a:lnTo>
                    <a:pt x="877" y="1666"/>
                  </a:lnTo>
                  <a:close/>
                  <a:moveTo>
                    <a:pt x="838" y="1829"/>
                  </a:moveTo>
                  <a:lnTo>
                    <a:pt x="838" y="1829"/>
                  </a:lnTo>
                  <a:lnTo>
                    <a:pt x="831" y="1828"/>
                  </a:lnTo>
                  <a:lnTo>
                    <a:pt x="824" y="1825"/>
                  </a:lnTo>
                  <a:lnTo>
                    <a:pt x="817" y="1822"/>
                  </a:lnTo>
                  <a:lnTo>
                    <a:pt x="810" y="1815"/>
                  </a:lnTo>
                  <a:lnTo>
                    <a:pt x="805" y="1807"/>
                  </a:lnTo>
                  <a:lnTo>
                    <a:pt x="800" y="1794"/>
                  </a:lnTo>
                  <a:lnTo>
                    <a:pt x="797" y="1779"/>
                  </a:lnTo>
                  <a:lnTo>
                    <a:pt x="796" y="1759"/>
                  </a:lnTo>
                  <a:lnTo>
                    <a:pt x="796" y="1759"/>
                  </a:lnTo>
                  <a:lnTo>
                    <a:pt x="797" y="1741"/>
                  </a:lnTo>
                  <a:lnTo>
                    <a:pt x="800" y="1728"/>
                  </a:lnTo>
                  <a:lnTo>
                    <a:pt x="805" y="1717"/>
                  </a:lnTo>
                  <a:lnTo>
                    <a:pt x="810" y="1709"/>
                  </a:lnTo>
                  <a:lnTo>
                    <a:pt x="816" y="1702"/>
                  </a:lnTo>
                  <a:lnTo>
                    <a:pt x="824" y="1699"/>
                  </a:lnTo>
                  <a:lnTo>
                    <a:pt x="830" y="1696"/>
                  </a:lnTo>
                  <a:lnTo>
                    <a:pt x="838" y="1696"/>
                  </a:lnTo>
                  <a:lnTo>
                    <a:pt x="838" y="1696"/>
                  </a:lnTo>
                  <a:lnTo>
                    <a:pt x="845" y="1696"/>
                  </a:lnTo>
                  <a:lnTo>
                    <a:pt x="851" y="1699"/>
                  </a:lnTo>
                  <a:lnTo>
                    <a:pt x="858" y="1701"/>
                  </a:lnTo>
                  <a:lnTo>
                    <a:pt x="863" y="1704"/>
                  </a:lnTo>
                  <a:lnTo>
                    <a:pt x="867" y="1708"/>
                  </a:lnTo>
                  <a:lnTo>
                    <a:pt x="871" y="1711"/>
                  </a:lnTo>
                  <a:lnTo>
                    <a:pt x="877" y="1719"/>
                  </a:lnTo>
                  <a:lnTo>
                    <a:pt x="877" y="1807"/>
                  </a:lnTo>
                  <a:lnTo>
                    <a:pt x="877" y="1807"/>
                  </a:lnTo>
                  <a:lnTo>
                    <a:pt x="870" y="1814"/>
                  </a:lnTo>
                  <a:lnTo>
                    <a:pt x="863" y="1821"/>
                  </a:lnTo>
                  <a:lnTo>
                    <a:pt x="858" y="1824"/>
                  </a:lnTo>
                  <a:lnTo>
                    <a:pt x="851" y="1827"/>
                  </a:lnTo>
                  <a:lnTo>
                    <a:pt x="846" y="1828"/>
                  </a:lnTo>
                  <a:lnTo>
                    <a:pt x="838" y="1829"/>
                  </a:lnTo>
                  <a:lnTo>
                    <a:pt x="838" y="1829"/>
                  </a:lnTo>
                  <a:close/>
                  <a:moveTo>
                    <a:pt x="2084" y="1645"/>
                  </a:moveTo>
                  <a:lnTo>
                    <a:pt x="2084" y="1645"/>
                  </a:lnTo>
                  <a:lnTo>
                    <a:pt x="2079" y="1646"/>
                  </a:lnTo>
                  <a:lnTo>
                    <a:pt x="2072" y="1648"/>
                  </a:lnTo>
                  <a:lnTo>
                    <a:pt x="2059" y="1651"/>
                  </a:lnTo>
                  <a:lnTo>
                    <a:pt x="2046" y="1658"/>
                  </a:lnTo>
                  <a:lnTo>
                    <a:pt x="2035" y="1666"/>
                  </a:lnTo>
                  <a:lnTo>
                    <a:pt x="2035" y="1563"/>
                  </a:lnTo>
                  <a:lnTo>
                    <a:pt x="1980" y="1591"/>
                  </a:lnTo>
                  <a:lnTo>
                    <a:pt x="1980" y="1874"/>
                  </a:lnTo>
                  <a:lnTo>
                    <a:pt x="2035" y="1874"/>
                  </a:lnTo>
                  <a:lnTo>
                    <a:pt x="2035" y="1858"/>
                  </a:lnTo>
                  <a:lnTo>
                    <a:pt x="2035" y="1858"/>
                  </a:lnTo>
                  <a:lnTo>
                    <a:pt x="2040" y="1863"/>
                  </a:lnTo>
                  <a:lnTo>
                    <a:pt x="2046" y="1868"/>
                  </a:lnTo>
                  <a:lnTo>
                    <a:pt x="2052" y="1871"/>
                  </a:lnTo>
                  <a:lnTo>
                    <a:pt x="2059" y="1874"/>
                  </a:lnTo>
                  <a:lnTo>
                    <a:pt x="2064" y="1877"/>
                  </a:lnTo>
                  <a:lnTo>
                    <a:pt x="2072" y="1878"/>
                  </a:lnTo>
                  <a:lnTo>
                    <a:pt x="2079" y="1879"/>
                  </a:lnTo>
                  <a:lnTo>
                    <a:pt x="2085" y="1880"/>
                  </a:lnTo>
                  <a:lnTo>
                    <a:pt x="2085" y="1880"/>
                  </a:lnTo>
                  <a:lnTo>
                    <a:pt x="2095" y="1879"/>
                  </a:lnTo>
                  <a:lnTo>
                    <a:pt x="2105" y="1878"/>
                  </a:lnTo>
                  <a:lnTo>
                    <a:pt x="2114" y="1876"/>
                  </a:lnTo>
                  <a:lnTo>
                    <a:pt x="2123" y="1871"/>
                  </a:lnTo>
                  <a:lnTo>
                    <a:pt x="2131" y="1867"/>
                  </a:lnTo>
                  <a:lnTo>
                    <a:pt x="2137" y="1862"/>
                  </a:lnTo>
                  <a:lnTo>
                    <a:pt x="2144" y="1856"/>
                  </a:lnTo>
                  <a:lnTo>
                    <a:pt x="2150" y="1849"/>
                  </a:lnTo>
                  <a:lnTo>
                    <a:pt x="2155" y="1840"/>
                  </a:lnTo>
                  <a:lnTo>
                    <a:pt x="2160" y="1831"/>
                  </a:lnTo>
                  <a:lnTo>
                    <a:pt x="2163" y="1821"/>
                  </a:lnTo>
                  <a:lnTo>
                    <a:pt x="2166" y="1811"/>
                  </a:lnTo>
                  <a:lnTo>
                    <a:pt x="2170" y="1800"/>
                  </a:lnTo>
                  <a:lnTo>
                    <a:pt x="2171" y="1788"/>
                  </a:lnTo>
                  <a:lnTo>
                    <a:pt x="2172" y="1774"/>
                  </a:lnTo>
                  <a:lnTo>
                    <a:pt x="2173" y="1760"/>
                  </a:lnTo>
                  <a:lnTo>
                    <a:pt x="2173" y="1760"/>
                  </a:lnTo>
                  <a:lnTo>
                    <a:pt x="2172" y="1748"/>
                  </a:lnTo>
                  <a:lnTo>
                    <a:pt x="2171" y="1735"/>
                  </a:lnTo>
                  <a:lnTo>
                    <a:pt x="2169" y="1723"/>
                  </a:lnTo>
                  <a:lnTo>
                    <a:pt x="2166" y="1712"/>
                  </a:lnTo>
                  <a:lnTo>
                    <a:pt x="2163" y="1702"/>
                  </a:lnTo>
                  <a:lnTo>
                    <a:pt x="2159" y="1693"/>
                  </a:lnTo>
                  <a:lnTo>
                    <a:pt x="2154" y="1684"/>
                  </a:lnTo>
                  <a:lnTo>
                    <a:pt x="2149" y="1676"/>
                  </a:lnTo>
                  <a:lnTo>
                    <a:pt x="2143" y="1670"/>
                  </a:lnTo>
                  <a:lnTo>
                    <a:pt x="2136" y="1663"/>
                  </a:lnTo>
                  <a:lnTo>
                    <a:pt x="2129" y="1658"/>
                  </a:lnTo>
                  <a:lnTo>
                    <a:pt x="2121" y="1653"/>
                  </a:lnTo>
                  <a:lnTo>
                    <a:pt x="2113" y="1650"/>
                  </a:lnTo>
                  <a:lnTo>
                    <a:pt x="2104" y="1648"/>
                  </a:lnTo>
                  <a:lnTo>
                    <a:pt x="2094" y="1646"/>
                  </a:lnTo>
                  <a:lnTo>
                    <a:pt x="2084" y="1645"/>
                  </a:lnTo>
                  <a:lnTo>
                    <a:pt x="2084" y="1645"/>
                  </a:lnTo>
                  <a:close/>
                  <a:moveTo>
                    <a:pt x="2074" y="1696"/>
                  </a:moveTo>
                  <a:lnTo>
                    <a:pt x="2074" y="1696"/>
                  </a:lnTo>
                  <a:lnTo>
                    <a:pt x="2082" y="1698"/>
                  </a:lnTo>
                  <a:lnTo>
                    <a:pt x="2090" y="1700"/>
                  </a:lnTo>
                  <a:lnTo>
                    <a:pt x="2096" y="1704"/>
                  </a:lnTo>
                  <a:lnTo>
                    <a:pt x="2103" y="1711"/>
                  </a:lnTo>
                  <a:lnTo>
                    <a:pt x="2109" y="1719"/>
                  </a:lnTo>
                  <a:lnTo>
                    <a:pt x="2112" y="1730"/>
                  </a:lnTo>
                  <a:lnTo>
                    <a:pt x="2115" y="1743"/>
                  </a:lnTo>
                  <a:lnTo>
                    <a:pt x="2116" y="1759"/>
                  </a:lnTo>
                  <a:lnTo>
                    <a:pt x="2116" y="1759"/>
                  </a:lnTo>
                  <a:lnTo>
                    <a:pt x="2115" y="1775"/>
                  </a:lnTo>
                  <a:lnTo>
                    <a:pt x="2113" y="1790"/>
                  </a:lnTo>
                  <a:lnTo>
                    <a:pt x="2111" y="1801"/>
                  </a:lnTo>
                  <a:lnTo>
                    <a:pt x="2106" y="1811"/>
                  </a:lnTo>
                  <a:lnTo>
                    <a:pt x="2100" y="1819"/>
                  </a:lnTo>
                  <a:lnTo>
                    <a:pt x="2093" y="1824"/>
                  </a:lnTo>
                  <a:lnTo>
                    <a:pt x="2085" y="1828"/>
                  </a:lnTo>
                  <a:lnTo>
                    <a:pt x="2075" y="1829"/>
                  </a:lnTo>
                  <a:lnTo>
                    <a:pt x="2075" y="1829"/>
                  </a:lnTo>
                  <a:lnTo>
                    <a:pt x="2067" y="1828"/>
                  </a:lnTo>
                  <a:lnTo>
                    <a:pt x="2061" y="1827"/>
                  </a:lnTo>
                  <a:lnTo>
                    <a:pt x="2055" y="1823"/>
                  </a:lnTo>
                  <a:lnTo>
                    <a:pt x="2050" y="1821"/>
                  </a:lnTo>
                  <a:lnTo>
                    <a:pt x="2041" y="1813"/>
                  </a:lnTo>
                  <a:lnTo>
                    <a:pt x="2035" y="1808"/>
                  </a:lnTo>
                  <a:lnTo>
                    <a:pt x="2035" y="1719"/>
                  </a:lnTo>
                  <a:lnTo>
                    <a:pt x="2035" y="1719"/>
                  </a:lnTo>
                  <a:lnTo>
                    <a:pt x="2039" y="1714"/>
                  </a:lnTo>
                  <a:lnTo>
                    <a:pt x="2043" y="1710"/>
                  </a:lnTo>
                  <a:lnTo>
                    <a:pt x="2047" y="1705"/>
                  </a:lnTo>
                  <a:lnTo>
                    <a:pt x="2052" y="1702"/>
                  </a:lnTo>
                  <a:lnTo>
                    <a:pt x="2057" y="1700"/>
                  </a:lnTo>
                  <a:lnTo>
                    <a:pt x="2063" y="1698"/>
                  </a:lnTo>
                  <a:lnTo>
                    <a:pt x="2069" y="1696"/>
                  </a:lnTo>
                  <a:lnTo>
                    <a:pt x="2074" y="1696"/>
                  </a:lnTo>
                  <a:lnTo>
                    <a:pt x="2074" y="1696"/>
                  </a:lnTo>
                  <a:close/>
                  <a:moveTo>
                    <a:pt x="1455" y="1666"/>
                  </a:moveTo>
                  <a:lnTo>
                    <a:pt x="1455" y="1666"/>
                  </a:lnTo>
                  <a:lnTo>
                    <a:pt x="1451" y="1662"/>
                  </a:lnTo>
                  <a:lnTo>
                    <a:pt x="1445" y="1658"/>
                  </a:lnTo>
                  <a:lnTo>
                    <a:pt x="1438" y="1654"/>
                  </a:lnTo>
                  <a:lnTo>
                    <a:pt x="1433" y="1651"/>
                  </a:lnTo>
                  <a:lnTo>
                    <a:pt x="1426" y="1649"/>
                  </a:lnTo>
                  <a:lnTo>
                    <a:pt x="1419" y="1646"/>
                  </a:lnTo>
                  <a:lnTo>
                    <a:pt x="1413" y="1646"/>
                  </a:lnTo>
                  <a:lnTo>
                    <a:pt x="1406" y="1645"/>
                  </a:lnTo>
                  <a:lnTo>
                    <a:pt x="1406" y="1645"/>
                  </a:lnTo>
                  <a:lnTo>
                    <a:pt x="1396" y="1646"/>
                  </a:lnTo>
                  <a:lnTo>
                    <a:pt x="1386" y="1648"/>
                  </a:lnTo>
                  <a:lnTo>
                    <a:pt x="1377" y="1650"/>
                  </a:lnTo>
                  <a:lnTo>
                    <a:pt x="1369" y="1653"/>
                  </a:lnTo>
                  <a:lnTo>
                    <a:pt x="1362" y="1658"/>
                  </a:lnTo>
                  <a:lnTo>
                    <a:pt x="1354" y="1663"/>
                  </a:lnTo>
                  <a:lnTo>
                    <a:pt x="1347" y="1670"/>
                  </a:lnTo>
                  <a:lnTo>
                    <a:pt x="1342" y="1676"/>
                  </a:lnTo>
                  <a:lnTo>
                    <a:pt x="1336" y="1684"/>
                  </a:lnTo>
                  <a:lnTo>
                    <a:pt x="1332" y="1693"/>
                  </a:lnTo>
                  <a:lnTo>
                    <a:pt x="1327" y="1702"/>
                  </a:lnTo>
                  <a:lnTo>
                    <a:pt x="1324" y="1712"/>
                  </a:lnTo>
                  <a:lnTo>
                    <a:pt x="1322" y="1723"/>
                  </a:lnTo>
                  <a:lnTo>
                    <a:pt x="1319" y="1735"/>
                  </a:lnTo>
                  <a:lnTo>
                    <a:pt x="1318" y="1748"/>
                  </a:lnTo>
                  <a:lnTo>
                    <a:pt x="1318" y="1760"/>
                  </a:lnTo>
                  <a:lnTo>
                    <a:pt x="1318" y="1760"/>
                  </a:lnTo>
                  <a:lnTo>
                    <a:pt x="1318" y="1774"/>
                  </a:lnTo>
                  <a:lnTo>
                    <a:pt x="1319" y="1787"/>
                  </a:lnTo>
                  <a:lnTo>
                    <a:pt x="1322" y="1799"/>
                  </a:lnTo>
                  <a:lnTo>
                    <a:pt x="1324" y="1810"/>
                  </a:lnTo>
                  <a:lnTo>
                    <a:pt x="1327" y="1821"/>
                  </a:lnTo>
                  <a:lnTo>
                    <a:pt x="1330" y="1831"/>
                  </a:lnTo>
                  <a:lnTo>
                    <a:pt x="1336" y="1840"/>
                  </a:lnTo>
                  <a:lnTo>
                    <a:pt x="1340" y="1848"/>
                  </a:lnTo>
                  <a:lnTo>
                    <a:pt x="1347" y="1856"/>
                  </a:lnTo>
                  <a:lnTo>
                    <a:pt x="1353" y="1861"/>
                  </a:lnTo>
                  <a:lnTo>
                    <a:pt x="1360" y="1867"/>
                  </a:lnTo>
                  <a:lnTo>
                    <a:pt x="1368" y="1871"/>
                  </a:lnTo>
                  <a:lnTo>
                    <a:pt x="1376" y="1874"/>
                  </a:lnTo>
                  <a:lnTo>
                    <a:pt x="1385" y="1878"/>
                  </a:lnTo>
                  <a:lnTo>
                    <a:pt x="1395" y="1879"/>
                  </a:lnTo>
                  <a:lnTo>
                    <a:pt x="1405" y="1879"/>
                  </a:lnTo>
                  <a:lnTo>
                    <a:pt x="1405" y="1879"/>
                  </a:lnTo>
                  <a:lnTo>
                    <a:pt x="1412" y="1879"/>
                  </a:lnTo>
                  <a:lnTo>
                    <a:pt x="1418" y="1878"/>
                  </a:lnTo>
                  <a:lnTo>
                    <a:pt x="1425" y="1877"/>
                  </a:lnTo>
                  <a:lnTo>
                    <a:pt x="1432" y="1874"/>
                  </a:lnTo>
                  <a:lnTo>
                    <a:pt x="1438" y="1871"/>
                  </a:lnTo>
                  <a:lnTo>
                    <a:pt x="1444" y="1867"/>
                  </a:lnTo>
                  <a:lnTo>
                    <a:pt x="1449" y="1863"/>
                  </a:lnTo>
                  <a:lnTo>
                    <a:pt x="1455" y="1858"/>
                  </a:lnTo>
                  <a:lnTo>
                    <a:pt x="1455" y="1863"/>
                  </a:lnTo>
                  <a:lnTo>
                    <a:pt x="1455" y="1863"/>
                  </a:lnTo>
                  <a:lnTo>
                    <a:pt x="1455" y="1872"/>
                  </a:lnTo>
                  <a:lnTo>
                    <a:pt x="1454" y="1882"/>
                  </a:lnTo>
                  <a:lnTo>
                    <a:pt x="1452" y="1892"/>
                  </a:lnTo>
                  <a:lnTo>
                    <a:pt x="1449" y="1897"/>
                  </a:lnTo>
                  <a:lnTo>
                    <a:pt x="1446" y="1901"/>
                  </a:lnTo>
                  <a:lnTo>
                    <a:pt x="1443" y="1906"/>
                  </a:lnTo>
                  <a:lnTo>
                    <a:pt x="1438" y="1910"/>
                  </a:lnTo>
                  <a:lnTo>
                    <a:pt x="1432" y="1913"/>
                  </a:lnTo>
                  <a:lnTo>
                    <a:pt x="1425" y="1916"/>
                  </a:lnTo>
                  <a:lnTo>
                    <a:pt x="1417" y="1919"/>
                  </a:lnTo>
                  <a:lnTo>
                    <a:pt x="1407" y="1920"/>
                  </a:lnTo>
                  <a:lnTo>
                    <a:pt x="1396" y="1922"/>
                  </a:lnTo>
                  <a:lnTo>
                    <a:pt x="1384" y="1922"/>
                  </a:lnTo>
                  <a:lnTo>
                    <a:pt x="1382" y="1922"/>
                  </a:lnTo>
                  <a:lnTo>
                    <a:pt x="1401" y="1966"/>
                  </a:lnTo>
                  <a:lnTo>
                    <a:pt x="1402" y="1966"/>
                  </a:lnTo>
                  <a:lnTo>
                    <a:pt x="1402" y="1966"/>
                  </a:lnTo>
                  <a:lnTo>
                    <a:pt x="1415" y="1966"/>
                  </a:lnTo>
                  <a:lnTo>
                    <a:pt x="1427" y="1963"/>
                  </a:lnTo>
                  <a:lnTo>
                    <a:pt x="1439" y="1961"/>
                  </a:lnTo>
                  <a:lnTo>
                    <a:pt x="1449" y="1958"/>
                  </a:lnTo>
                  <a:lnTo>
                    <a:pt x="1459" y="1954"/>
                  </a:lnTo>
                  <a:lnTo>
                    <a:pt x="1468" y="1950"/>
                  </a:lnTo>
                  <a:lnTo>
                    <a:pt x="1476" y="1943"/>
                  </a:lnTo>
                  <a:lnTo>
                    <a:pt x="1484" y="1938"/>
                  </a:lnTo>
                  <a:lnTo>
                    <a:pt x="1491" y="1930"/>
                  </a:lnTo>
                  <a:lnTo>
                    <a:pt x="1495" y="1921"/>
                  </a:lnTo>
                  <a:lnTo>
                    <a:pt x="1501" y="1912"/>
                  </a:lnTo>
                  <a:lnTo>
                    <a:pt x="1504" y="1902"/>
                  </a:lnTo>
                  <a:lnTo>
                    <a:pt x="1507" y="1891"/>
                  </a:lnTo>
                  <a:lnTo>
                    <a:pt x="1509" y="1880"/>
                  </a:lnTo>
                  <a:lnTo>
                    <a:pt x="1511" y="1868"/>
                  </a:lnTo>
                  <a:lnTo>
                    <a:pt x="1511" y="1853"/>
                  </a:lnTo>
                  <a:lnTo>
                    <a:pt x="1511" y="1651"/>
                  </a:lnTo>
                  <a:lnTo>
                    <a:pt x="1455" y="1651"/>
                  </a:lnTo>
                  <a:lnTo>
                    <a:pt x="1455" y="1666"/>
                  </a:lnTo>
                  <a:close/>
                  <a:moveTo>
                    <a:pt x="1455" y="1719"/>
                  </a:moveTo>
                  <a:lnTo>
                    <a:pt x="1455" y="1807"/>
                  </a:lnTo>
                  <a:lnTo>
                    <a:pt x="1455" y="1807"/>
                  </a:lnTo>
                  <a:lnTo>
                    <a:pt x="1448" y="1814"/>
                  </a:lnTo>
                  <a:lnTo>
                    <a:pt x="1439" y="1822"/>
                  </a:lnTo>
                  <a:lnTo>
                    <a:pt x="1435" y="1824"/>
                  </a:lnTo>
                  <a:lnTo>
                    <a:pt x="1429" y="1827"/>
                  </a:lnTo>
                  <a:lnTo>
                    <a:pt x="1423" y="1828"/>
                  </a:lnTo>
                  <a:lnTo>
                    <a:pt x="1416" y="1829"/>
                  </a:lnTo>
                  <a:lnTo>
                    <a:pt x="1416" y="1829"/>
                  </a:lnTo>
                  <a:lnTo>
                    <a:pt x="1408" y="1828"/>
                  </a:lnTo>
                  <a:lnTo>
                    <a:pt x="1402" y="1825"/>
                  </a:lnTo>
                  <a:lnTo>
                    <a:pt x="1394" y="1821"/>
                  </a:lnTo>
                  <a:lnTo>
                    <a:pt x="1388" y="1815"/>
                  </a:lnTo>
                  <a:lnTo>
                    <a:pt x="1383" y="1807"/>
                  </a:lnTo>
                  <a:lnTo>
                    <a:pt x="1378" y="1794"/>
                  </a:lnTo>
                  <a:lnTo>
                    <a:pt x="1375" y="1779"/>
                  </a:lnTo>
                  <a:lnTo>
                    <a:pt x="1374" y="1759"/>
                  </a:lnTo>
                  <a:lnTo>
                    <a:pt x="1374" y="1759"/>
                  </a:lnTo>
                  <a:lnTo>
                    <a:pt x="1375" y="1741"/>
                  </a:lnTo>
                  <a:lnTo>
                    <a:pt x="1378" y="1728"/>
                  </a:lnTo>
                  <a:lnTo>
                    <a:pt x="1383" y="1717"/>
                  </a:lnTo>
                  <a:lnTo>
                    <a:pt x="1388" y="1709"/>
                  </a:lnTo>
                  <a:lnTo>
                    <a:pt x="1394" y="1702"/>
                  </a:lnTo>
                  <a:lnTo>
                    <a:pt x="1402" y="1699"/>
                  </a:lnTo>
                  <a:lnTo>
                    <a:pt x="1408" y="1696"/>
                  </a:lnTo>
                  <a:lnTo>
                    <a:pt x="1416" y="1696"/>
                  </a:lnTo>
                  <a:lnTo>
                    <a:pt x="1416" y="1696"/>
                  </a:lnTo>
                  <a:lnTo>
                    <a:pt x="1423" y="1696"/>
                  </a:lnTo>
                  <a:lnTo>
                    <a:pt x="1429" y="1699"/>
                  </a:lnTo>
                  <a:lnTo>
                    <a:pt x="1436" y="1701"/>
                  </a:lnTo>
                  <a:lnTo>
                    <a:pt x="1441" y="1703"/>
                  </a:lnTo>
                  <a:lnTo>
                    <a:pt x="1445" y="1708"/>
                  </a:lnTo>
                  <a:lnTo>
                    <a:pt x="1449" y="1711"/>
                  </a:lnTo>
                  <a:lnTo>
                    <a:pt x="1455" y="1719"/>
                  </a:lnTo>
                  <a:lnTo>
                    <a:pt x="1455" y="1719"/>
                  </a:lnTo>
                  <a:close/>
                  <a:moveTo>
                    <a:pt x="1683" y="1705"/>
                  </a:moveTo>
                  <a:lnTo>
                    <a:pt x="1683" y="1705"/>
                  </a:lnTo>
                  <a:lnTo>
                    <a:pt x="1696" y="1699"/>
                  </a:lnTo>
                  <a:lnTo>
                    <a:pt x="1709" y="1694"/>
                  </a:lnTo>
                  <a:lnTo>
                    <a:pt x="1724" y="1691"/>
                  </a:lnTo>
                  <a:lnTo>
                    <a:pt x="1740" y="1690"/>
                  </a:lnTo>
                  <a:lnTo>
                    <a:pt x="1740" y="1690"/>
                  </a:lnTo>
                  <a:lnTo>
                    <a:pt x="1750" y="1691"/>
                  </a:lnTo>
                  <a:lnTo>
                    <a:pt x="1757" y="1692"/>
                  </a:lnTo>
                  <a:lnTo>
                    <a:pt x="1764" y="1694"/>
                  </a:lnTo>
                  <a:lnTo>
                    <a:pt x="1770" y="1699"/>
                  </a:lnTo>
                  <a:lnTo>
                    <a:pt x="1774" y="1703"/>
                  </a:lnTo>
                  <a:lnTo>
                    <a:pt x="1777" y="1709"/>
                  </a:lnTo>
                  <a:lnTo>
                    <a:pt x="1780" y="1714"/>
                  </a:lnTo>
                  <a:lnTo>
                    <a:pt x="1780" y="1722"/>
                  </a:lnTo>
                  <a:lnTo>
                    <a:pt x="1780" y="1738"/>
                  </a:lnTo>
                  <a:lnTo>
                    <a:pt x="1780" y="1738"/>
                  </a:lnTo>
                  <a:lnTo>
                    <a:pt x="1770" y="1733"/>
                  </a:lnTo>
                  <a:lnTo>
                    <a:pt x="1757" y="1730"/>
                  </a:lnTo>
                  <a:lnTo>
                    <a:pt x="1745" y="1728"/>
                  </a:lnTo>
                  <a:lnTo>
                    <a:pt x="1732" y="1727"/>
                  </a:lnTo>
                  <a:lnTo>
                    <a:pt x="1732" y="1727"/>
                  </a:lnTo>
                  <a:lnTo>
                    <a:pt x="1716" y="1728"/>
                  </a:lnTo>
                  <a:lnTo>
                    <a:pt x="1701" y="1731"/>
                  </a:lnTo>
                  <a:lnTo>
                    <a:pt x="1686" y="1735"/>
                  </a:lnTo>
                  <a:lnTo>
                    <a:pt x="1678" y="1739"/>
                  </a:lnTo>
                  <a:lnTo>
                    <a:pt x="1672" y="1743"/>
                  </a:lnTo>
                  <a:lnTo>
                    <a:pt x="1666" y="1748"/>
                  </a:lnTo>
                  <a:lnTo>
                    <a:pt x="1661" y="1753"/>
                  </a:lnTo>
                  <a:lnTo>
                    <a:pt x="1655" y="1759"/>
                  </a:lnTo>
                  <a:lnTo>
                    <a:pt x="1651" y="1765"/>
                  </a:lnTo>
                  <a:lnTo>
                    <a:pt x="1647" y="1773"/>
                  </a:lnTo>
                  <a:lnTo>
                    <a:pt x="1645" y="1782"/>
                  </a:lnTo>
                  <a:lnTo>
                    <a:pt x="1644" y="1791"/>
                  </a:lnTo>
                  <a:lnTo>
                    <a:pt x="1643" y="1800"/>
                  </a:lnTo>
                  <a:lnTo>
                    <a:pt x="1643" y="1800"/>
                  </a:lnTo>
                  <a:lnTo>
                    <a:pt x="1644" y="1811"/>
                  </a:lnTo>
                  <a:lnTo>
                    <a:pt x="1645" y="1821"/>
                  </a:lnTo>
                  <a:lnTo>
                    <a:pt x="1647" y="1829"/>
                  </a:lnTo>
                  <a:lnTo>
                    <a:pt x="1651" y="1838"/>
                  </a:lnTo>
                  <a:lnTo>
                    <a:pt x="1654" y="1844"/>
                  </a:lnTo>
                  <a:lnTo>
                    <a:pt x="1659" y="1851"/>
                  </a:lnTo>
                  <a:lnTo>
                    <a:pt x="1664" y="1857"/>
                  </a:lnTo>
                  <a:lnTo>
                    <a:pt x="1671" y="1862"/>
                  </a:lnTo>
                  <a:lnTo>
                    <a:pt x="1676" y="1867"/>
                  </a:lnTo>
                  <a:lnTo>
                    <a:pt x="1683" y="1870"/>
                  </a:lnTo>
                  <a:lnTo>
                    <a:pt x="1697" y="1876"/>
                  </a:lnTo>
                  <a:lnTo>
                    <a:pt x="1712" y="1879"/>
                  </a:lnTo>
                  <a:lnTo>
                    <a:pt x="1726" y="1880"/>
                  </a:lnTo>
                  <a:lnTo>
                    <a:pt x="1726" y="1880"/>
                  </a:lnTo>
                  <a:lnTo>
                    <a:pt x="1738" y="1878"/>
                  </a:lnTo>
                  <a:lnTo>
                    <a:pt x="1746" y="1877"/>
                  </a:lnTo>
                  <a:lnTo>
                    <a:pt x="1753" y="1874"/>
                  </a:lnTo>
                  <a:lnTo>
                    <a:pt x="1761" y="1871"/>
                  </a:lnTo>
                  <a:lnTo>
                    <a:pt x="1767" y="1867"/>
                  </a:lnTo>
                  <a:lnTo>
                    <a:pt x="1774" y="1862"/>
                  </a:lnTo>
                  <a:lnTo>
                    <a:pt x="1780" y="1857"/>
                  </a:lnTo>
                  <a:lnTo>
                    <a:pt x="1780" y="1874"/>
                  </a:lnTo>
                  <a:lnTo>
                    <a:pt x="1835" y="1874"/>
                  </a:lnTo>
                  <a:lnTo>
                    <a:pt x="1835" y="1723"/>
                  </a:lnTo>
                  <a:lnTo>
                    <a:pt x="1835" y="1723"/>
                  </a:lnTo>
                  <a:lnTo>
                    <a:pt x="1835" y="1714"/>
                  </a:lnTo>
                  <a:lnTo>
                    <a:pt x="1834" y="1707"/>
                  </a:lnTo>
                  <a:lnTo>
                    <a:pt x="1832" y="1699"/>
                  </a:lnTo>
                  <a:lnTo>
                    <a:pt x="1830" y="1691"/>
                  </a:lnTo>
                  <a:lnTo>
                    <a:pt x="1825" y="1684"/>
                  </a:lnTo>
                  <a:lnTo>
                    <a:pt x="1822" y="1678"/>
                  </a:lnTo>
                  <a:lnTo>
                    <a:pt x="1816" y="1672"/>
                  </a:lnTo>
                  <a:lnTo>
                    <a:pt x="1811" y="1666"/>
                  </a:lnTo>
                  <a:lnTo>
                    <a:pt x="1805" y="1662"/>
                  </a:lnTo>
                  <a:lnTo>
                    <a:pt x="1798" y="1658"/>
                  </a:lnTo>
                  <a:lnTo>
                    <a:pt x="1791" y="1654"/>
                  </a:lnTo>
                  <a:lnTo>
                    <a:pt x="1783" y="1651"/>
                  </a:lnTo>
                  <a:lnTo>
                    <a:pt x="1774" y="1649"/>
                  </a:lnTo>
                  <a:lnTo>
                    <a:pt x="1765" y="1648"/>
                  </a:lnTo>
                  <a:lnTo>
                    <a:pt x="1755" y="1646"/>
                  </a:lnTo>
                  <a:lnTo>
                    <a:pt x="1745" y="1645"/>
                  </a:lnTo>
                  <a:lnTo>
                    <a:pt x="1745" y="1645"/>
                  </a:lnTo>
                  <a:lnTo>
                    <a:pt x="1733" y="1646"/>
                  </a:lnTo>
                  <a:lnTo>
                    <a:pt x="1723" y="1646"/>
                  </a:lnTo>
                  <a:lnTo>
                    <a:pt x="1712" y="1649"/>
                  </a:lnTo>
                  <a:lnTo>
                    <a:pt x="1701" y="1651"/>
                  </a:lnTo>
                  <a:lnTo>
                    <a:pt x="1691" y="1654"/>
                  </a:lnTo>
                  <a:lnTo>
                    <a:pt x="1681" y="1658"/>
                  </a:lnTo>
                  <a:lnTo>
                    <a:pt x="1671" y="1662"/>
                  </a:lnTo>
                  <a:lnTo>
                    <a:pt x="1661" y="1668"/>
                  </a:lnTo>
                  <a:lnTo>
                    <a:pt x="1683" y="1705"/>
                  </a:lnTo>
                  <a:close/>
                  <a:moveTo>
                    <a:pt x="1698" y="1800"/>
                  </a:moveTo>
                  <a:lnTo>
                    <a:pt x="1698" y="1800"/>
                  </a:lnTo>
                  <a:lnTo>
                    <a:pt x="1698" y="1793"/>
                  </a:lnTo>
                  <a:lnTo>
                    <a:pt x="1701" y="1787"/>
                  </a:lnTo>
                  <a:lnTo>
                    <a:pt x="1704" y="1781"/>
                  </a:lnTo>
                  <a:lnTo>
                    <a:pt x="1708" y="1777"/>
                  </a:lnTo>
                  <a:lnTo>
                    <a:pt x="1714" y="1773"/>
                  </a:lnTo>
                  <a:lnTo>
                    <a:pt x="1721" y="1771"/>
                  </a:lnTo>
                  <a:lnTo>
                    <a:pt x="1728" y="1769"/>
                  </a:lnTo>
                  <a:lnTo>
                    <a:pt x="1736" y="1769"/>
                  </a:lnTo>
                  <a:lnTo>
                    <a:pt x="1736" y="1769"/>
                  </a:lnTo>
                  <a:lnTo>
                    <a:pt x="1748" y="1769"/>
                  </a:lnTo>
                  <a:lnTo>
                    <a:pt x="1760" y="1771"/>
                  </a:lnTo>
                  <a:lnTo>
                    <a:pt x="1770" y="1774"/>
                  </a:lnTo>
                  <a:lnTo>
                    <a:pt x="1780" y="1780"/>
                  </a:lnTo>
                  <a:lnTo>
                    <a:pt x="1780" y="1810"/>
                  </a:lnTo>
                  <a:lnTo>
                    <a:pt x="1780" y="1810"/>
                  </a:lnTo>
                  <a:lnTo>
                    <a:pt x="1777" y="1814"/>
                  </a:lnTo>
                  <a:lnTo>
                    <a:pt x="1773" y="1819"/>
                  </a:lnTo>
                  <a:lnTo>
                    <a:pt x="1768" y="1823"/>
                  </a:lnTo>
                  <a:lnTo>
                    <a:pt x="1763" y="1827"/>
                  </a:lnTo>
                  <a:lnTo>
                    <a:pt x="1757" y="1830"/>
                  </a:lnTo>
                  <a:lnTo>
                    <a:pt x="1751" y="1832"/>
                  </a:lnTo>
                  <a:lnTo>
                    <a:pt x="1744" y="1833"/>
                  </a:lnTo>
                  <a:lnTo>
                    <a:pt x="1736" y="1834"/>
                  </a:lnTo>
                  <a:lnTo>
                    <a:pt x="1736" y="1834"/>
                  </a:lnTo>
                  <a:lnTo>
                    <a:pt x="1728" y="1833"/>
                  </a:lnTo>
                  <a:lnTo>
                    <a:pt x="1721" y="1831"/>
                  </a:lnTo>
                  <a:lnTo>
                    <a:pt x="1714" y="1829"/>
                  </a:lnTo>
                  <a:lnTo>
                    <a:pt x="1708" y="1824"/>
                  </a:lnTo>
                  <a:lnTo>
                    <a:pt x="1704" y="1820"/>
                  </a:lnTo>
                  <a:lnTo>
                    <a:pt x="1701" y="1814"/>
                  </a:lnTo>
                  <a:lnTo>
                    <a:pt x="1699" y="1808"/>
                  </a:lnTo>
                  <a:lnTo>
                    <a:pt x="1698" y="1800"/>
                  </a:lnTo>
                  <a:lnTo>
                    <a:pt x="1698" y="1800"/>
                  </a:lnTo>
                  <a:close/>
                  <a:moveTo>
                    <a:pt x="2350" y="1810"/>
                  </a:moveTo>
                  <a:lnTo>
                    <a:pt x="2350" y="1810"/>
                  </a:lnTo>
                  <a:lnTo>
                    <a:pt x="2342" y="1817"/>
                  </a:lnTo>
                  <a:lnTo>
                    <a:pt x="2332" y="1822"/>
                  </a:lnTo>
                  <a:lnTo>
                    <a:pt x="2326" y="1824"/>
                  </a:lnTo>
                  <a:lnTo>
                    <a:pt x="2320" y="1827"/>
                  </a:lnTo>
                  <a:lnTo>
                    <a:pt x="2313" y="1828"/>
                  </a:lnTo>
                  <a:lnTo>
                    <a:pt x="2306" y="1829"/>
                  </a:lnTo>
                  <a:lnTo>
                    <a:pt x="2306" y="1829"/>
                  </a:lnTo>
                  <a:lnTo>
                    <a:pt x="2301" y="1828"/>
                  </a:lnTo>
                  <a:lnTo>
                    <a:pt x="2294" y="1828"/>
                  </a:lnTo>
                  <a:lnTo>
                    <a:pt x="2286" y="1825"/>
                  </a:lnTo>
                  <a:lnTo>
                    <a:pt x="2277" y="1821"/>
                  </a:lnTo>
                  <a:lnTo>
                    <a:pt x="2270" y="1815"/>
                  </a:lnTo>
                  <a:lnTo>
                    <a:pt x="2266" y="1811"/>
                  </a:lnTo>
                  <a:lnTo>
                    <a:pt x="2263" y="1807"/>
                  </a:lnTo>
                  <a:lnTo>
                    <a:pt x="2261" y="1801"/>
                  </a:lnTo>
                  <a:lnTo>
                    <a:pt x="2259" y="1794"/>
                  </a:lnTo>
                  <a:lnTo>
                    <a:pt x="2257" y="1788"/>
                  </a:lnTo>
                  <a:lnTo>
                    <a:pt x="2256" y="1780"/>
                  </a:lnTo>
                  <a:lnTo>
                    <a:pt x="2393" y="1780"/>
                  </a:lnTo>
                  <a:lnTo>
                    <a:pt x="2393" y="1780"/>
                  </a:lnTo>
                  <a:lnTo>
                    <a:pt x="2394" y="1763"/>
                  </a:lnTo>
                  <a:lnTo>
                    <a:pt x="2394" y="1763"/>
                  </a:lnTo>
                  <a:lnTo>
                    <a:pt x="2394" y="1750"/>
                  </a:lnTo>
                  <a:lnTo>
                    <a:pt x="2392" y="1738"/>
                  </a:lnTo>
                  <a:lnTo>
                    <a:pt x="2391" y="1725"/>
                  </a:lnTo>
                  <a:lnTo>
                    <a:pt x="2388" y="1714"/>
                  </a:lnTo>
                  <a:lnTo>
                    <a:pt x="2384" y="1704"/>
                  </a:lnTo>
                  <a:lnTo>
                    <a:pt x="2380" y="1694"/>
                  </a:lnTo>
                  <a:lnTo>
                    <a:pt x="2374" y="1685"/>
                  </a:lnTo>
                  <a:lnTo>
                    <a:pt x="2369" y="1678"/>
                  </a:lnTo>
                  <a:lnTo>
                    <a:pt x="2362" y="1670"/>
                  </a:lnTo>
                  <a:lnTo>
                    <a:pt x="2355" y="1664"/>
                  </a:lnTo>
                  <a:lnTo>
                    <a:pt x="2348" y="1659"/>
                  </a:lnTo>
                  <a:lnTo>
                    <a:pt x="2339" y="1654"/>
                  </a:lnTo>
                  <a:lnTo>
                    <a:pt x="2330" y="1651"/>
                  </a:lnTo>
                  <a:lnTo>
                    <a:pt x="2321" y="1648"/>
                  </a:lnTo>
                  <a:lnTo>
                    <a:pt x="2311" y="1646"/>
                  </a:lnTo>
                  <a:lnTo>
                    <a:pt x="2300" y="1645"/>
                  </a:lnTo>
                  <a:lnTo>
                    <a:pt x="2300" y="1645"/>
                  </a:lnTo>
                  <a:lnTo>
                    <a:pt x="2290" y="1646"/>
                  </a:lnTo>
                  <a:lnTo>
                    <a:pt x="2280" y="1648"/>
                  </a:lnTo>
                  <a:lnTo>
                    <a:pt x="2270" y="1651"/>
                  </a:lnTo>
                  <a:lnTo>
                    <a:pt x="2260" y="1654"/>
                  </a:lnTo>
                  <a:lnTo>
                    <a:pt x="2251" y="1659"/>
                  </a:lnTo>
                  <a:lnTo>
                    <a:pt x="2243" y="1665"/>
                  </a:lnTo>
                  <a:lnTo>
                    <a:pt x="2235" y="1671"/>
                  </a:lnTo>
                  <a:lnTo>
                    <a:pt x="2229" y="1679"/>
                  </a:lnTo>
                  <a:lnTo>
                    <a:pt x="2222" y="1686"/>
                  </a:lnTo>
                  <a:lnTo>
                    <a:pt x="2216" y="1695"/>
                  </a:lnTo>
                  <a:lnTo>
                    <a:pt x="2212" y="1705"/>
                  </a:lnTo>
                  <a:lnTo>
                    <a:pt x="2207" y="1715"/>
                  </a:lnTo>
                  <a:lnTo>
                    <a:pt x="2204" y="1727"/>
                  </a:lnTo>
                  <a:lnTo>
                    <a:pt x="2202" y="1739"/>
                  </a:lnTo>
                  <a:lnTo>
                    <a:pt x="2201" y="1750"/>
                  </a:lnTo>
                  <a:lnTo>
                    <a:pt x="2200" y="1763"/>
                  </a:lnTo>
                  <a:lnTo>
                    <a:pt x="2200" y="1763"/>
                  </a:lnTo>
                  <a:lnTo>
                    <a:pt x="2201" y="1775"/>
                  </a:lnTo>
                  <a:lnTo>
                    <a:pt x="2202" y="1788"/>
                  </a:lnTo>
                  <a:lnTo>
                    <a:pt x="2204" y="1800"/>
                  </a:lnTo>
                  <a:lnTo>
                    <a:pt x="2207" y="1811"/>
                  </a:lnTo>
                  <a:lnTo>
                    <a:pt x="2212" y="1821"/>
                  </a:lnTo>
                  <a:lnTo>
                    <a:pt x="2216" y="1831"/>
                  </a:lnTo>
                  <a:lnTo>
                    <a:pt x="2222" y="1840"/>
                  </a:lnTo>
                  <a:lnTo>
                    <a:pt x="2229" y="1848"/>
                  </a:lnTo>
                  <a:lnTo>
                    <a:pt x="2236" y="1854"/>
                  </a:lnTo>
                  <a:lnTo>
                    <a:pt x="2244" y="1861"/>
                  </a:lnTo>
                  <a:lnTo>
                    <a:pt x="2253" y="1867"/>
                  </a:lnTo>
                  <a:lnTo>
                    <a:pt x="2262" y="1871"/>
                  </a:lnTo>
                  <a:lnTo>
                    <a:pt x="2272" y="1874"/>
                  </a:lnTo>
                  <a:lnTo>
                    <a:pt x="2283" y="1878"/>
                  </a:lnTo>
                  <a:lnTo>
                    <a:pt x="2294" y="1879"/>
                  </a:lnTo>
                  <a:lnTo>
                    <a:pt x="2306" y="1880"/>
                  </a:lnTo>
                  <a:lnTo>
                    <a:pt x="2306" y="1880"/>
                  </a:lnTo>
                  <a:lnTo>
                    <a:pt x="2317" y="1879"/>
                  </a:lnTo>
                  <a:lnTo>
                    <a:pt x="2327" y="1878"/>
                  </a:lnTo>
                  <a:lnTo>
                    <a:pt x="2339" y="1874"/>
                  </a:lnTo>
                  <a:lnTo>
                    <a:pt x="2349" y="1871"/>
                  </a:lnTo>
                  <a:lnTo>
                    <a:pt x="2359" y="1866"/>
                  </a:lnTo>
                  <a:lnTo>
                    <a:pt x="2368" y="1860"/>
                  </a:lnTo>
                  <a:lnTo>
                    <a:pt x="2376" y="1852"/>
                  </a:lnTo>
                  <a:lnTo>
                    <a:pt x="2385" y="1844"/>
                  </a:lnTo>
                  <a:lnTo>
                    <a:pt x="2350" y="1810"/>
                  </a:lnTo>
                  <a:close/>
                  <a:moveTo>
                    <a:pt x="2257" y="1739"/>
                  </a:moveTo>
                  <a:lnTo>
                    <a:pt x="2257" y="1739"/>
                  </a:lnTo>
                  <a:lnTo>
                    <a:pt x="2259" y="1729"/>
                  </a:lnTo>
                  <a:lnTo>
                    <a:pt x="2261" y="1720"/>
                  </a:lnTo>
                  <a:lnTo>
                    <a:pt x="2264" y="1712"/>
                  </a:lnTo>
                  <a:lnTo>
                    <a:pt x="2270" y="1705"/>
                  </a:lnTo>
                  <a:lnTo>
                    <a:pt x="2275" y="1700"/>
                  </a:lnTo>
                  <a:lnTo>
                    <a:pt x="2282" y="1696"/>
                  </a:lnTo>
                  <a:lnTo>
                    <a:pt x="2290" y="1693"/>
                  </a:lnTo>
                  <a:lnTo>
                    <a:pt x="2299" y="1693"/>
                  </a:lnTo>
                  <a:lnTo>
                    <a:pt x="2299" y="1693"/>
                  </a:lnTo>
                  <a:lnTo>
                    <a:pt x="2309" y="1694"/>
                  </a:lnTo>
                  <a:lnTo>
                    <a:pt x="2317" y="1696"/>
                  </a:lnTo>
                  <a:lnTo>
                    <a:pt x="2324" y="1701"/>
                  </a:lnTo>
                  <a:lnTo>
                    <a:pt x="2330" y="1708"/>
                  </a:lnTo>
                  <a:lnTo>
                    <a:pt x="2334" y="1714"/>
                  </a:lnTo>
                  <a:lnTo>
                    <a:pt x="2338" y="1722"/>
                  </a:lnTo>
                  <a:lnTo>
                    <a:pt x="2340" y="1731"/>
                  </a:lnTo>
                  <a:lnTo>
                    <a:pt x="2341" y="1739"/>
                  </a:lnTo>
                  <a:lnTo>
                    <a:pt x="2257" y="1739"/>
                  </a:lnTo>
                  <a:close/>
                  <a:moveTo>
                    <a:pt x="2884" y="1810"/>
                  </a:moveTo>
                  <a:lnTo>
                    <a:pt x="2884" y="1810"/>
                  </a:lnTo>
                  <a:lnTo>
                    <a:pt x="2875" y="1817"/>
                  </a:lnTo>
                  <a:lnTo>
                    <a:pt x="2867" y="1822"/>
                  </a:lnTo>
                  <a:lnTo>
                    <a:pt x="2860" y="1824"/>
                  </a:lnTo>
                  <a:lnTo>
                    <a:pt x="2854" y="1827"/>
                  </a:lnTo>
                  <a:lnTo>
                    <a:pt x="2848" y="1828"/>
                  </a:lnTo>
                  <a:lnTo>
                    <a:pt x="2840" y="1829"/>
                  </a:lnTo>
                  <a:lnTo>
                    <a:pt x="2840" y="1829"/>
                  </a:lnTo>
                  <a:lnTo>
                    <a:pt x="2834" y="1828"/>
                  </a:lnTo>
                  <a:lnTo>
                    <a:pt x="2828" y="1828"/>
                  </a:lnTo>
                  <a:lnTo>
                    <a:pt x="2820" y="1825"/>
                  </a:lnTo>
                  <a:lnTo>
                    <a:pt x="2812" y="1821"/>
                  </a:lnTo>
                  <a:lnTo>
                    <a:pt x="2804" y="1815"/>
                  </a:lnTo>
                  <a:lnTo>
                    <a:pt x="2801" y="1811"/>
                  </a:lnTo>
                  <a:lnTo>
                    <a:pt x="2798" y="1807"/>
                  </a:lnTo>
                  <a:lnTo>
                    <a:pt x="2795" y="1801"/>
                  </a:lnTo>
                  <a:lnTo>
                    <a:pt x="2793" y="1794"/>
                  </a:lnTo>
                  <a:lnTo>
                    <a:pt x="2791" y="1788"/>
                  </a:lnTo>
                  <a:lnTo>
                    <a:pt x="2790" y="1780"/>
                  </a:lnTo>
                  <a:lnTo>
                    <a:pt x="2928" y="1780"/>
                  </a:lnTo>
                  <a:lnTo>
                    <a:pt x="2928" y="1780"/>
                  </a:lnTo>
                  <a:lnTo>
                    <a:pt x="2929" y="1763"/>
                  </a:lnTo>
                  <a:lnTo>
                    <a:pt x="2929" y="1763"/>
                  </a:lnTo>
                  <a:lnTo>
                    <a:pt x="2928" y="1750"/>
                  </a:lnTo>
                  <a:lnTo>
                    <a:pt x="2927" y="1738"/>
                  </a:lnTo>
                  <a:lnTo>
                    <a:pt x="2924" y="1725"/>
                  </a:lnTo>
                  <a:lnTo>
                    <a:pt x="2922" y="1714"/>
                  </a:lnTo>
                  <a:lnTo>
                    <a:pt x="2918" y="1704"/>
                  </a:lnTo>
                  <a:lnTo>
                    <a:pt x="2913" y="1694"/>
                  </a:lnTo>
                  <a:lnTo>
                    <a:pt x="2909" y="1685"/>
                  </a:lnTo>
                  <a:lnTo>
                    <a:pt x="2903" y="1678"/>
                  </a:lnTo>
                  <a:lnTo>
                    <a:pt x="2897" y="1670"/>
                  </a:lnTo>
                  <a:lnTo>
                    <a:pt x="2889" y="1664"/>
                  </a:lnTo>
                  <a:lnTo>
                    <a:pt x="2881" y="1659"/>
                  </a:lnTo>
                  <a:lnTo>
                    <a:pt x="2873" y="1654"/>
                  </a:lnTo>
                  <a:lnTo>
                    <a:pt x="2864" y="1651"/>
                  </a:lnTo>
                  <a:lnTo>
                    <a:pt x="2854" y="1648"/>
                  </a:lnTo>
                  <a:lnTo>
                    <a:pt x="2844" y="1646"/>
                  </a:lnTo>
                  <a:lnTo>
                    <a:pt x="2834" y="1645"/>
                  </a:lnTo>
                  <a:lnTo>
                    <a:pt x="2834" y="1645"/>
                  </a:lnTo>
                  <a:lnTo>
                    <a:pt x="2823" y="1646"/>
                  </a:lnTo>
                  <a:lnTo>
                    <a:pt x="2813" y="1648"/>
                  </a:lnTo>
                  <a:lnTo>
                    <a:pt x="2803" y="1651"/>
                  </a:lnTo>
                  <a:lnTo>
                    <a:pt x="2794" y="1654"/>
                  </a:lnTo>
                  <a:lnTo>
                    <a:pt x="2785" y="1659"/>
                  </a:lnTo>
                  <a:lnTo>
                    <a:pt x="2777" y="1665"/>
                  </a:lnTo>
                  <a:lnTo>
                    <a:pt x="2770" y="1671"/>
                  </a:lnTo>
                  <a:lnTo>
                    <a:pt x="2762" y="1679"/>
                  </a:lnTo>
                  <a:lnTo>
                    <a:pt x="2755" y="1686"/>
                  </a:lnTo>
                  <a:lnTo>
                    <a:pt x="2750" y="1695"/>
                  </a:lnTo>
                  <a:lnTo>
                    <a:pt x="2745" y="1705"/>
                  </a:lnTo>
                  <a:lnTo>
                    <a:pt x="2741" y="1715"/>
                  </a:lnTo>
                  <a:lnTo>
                    <a:pt x="2739" y="1727"/>
                  </a:lnTo>
                  <a:lnTo>
                    <a:pt x="2735" y="1739"/>
                  </a:lnTo>
                  <a:lnTo>
                    <a:pt x="2734" y="1750"/>
                  </a:lnTo>
                  <a:lnTo>
                    <a:pt x="2734" y="1763"/>
                  </a:lnTo>
                  <a:lnTo>
                    <a:pt x="2734" y="1763"/>
                  </a:lnTo>
                  <a:lnTo>
                    <a:pt x="2734" y="1775"/>
                  </a:lnTo>
                  <a:lnTo>
                    <a:pt x="2735" y="1788"/>
                  </a:lnTo>
                  <a:lnTo>
                    <a:pt x="2738" y="1800"/>
                  </a:lnTo>
                  <a:lnTo>
                    <a:pt x="2741" y="1811"/>
                  </a:lnTo>
                  <a:lnTo>
                    <a:pt x="2745" y="1821"/>
                  </a:lnTo>
                  <a:lnTo>
                    <a:pt x="2751" y="1831"/>
                  </a:lnTo>
                  <a:lnTo>
                    <a:pt x="2757" y="1840"/>
                  </a:lnTo>
                  <a:lnTo>
                    <a:pt x="2763" y="1848"/>
                  </a:lnTo>
                  <a:lnTo>
                    <a:pt x="2770" y="1854"/>
                  </a:lnTo>
                  <a:lnTo>
                    <a:pt x="2778" y="1861"/>
                  </a:lnTo>
                  <a:lnTo>
                    <a:pt x="2787" y="1867"/>
                  </a:lnTo>
                  <a:lnTo>
                    <a:pt x="2797" y="1871"/>
                  </a:lnTo>
                  <a:lnTo>
                    <a:pt x="2807" y="1874"/>
                  </a:lnTo>
                  <a:lnTo>
                    <a:pt x="2817" y="1878"/>
                  </a:lnTo>
                  <a:lnTo>
                    <a:pt x="2829" y="1879"/>
                  </a:lnTo>
                  <a:lnTo>
                    <a:pt x="2840" y="1880"/>
                  </a:lnTo>
                  <a:lnTo>
                    <a:pt x="2840" y="1880"/>
                  </a:lnTo>
                  <a:lnTo>
                    <a:pt x="2851" y="1879"/>
                  </a:lnTo>
                  <a:lnTo>
                    <a:pt x="2862" y="1878"/>
                  </a:lnTo>
                  <a:lnTo>
                    <a:pt x="2872" y="1874"/>
                  </a:lnTo>
                  <a:lnTo>
                    <a:pt x="2882" y="1871"/>
                  </a:lnTo>
                  <a:lnTo>
                    <a:pt x="2892" y="1866"/>
                  </a:lnTo>
                  <a:lnTo>
                    <a:pt x="2902" y="1860"/>
                  </a:lnTo>
                  <a:lnTo>
                    <a:pt x="2911" y="1852"/>
                  </a:lnTo>
                  <a:lnTo>
                    <a:pt x="2919" y="1844"/>
                  </a:lnTo>
                  <a:lnTo>
                    <a:pt x="2884" y="1810"/>
                  </a:lnTo>
                  <a:close/>
                  <a:moveTo>
                    <a:pt x="2791" y="1739"/>
                  </a:moveTo>
                  <a:lnTo>
                    <a:pt x="2791" y="1739"/>
                  </a:lnTo>
                  <a:lnTo>
                    <a:pt x="2792" y="1729"/>
                  </a:lnTo>
                  <a:lnTo>
                    <a:pt x="2795" y="1720"/>
                  </a:lnTo>
                  <a:lnTo>
                    <a:pt x="2799" y="1712"/>
                  </a:lnTo>
                  <a:lnTo>
                    <a:pt x="2803" y="1705"/>
                  </a:lnTo>
                  <a:lnTo>
                    <a:pt x="2810" y="1700"/>
                  </a:lnTo>
                  <a:lnTo>
                    <a:pt x="2817" y="1696"/>
                  </a:lnTo>
                  <a:lnTo>
                    <a:pt x="2824" y="1693"/>
                  </a:lnTo>
                  <a:lnTo>
                    <a:pt x="2833" y="1693"/>
                  </a:lnTo>
                  <a:lnTo>
                    <a:pt x="2833" y="1693"/>
                  </a:lnTo>
                  <a:lnTo>
                    <a:pt x="2843" y="1694"/>
                  </a:lnTo>
                  <a:lnTo>
                    <a:pt x="2851" y="1696"/>
                  </a:lnTo>
                  <a:lnTo>
                    <a:pt x="2859" y="1701"/>
                  </a:lnTo>
                  <a:lnTo>
                    <a:pt x="2864" y="1708"/>
                  </a:lnTo>
                  <a:lnTo>
                    <a:pt x="2869" y="1714"/>
                  </a:lnTo>
                  <a:lnTo>
                    <a:pt x="2872" y="1722"/>
                  </a:lnTo>
                  <a:lnTo>
                    <a:pt x="2874" y="1731"/>
                  </a:lnTo>
                  <a:lnTo>
                    <a:pt x="2875" y="1739"/>
                  </a:lnTo>
                  <a:lnTo>
                    <a:pt x="2791" y="1739"/>
                  </a:lnTo>
                  <a:close/>
                  <a:moveTo>
                    <a:pt x="2658" y="1797"/>
                  </a:moveTo>
                  <a:lnTo>
                    <a:pt x="2658" y="1797"/>
                  </a:lnTo>
                  <a:lnTo>
                    <a:pt x="2658" y="1804"/>
                  </a:lnTo>
                  <a:lnTo>
                    <a:pt x="2659" y="1810"/>
                  </a:lnTo>
                  <a:lnTo>
                    <a:pt x="2661" y="1815"/>
                  </a:lnTo>
                  <a:lnTo>
                    <a:pt x="2663" y="1820"/>
                  </a:lnTo>
                  <a:lnTo>
                    <a:pt x="2667" y="1823"/>
                  </a:lnTo>
                  <a:lnTo>
                    <a:pt x="2671" y="1825"/>
                  </a:lnTo>
                  <a:lnTo>
                    <a:pt x="2675" y="1827"/>
                  </a:lnTo>
                  <a:lnTo>
                    <a:pt x="2682" y="1827"/>
                  </a:lnTo>
                  <a:lnTo>
                    <a:pt x="2682" y="1827"/>
                  </a:lnTo>
                  <a:lnTo>
                    <a:pt x="2690" y="1827"/>
                  </a:lnTo>
                  <a:lnTo>
                    <a:pt x="2699" y="1824"/>
                  </a:lnTo>
                  <a:lnTo>
                    <a:pt x="2708" y="1821"/>
                  </a:lnTo>
                  <a:lnTo>
                    <a:pt x="2715" y="1817"/>
                  </a:lnTo>
                  <a:lnTo>
                    <a:pt x="2709" y="1869"/>
                  </a:lnTo>
                  <a:lnTo>
                    <a:pt x="2709" y="1869"/>
                  </a:lnTo>
                  <a:lnTo>
                    <a:pt x="2699" y="1873"/>
                  </a:lnTo>
                  <a:lnTo>
                    <a:pt x="2687" y="1877"/>
                  </a:lnTo>
                  <a:lnTo>
                    <a:pt x="2674" y="1879"/>
                  </a:lnTo>
                  <a:lnTo>
                    <a:pt x="2662" y="1880"/>
                  </a:lnTo>
                  <a:lnTo>
                    <a:pt x="2662" y="1880"/>
                  </a:lnTo>
                  <a:lnTo>
                    <a:pt x="2654" y="1879"/>
                  </a:lnTo>
                  <a:lnTo>
                    <a:pt x="2647" y="1878"/>
                  </a:lnTo>
                  <a:lnTo>
                    <a:pt x="2640" y="1876"/>
                  </a:lnTo>
                  <a:lnTo>
                    <a:pt x="2634" y="1873"/>
                  </a:lnTo>
                  <a:lnTo>
                    <a:pt x="2629" y="1870"/>
                  </a:lnTo>
                  <a:lnTo>
                    <a:pt x="2623" y="1867"/>
                  </a:lnTo>
                  <a:lnTo>
                    <a:pt x="2620" y="1862"/>
                  </a:lnTo>
                  <a:lnTo>
                    <a:pt x="2615" y="1857"/>
                  </a:lnTo>
                  <a:lnTo>
                    <a:pt x="2610" y="1847"/>
                  </a:lnTo>
                  <a:lnTo>
                    <a:pt x="2605" y="1834"/>
                  </a:lnTo>
                  <a:lnTo>
                    <a:pt x="2603" y="1823"/>
                  </a:lnTo>
                  <a:lnTo>
                    <a:pt x="2602" y="1811"/>
                  </a:lnTo>
                  <a:lnTo>
                    <a:pt x="2602" y="1702"/>
                  </a:lnTo>
                  <a:lnTo>
                    <a:pt x="2568" y="1702"/>
                  </a:lnTo>
                  <a:lnTo>
                    <a:pt x="2568" y="1651"/>
                  </a:lnTo>
                  <a:lnTo>
                    <a:pt x="2602" y="1651"/>
                  </a:lnTo>
                  <a:lnTo>
                    <a:pt x="2602" y="1593"/>
                  </a:lnTo>
                  <a:lnTo>
                    <a:pt x="2658" y="1565"/>
                  </a:lnTo>
                  <a:lnTo>
                    <a:pt x="2658" y="1651"/>
                  </a:lnTo>
                  <a:lnTo>
                    <a:pt x="2708" y="1651"/>
                  </a:lnTo>
                  <a:lnTo>
                    <a:pt x="2708" y="1702"/>
                  </a:lnTo>
                  <a:lnTo>
                    <a:pt x="2658" y="1702"/>
                  </a:lnTo>
                  <a:lnTo>
                    <a:pt x="2658" y="1797"/>
                  </a:lnTo>
                  <a:close/>
                  <a:moveTo>
                    <a:pt x="2550" y="1869"/>
                  </a:moveTo>
                  <a:lnTo>
                    <a:pt x="2550" y="1869"/>
                  </a:lnTo>
                  <a:lnTo>
                    <a:pt x="2540" y="1873"/>
                  </a:lnTo>
                  <a:lnTo>
                    <a:pt x="2529" y="1877"/>
                  </a:lnTo>
                  <a:lnTo>
                    <a:pt x="2516" y="1879"/>
                  </a:lnTo>
                  <a:lnTo>
                    <a:pt x="2504" y="1880"/>
                  </a:lnTo>
                  <a:lnTo>
                    <a:pt x="2504" y="1880"/>
                  </a:lnTo>
                  <a:lnTo>
                    <a:pt x="2495" y="1879"/>
                  </a:lnTo>
                  <a:lnTo>
                    <a:pt x="2489" y="1878"/>
                  </a:lnTo>
                  <a:lnTo>
                    <a:pt x="2482" y="1876"/>
                  </a:lnTo>
                  <a:lnTo>
                    <a:pt x="2475" y="1873"/>
                  </a:lnTo>
                  <a:lnTo>
                    <a:pt x="2471" y="1870"/>
                  </a:lnTo>
                  <a:lnTo>
                    <a:pt x="2465" y="1867"/>
                  </a:lnTo>
                  <a:lnTo>
                    <a:pt x="2461" y="1862"/>
                  </a:lnTo>
                  <a:lnTo>
                    <a:pt x="2458" y="1857"/>
                  </a:lnTo>
                  <a:lnTo>
                    <a:pt x="2451" y="1847"/>
                  </a:lnTo>
                  <a:lnTo>
                    <a:pt x="2448" y="1834"/>
                  </a:lnTo>
                  <a:lnTo>
                    <a:pt x="2444" y="1823"/>
                  </a:lnTo>
                  <a:lnTo>
                    <a:pt x="2444" y="1811"/>
                  </a:lnTo>
                  <a:lnTo>
                    <a:pt x="2444" y="1702"/>
                  </a:lnTo>
                  <a:lnTo>
                    <a:pt x="2410" y="1702"/>
                  </a:lnTo>
                  <a:lnTo>
                    <a:pt x="2410" y="1651"/>
                  </a:lnTo>
                  <a:lnTo>
                    <a:pt x="2444" y="1651"/>
                  </a:lnTo>
                  <a:lnTo>
                    <a:pt x="2444" y="1593"/>
                  </a:lnTo>
                  <a:lnTo>
                    <a:pt x="2500" y="1565"/>
                  </a:lnTo>
                  <a:lnTo>
                    <a:pt x="2500" y="1651"/>
                  </a:lnTo>
                  <a:lnTo>
                    <a:pt x="2546" y="1651"/>
                  </a:lnTo>
                  <a:lnTo>
                    <a:pt x="2546" y="1702"/>
                  </a:lnTo>
                  <a:lnTo>
                    <a:pt x="2500" y="1702"/>
                  </a:lnTo>
                  <a:lnTo>
                    <a:pt x="2500" y="1797"/>
                  </a:lnTo>
                  <a:lnTo>
                    <a:pt x="2500" y="1797"/>
                  </a:lnTo>
                  <a:lnTo>
                    <a:pt x="2500" y="1804"/>
                  </a:lnTo>
                  <a:lnTo>
                    <a:pt x="2501" y="1810"/>
                  </a:lnTo>
                  <a:lnTo>
                    <a:pt x="2503" y="1815"/>
                  </a:lnTo>
                  <a:lnTo>
                    <a:pt x="2505" y="1820"/>
                  </a:lnTo>
                  <a:lnTo>
                    <a:pt x="2509" y="1823"/>
                  </a:lnTo>
                  <a:lnTo>
                    <a:pt x="2513" y="1825"/>
                  </a:lnTo>
                  <a:lnTo>
                    <a:pt x="2518" y="1827"/>
                  </a:lnTo>
                  <a:lnTo>
                    <a:pt x="2523" y="1827"/>
                  </a:lnTo>
                  <a:lnTo>
                    <a:pt x="2523" y="1827"/>
                  </a:lnTo>
                  <a:lnTo>
                    <a:pt x="2532" y="1827"/>
                  </a:lnTo>
                  <a:lnTo>
                    <a:pt x="2541" y="1824"/>
                  </a:lnTo>
                  <a:lnTo>
                    <a:pt x="2549" y="1821"/>
                  </a:lnTo>
                  <a:lnTo>
                    <a:pt x="2556" y="1817"/>
                  </a:lnTo>
                  <a:lnTo>
                    <a:pt x="2550" y="1869"/>
                  </a:lnTo>
                  <a:close/>
                  <a:moveTo>
                    <a:pt x="3096" y="1713"/>
                  </a:moveTo>
                  <a:lnTo>
                    <a:pt x="3096" y="1713"/>
                  </a:lnTo>
                  <a:lnTo>
                    <a:pt x="3088" y="1708"/>
                  </a:lnTo>
                  <a:lnTo>
                    <a:pt x="3079" y="1704"/>
                  </a:lnTo>
                  <a:lnTo>
                    <a:pt x="3069" y="1702"/>
                  </a:lnTo>
                  <a:lnTo>
                    <a:pt x="3059" y="1701"/>
                  </a:lnTo>
                  <a:lnTo>
                    <a:pt x="3059" y="1701"/>
                  </a:lnTo>
                  <a:lnTo>
                    <a:pt x="3050" y="1702"/>
                  </a:lnTo>
                  <a:lnTo>
                    <a:pt x="3041" y="1704"/>
                  </a:lnTo>
                  <a:lnTo>
                    <a:pt x="3034" y="1709"/>
                  </a:lnTo>
                  <a:lnTo>
                    <a:pt x="3029" y="1714"/>
                  </a:lnTo>
                  <a:lnTo>
                    <a:pt x="3024" y="1721"/>
                  </a:lnTo>
                  <a:lnTo>
                    <a:pt x="3022" y="1730"/>
                  </a:lnTo>
                  <a:lnTo>
                    <a:pt x="3020" y="1741"/>
                  </a:lnTo>
                  <a:lnTo>
                    <a:pt x="3019" y="1753"/>
                  </a:lnTo>
                  <a:lnTo>
                    <a:pt x="3019" y="1874"/>
                  </a:lnTo>
                  <a:lnTo>
                    <a:pt x="2964" y="1874"/>
                  </a:lnTo>
                  <a:lnTo>
                    <a:pt x="2964" y="1651"/>
                  </a:lnTo>
                  <a:lnTo>
                    <a:pt x="3019" y="1651"/>
                  </a:lnTo>
                  <a:lnTo>
                    <a:pt x="3019" y="1670"/>
                  </a:lnTo>
                  <a:lnTo>
                    <a:pt x="3019" y="1670"/>
                  </a:lnTo>
                  <a:lnTo>
                    <a:pt x="3024" y="1664"/>
                  </a:lnTo>
                  <a:lnTo>
                    <a:pt x="3030" y="1659"/>
                  </a:lnTo>
                  <a:lnTo>
                    <a:pt x="3036" y="1655"/>
                  </a:lnTo>
                  <a:lnTo>
                    <a:pt x="3042" y="1652"/>
                  </a:lnTo>
                  <a:lnTo>
                    <a:pt x="3048" y="1649"/>
                  </a:lnTo>
                  <a:lnTo>
                    <a:pt x="3054" y="1648"/>
                  </a:lnTo>
                  <a:lnTo>
                    <a:pt x="3061" y="1646"/>
                  </a:lnTo>
                  <a:lnTo>
                    <a:pt x="3069" y="1645"/>
                  </a:lnTo>
                  <a:lnTo>
                    <a:pt x="3069" y="1645"/>
                  </a:lnTo>
                  <a:lnTo>
                    <a:pt x="3080" y="1646"/>
                  </a:lnTo>
                  <a:lnTo>
                    <a:pt x="3091" y="1650"/>
                  </a:lnTo>
                  <a:lnTo>
                    <a:pt x="3101" y="1653"/>
                  </a:lnTo>
                  <a:lnTo>
                    <a:pt x="3110" y="1659"/>
                  </a:lnTo>
                  <a:lnTo>
                    <a:pt x="3096" y="1713"/>
                  </a:lnTo>
                  <a:close/>
                  <a:moveTo>
                    <a:pt x="597" y="1591"/>
                  </a:moveTo>
                  <a:lnTo>
                    <a:pt x="597" y="1619"/>
                  </a:lnTo>
                  <a:lnTo>
                    <a:pt x="541" y="1619"/>
                  </a:lnTo>
                  <a:lnTo>
                    <a:pt x="541" y="1563"/>
                  </a:lnTo>
                  <a:lnTo>
                    <a:pt x="597" y="1563"/>
                  </a:lnTo>
                  <a:lnTo>
                    <a:pt x="597" y="1591"/>
                  </a:lnTo>
                  <a:close/>
                  <a:moveTo>
                    <a:pt x="981" y="1651"/>
                  </a:moveTo>
                  <a:lnTo>
                    <a:pt x="1037" y="1651"/>
                  </a:lnTo>
                  <a:lnTo>
                    <a:pt x="1037" y="1751"/>
                  </a:lnTo>
                  <a:lnTo>
                    <a:pt x="1037" y="1874"/>
                  </a:lnTo>
                  <a:lnTo>
                    <a:pt x="981" y="1874"/>
                  </a:lnTo>
                  <a:lnTo>
                    <a:pt x="981" y="1651"/>
                  </a:lnTo>
                  <a:close/>
                  <a:moveTo>
                    <a:pt x="1037" y="1591"/>
                  </a:moveTo>
                  <a:lnTo>
                    <a:pt x="1037" y="1619"/>
                  </a:lnTo>
                  <a:lnTo>
                    <a:pt x="981" y="1619"/>
                  </a:lnTo>
                  <a:lnTo>
                    <a:pt x="981" y="1563"/>
                  </a:lnTo>
                  <a:lnTo>
                    <a:pt x="1037" y="1563"/>
                  </a:lnTo>
                  <a:lnTo>
                    <a:pt x="1037" y="1591"/>
                  </a:lnTo>
                  <a:close/>
                  <a:moveTo>
                    <a:pt x="2558" y="2058"/>
                  </a:moveTo>
                  <a:lnTo>
                    <a:pt x="2558" y="2058"/>
                  </a:lnTo>
                  <a:lnTo>
                    <a:pt x="2552" y="2053"/>
                  </a:lnTo>
                  <a:lnTo>
                    <a:pt x="2546" y="2049"/>
                  </a:lnTo>
                  <a:lnTo>
                    <a:pt x="2541" y="2046"/>
                  </a:lnTo>
                  <a:lnTo>
                    <a:pt x="2534" y="2042"/>
                  </a:lnTo>
                  <a:lnTo>
                    <a:pt x="2529" y="2040"/>
                  </a:lnTo>
                  <a:lnTo>
                    <a:pt x="2522" y="2039"/>
                  </a:lnTo>
                  <a:lnTo>
                    <a:pt x="2508" y="2037"/>
                  </a:lnTo>
                  <a:lnTo>
                    <a:pt x="2508" y="2037"/>
                  </a:lnTo>
                  <a:lnTo>
                    <a:pt x="2498" y="2038"/>
                  </a:lnTo>
                  <a:lnTo>
                    <a:pt x="2489" y="2039"/>
                  </a:lnTo>
                  <a:lnTo>
                    <a:pt x="2480" y="2042"/>
                  </a:lnTo>
                  <a:lnTo>
                    <a:pt x="2471" y="2046"/>
                  </a:lnTo>
                  <a:lnTo>
                    <a:pt x="2463" y="2050"/>
                  </a:lnTo>
                  <a:lnTo>
                    <a:pt x="2456" y="2055"/>
                  </a:lnTo>
                  <a:lnTo>
                    <a:pt x="2450" y="2061"/>
                  </a:lnTo>
                  <a:lnTo>
                    <a:pt x="2443" y="2068"/>
                  </a:lnTo>
                  <a:lnTo>
                    <a:pt x="2439" y="2076"/>
                  </a:lnTo>
                  <a:lnTo>
                    <a:pt x="2433" y="2085"/>
                  </a:lnTo>
                  <a:lnTo>
                    <a:pt x="2430" y="2093"/>
                  </a:lnTo>
                  <a:lnTo>
                    <a:pt x="2426" y="2105"/>
                  </a:lnTo>
                  <a:lnTo>
                    <a:pt x="2423" y="2115"/>
                  </a:lnTo>
                  <a:lnTo>
                    <a:pt x="2422" y="2127"/>
                  </a:lnTo>
                  <a:lnTo>
                    <a:pt x="2421" y="2139"/>
                  </a:lnTo>
                  <a:lnTo>
                    <a:pt x="2420" y="2152"/>
                  </a:lnTo>
                  <a:lnTo>
                    <a:pt x="2420" y="2152"/>
                  </a:lnTo>
                  <a:lnTo>
                    <a:pt x="2421" y="2166"/>
                  </a:lnTo>
                  <a:lnTo>
                    <a:pt x="2422" y="2178"/>
                  </a:lnTo>
                  <a:lnTo>
                    <a:pt x="2423" y="2190"/>
                  </a:lnTo>
                  <a:lnTo>
                    <a:pt x="2426" y="2202"/>
                  </a:lnTo>
                  <a:lnTo>
                    <a:pt x="2429" y="2212"/>
                  </a:lnTo>
                  <a:lnTo>
                    <a:pt x="2433" y="2222"/>
                  </a:lnTo>
                  <a:lnTo>
                    <a:pt x="2438" y="2231"/>
                  </a:lnTo>
                  <a:lnTo>
                    <a:pt x="2443" y="2239"/>
                  </a:lnTo>
                  <a:lnTo>
                    <a:pt x="2449" y="2247"/>
                  </a:lnTo>
                  <a:lnTo>
                    <a:pt x="2455" y="2252"/>
                  </a:lnTo>
                  <a:lnTo>
                    <a:pt x="2462" y="2258"/>
                  </a:lnTo>
                  <a:lnTo>
                    <a:pt x="2470" y="2262"/>
                  </a:lnTo>
                  <a:lnTo>
                    <a:pt x="2479" y="2267"/>
                  </a:lnTo>
                  <a:lnTo>
                    <a:pt x="2488" y="2269"/>
                  </a:lnTo>
                  <a:lnTo>
                    <a:pt x="2496" y="2270"/>
                  </a:lnTo>
                  <a:lnTo>
                    <a:pt x="2506" y="2271"/>
                  </a:lnTo>
                  <a:lnTo>
                    <a:pt x="2506" y="2271"/>
                  </a:lnTo>
                  <a:lnTo>
                    <a:pt x="2513" y="2270"/>
                  </a:lnTo>
                  <a:lnTo>
                    <a:pt x="2521" y="2269"/>
                  </a:lnTo>
                  <a:lnTo>
                    <a:pt x="2528" y="2268"/>
                  </a:lnTo>
                  <a:lnTo>
                    <a:pt x="2533" y="2266"/>
                  </a:lnTo>
                  <a:lnTo>
                    <a:pt x="2540" y="2262"/>
                  </a:lnTo>
                  <a:lnTo>
                    <a:pt x="2546" y="2259"/>
                  </a:lnTo>
                  <a:lnTo>
                    <a:pt x="2552" y="2255"/>
                  </a:lnTo>
                  <a:lnTo>
                    <a:pt x="2558" y="2249"/>
                  </a:lnTo>
                  <a:lnTo>
                    <a:pt x="2558" y="2266"/>
                  </a:lnTo>
                  <a:lnTo>
                    <a:pt x="2613" y="2266"/>
                  </a:lnTo>
                  <a:lnTo>
                    <a:pt x="2613" y="1949"/>
                  </a:lnTo>
                  <a:lnTo>
                    <a:pt x="2558" y="1977"/>
                  </a:lnTo>
                  <a:lnTo>
                    <a:pt x="2558" y="2058"/>
                  </a:lnTo>
                  <a:close/>
                  <a:moveTo>
                    <a:pt x="2519" y="2220"/>
                  </a:moveTo>
                  <a:lnTo>
                    <a:pt x="2519" y="2220"/>
                  </a:lnTo>
                  <a:lnTo>
                    <a:pt x="2511" y="2219"/>
                  </a:lnTo>
                  <a:lnTo>
                    <a:pt x="2504" y="2217"/>
                  </a:lnTo>
                  <a:lnTo>
                    <a:pt x="2496" y="2214"/>
                  </a:lnTo>
                  <a:lnTo>
                    <a:pt x="2490" y="2207"/>
                  </a:lnTo>
                  <a:lnTo>
                    <a:pt x="2484" y="2198"/>
                  </a:lnTo>
                  <a:lnTo>
                    <a:pt x="2480" y="2186"/>
                  </a:lnTo>
                  <a:lnTo>
                    <a:pt x="2478" y="2170"/>
                  </a:lnTo>
                  <a:lnTo>
                    <a:pt x="2476" y="2150"/>
                  </a:lnTo>
                  <a:lnTo>
                    <a:pt x="2476" y="2150"/>
                  </a:lnTo>
                  <a:lnTo>
                    <a:pt x="2478" y="2133"/>
                  </a:lnTo>
                  <a:lnTo>
                    <a:pt x="2480" y="2119"/>
                  </a:lnTo>
                  <a:lnTo>
                    <a:pt x="2484" y="2108"/>
                  </a:lnTo>
                  <a:lnTo>
                    <a:pt x="2490" y="2100"/>
                  </a:lnTo>
                  <a:lnTo>
                    <a:pt x="2496" y="2095"/>
                  </a:lnTo>
                  <a:lnTo>
                    <a:pt x="2503" y="2090"/>
                  </a:lnTo>
                  <a:lnTo>
                    <a:pt x="2511" y="2089"/>
                  </a:lnTo>
                  <a:lnTo>
                    <a:pt x="2518" y="2088"/>
                  </a:lnTo>
                  <a:lnTo>
                    <a:pt x="2518" y="2088"/>
                  </a:lnTo>
                  <a:lnTo>
                    <a:pt x="2525" y="2089"/>
                  </a:lnTo>
                  <a:lnTo>
                    <a:pt x="2532" y="2090"/>
                  </a:lnTo>
                  <a:lnTo>
                    <a:pt x="2538" y="2092"/>
                  </a:lnTo>
                  <a:lnTo>
                    <a:pt x="2543" y="2096"/>
                  </a:lnTo>
                  <a:lnTo>
                    <a:pt x="2548" y="2099"/>
                  </a:lnTo>
                  <a:lnTo>
                    <a:pt x="2552" y="2102"/>
                  </a:lnTo>
                  <a:lnTo>
                    <a:pt x="2558" y="2110"/>
                  </a:lnTo>
                  <a:lnTo>
                    <a:pt x="2558" y="2198"/>
                  </a:lnTo>
                  <a:lnTo>
                    <a:pt x="2558" y="2198"/>
                  </a:lnTo>
                  <a:lnTo>
                    <a:pt x="2551" y="2206"/>
                  </a:lnTo>
                  <a:lnTo>
                    <a:pt x="2543" y="2212"/>
                  </a:lnTo>
                  <a:lnTo>
                    <a:pt x="2538" y="2216"/>
                  </a:lnTo>
                  <a:lnTo>
                    <a:pt x="2532" y="2218"/>
                  </a:lnTo>
                  <a:lnTo>
                    <a:pt x="2525" y="2219"/>
                  </a:lnTo>
                  <a:lnTo>
                    <a:pt x="2519" y="2220"/>
                  </a:lnTo>
                  <a:lnTo>
                    <a:pt x="2519" y="2220"/>
                  </a:lnTo>
                  <a:close/>
                  <a:moveTo>
                    <a:pt x="677" y="2105"/>
                  </a:moveTo>
                  <a:lnTo>
                    <a:pt x="677" y="2105"/>
                  </a:lnTo>
                  <a:lnTo>
                    <a:pt x="669" y="2100"/>
                  </a:lnTo>
                  <a:lnTo>
                    <a:pt x="660" y="2096"/>
                  </a:lnTo>
                  <a:lnTo>
                    <a:pt x="650" y="2093"/>
                  </a:lnTo>
                  <a:lnTo>
                    <a:pt x="640" y="2092"/>
                  </a:lnTo>
                  <a:lnTo>
                    <a:pt x="640" y="2092"/>
                  </a:lnTo>
                  <a:lnTo>
                    <a:pt x="631" y="2093"/>
                  </a:lnTo>
                  <a:lnTo>
                    <a:pt x="622" y="2096"/>
                  </a:lnTo>
                  <a:lnTo>
                    <a:pt x="616" y="2100"/>
                  </a:lnTo>
                  <a:lnTo>
                    <a:pt x="610" y="2106"/>
                  </a:lnTo>
                  <a:lnTo>
                    <a:pt x="606" y="2112"/>
                  </a:lnTo>
                  <a:lnTo>
                    <a:pt x="604" y="2121"/>
                  </a:lnTo>
                  <a:lnTo>
                    <a:pt x="601" y="2132"/>
                  </a:lnTo>
                  <a:lnTo>
                    <a:pt x="600" y="2145"/>
                  </a:lnTo>
                  <a:lnTo>
                    <a:pt x="600" y="2266"/>
                  </a:lnTo>
                  <a:lnTo>
                    <a:pt x="546" y="2266"/>
                  </a:lnTo>
                  <a:lnTo>
                    <a:pt x="546" y="2042"/>
                  </a:lnTo>
                  <a:lnTo>
                    <a:pt x="600" y="2042"/>
                  </a:lnTo>
                  <a:lnTo>
                    <a:pt x="600" y="2061"/>
                  </a:lnTo>
                  <a:lnTo>
                    <a:pt x="600" y="2061"/>
                  </a:lnTo>
                  <a:lnTo>
                    <a:pt x="606" y="2056"/>
                  </a:lnTo>
                  <a:lnTo>
                    <a:pt x="611" y="2050"/>
                  </a:lnTo>
                  <a:lnTo>
                    <a:pt x="617" y="2047"/>
                  </a:lnTo>
                  <a:lnTo>
                    <a:pt x="624" y="2043"/>
                  </a:lnTo>
                  <a:lnTo>
                    <a:pt x="629" y="2040"/>
                  </a:lnTo>
                  <a:lnTo>
                    <a:pt x="636" y="2039"/>
                  </a:lnTo>
                  <a:lnTo>
                    <a:pt x="644" y="2038"/>
                  </a:lnTo>
                  <a:lnTo>
                    <a:pt x="650" y="2037"/>
                  </a:lnTo>
                  <a:lnTo>
                    <a:pt x="650" y="2037"/>
                  </a:lnTo>
                  <a:lnTo>
                    <a:pt x="661" y="2038"/>
                  </a:lnTo>
                  <a:lnTo>
                    <a:pt x="672" y="2041"/>
                  </a:lnTo>
                  <a:lnTo>
                    <a:pt x="684" y="2046"/>
                  </a:lnTo>
                  <a:lnTo>
                    <a:pt x="692" y="2051"/>
                  </a:lnTo>
                  <a:lnTo>
                    <a:pt x="677" y="2105"/>
                  </a:lnTo>
                  <a:close/>
                  <a:moveTo>
                    <a:pt x="242" y="2042"/>
                  </a:moveTo>
                  <a:lnTo>
                    <a:pt x="297" y="2042"/>
                  </a:lnTo>
                  <a:lnTo>
                    <a:pt x="233" y="2266"/>
                  </a:lnTo>
                  <a:lnTo>
                    <a:pt x="186" y="2266"/>
                  </a:lnTo>
                  <a:lnTo>
                    <a:pt x="161" y="2174"/>
                  </a:lnTo>
                  <a:lnTo>
                    <a:pt x="161" y="2174"/>
                  </a:lnTo>
                  <a:lnTo>
                    <a:pt x="149" y="2125"/>
                  </a:lnTo>
                  <a:lnTo>
                    <a:pt x="149" y="2125"/>
                  </a:lnTo>
                  <a:lnTo>
                    <a:pt x="143" y="2148"/>
                  </a:lnTo>
                  <a:lnTo>
                    <a:pt x="137" y="2175"/>
                  </a:lnTo>
                  <a:lnTo>
                    <a:pt x="111" y="2266"/>
                  </a:lnTo>
                  <a:lnTo>
                    <a:pt x="63" y="2266"/>
                  </a:lnTo>
                  <a:lnTo>
                    <a:pt x="63" y="2265"/>
                  </a:lnTo>
                  <a:lnTo>
                    <a:pt x="0" y="2042"/>
                  </a:lnTo>
                  <a:lnTo>
                    <a:pt x="58" y="2042"/>
                  </a:lnTo>
                  <a:lnTo>
                    <a:pt x="78" y="2126"/>
                  </a:lnTo>
                  <a:lnTo>
                    <a:pt x="78" y="2126"/>
                  </a:lnTo>
                  <a:lnTo>
                    <a:pt x="83" y="2152"/>
                  </a:lnTo>
                  <a:lnTo>
                    <a:pt x="89" y="2180"/>
                  </a:lnTo>
                  <a:lnTo>
                    <a:pt x="89" y="2180"/>
                  </a:lnTo>
                  <a:lnTo>
                    <a:pt x="96" y="2152"/>
                  </a:lnTo>
                  <a:lnTo>
                    <a:pt x="102" y="2125"/>
                  </a:lnTo>
                  <a:lnTo>
                    <a:pt x="126" y="2042"/>
                  </a:lnTo>
                  <a:lnTo>
                    <a:pt x="173" y="2042"/>
                  </a:lnTo>
                  <a:lnTo>
                    <a:pt x="197" y="2125"/>
                  </a:lnTo>
                  <a:lnTo>
                    <a:pt x="197" y="2125"/>
                  </a:lnTo>
                  <a:lnTo>
                    <a:pt x="203" y="2151"/>
                  </a:lnTo>
                  <a:lnTo>
                    <a:pt x="210" y="2181"/>
                  </a:lnTo>
                  <a:lnTo>
                    <a:pt x="210" y="2181"/>
                  </a:lnTo>
                  <a:lnTo>
                    <a:pt x="215" y="2156"/>
                  </a:lnTo>
                  <a:lnTo>
                    <a:pt x="221" y="2125"/>
                  </a:lnTo>
                  <a:lnTo>
                    <a:pt x="242" y="2042"/>
                  </a:lnTo>
                  <a:close/>
                  <a:moveTo>
                    <a:pt x="409" y="2037"/>
                  </a:moveTo>
                  <a:lnTo>
                    <a:pt x="409" y="2037"/>
                  </a:lnTo>
                  <a:lnTo>
                    <a:pt x="399" y="2038"/>
                  </a:lnTo>
                  <a:lnTo>
                    <a:pt x="388" y="2039"/>
                  </a:lnTo>
                  <a:lnTo>
                    <a:pt x="378" y="2042"/>
                  </a:lnTo>
                  <a:lnTo>
                    <a:pt x="369" y="2046"/>
                  </a:lnTo>
                  <a:lnTo>
                    <a:pt x="360" y="2050"/>
                  </a:lnTo>
                  <a:lnTo>
                    <a:pt x="351" y="2056"/>
                  </a:lnTo>
                  <a:lnTo>
                    <a:pt x="343" y="2062"/>
                  </a:lnTo>
                  <a:lnTo>
                    <a:pt x="337" y="2070"/>
                  </a:lnTo>
                  <a:lnTo>
                    <a:pt x="330" y="2078"/>
                  </a:lnTo>
                  <a:lnTo>
                    <a:pt x="325" y="2087"/>
                  </a:lnTo>
                  <a:lnTo>
                    <a:pt x="319" y="2097"/>
                  </a:lnTo>
                  <a:lnTo>
                    <a:pt x="316" y="2107"/>
                  </a:lnTo>
                  <a:lnTo>
                    <a:pt x="312" y="2118"/>
                  </a:lnTo>
                  <a:lnTo>
                    <a:pt x="310" y="2129"/>
                  </a:lnTo>
                  <a:lnTo>
                    <a:pt x="308" y="2141"/>
                  </a:lnTo>
                  <a:lnTo>
                    <a:pt x="308" y="2155"/>
                  </a:lnTo>
                  <a:lnTo>
                    <a:pt x="308" y="2155"/>
                  </a:lnTo>
                  <a:lnTo>
                    <a:pt x="308" y="2167"/>
                  </a:lnTo>
                  <a:lnTo>
                    <a:pt x="310" y="2179"/>
                  </a:lnTo>
                  <a:lnTo>
                    <a:pt x="312" y="2190"/>
                  </a:lnTo>
                  <a:lnTo>
                    <a:pt x="316" y="2201"/>
                  </a:lnTo>
                  <a:lnTo>
                    <a:pt x="319" y="2211"/>
                  </a:lnTo>
                  <a:lnTo>
                    <a:pt x="325" y="2221"/>
                  </a:lnTo>
                  <a:lnTo>
                    <a:pt x="330" y="2230"/>
                  </a:lnTo>
                  <a:lnTo>
                    <a:pt x="337" y="2238"/>
                  </a:lnTo>
                  <a:lnTo>
                    <a:pt x="343" y="2246"/>
                  </a:lnTo>
                  <a:lnTo>
                    <a:pt x="351" y="2252"/>
                  </a:lnTo>
                  <a:lnTo>
                    <a:pt x="360" y="2258"/>
                  </a:lnTo>
                  <a:lnTo>
                    <a:pt x="369" y="2262"/>
                  </a:lnTo>
                  <a:lnTo>
                    <a:pt x="378" y="2266"/>
                  </a:lnTo>
                  <a:lnTo>
                    <a:pt x="388" y="2269"/>
                  </a:lnTo>
                  <a:lnTo>
                    <a:pt x="399" y="2270"/>
                  </a:lnTo>
                  <a:lnTo>
                    <a:pt x="409" y="2271"/>
                  </a:lnTo>
                  <a:lnTo>
                    <a:pt x="409" y="2271"/>
                  </a:lnTo>
                  <a:lnTo>
                    <a:pt x="420" y="2270"/>
                  </a:lnTo>
                  <a:lnTo>
                    <a:pt x="431" y="2269"/>
                  </a:lnTo>
                  <a:lnTo>
                    <a:pt x="441" y="2266"/>
                  </a:lnTo>
                  <a:lnTo>
                    <a:pt x="450" y="2262"/>
                  </a:lnTo>
                  <a:lnTo>
                    <a:pt x="459" y="2258"/>
                  </a:lnTo>
                  <a:lnTo>
                    <a:pt x="468" y="2252"/>
                  </a:lnTo>
                  <a:lnTo>
                    <a:pt x="476" y="2246"/>
                  </a:lnTo>
                  <a:lnTo>
                    <a:pt x="482" y="2238"/>
                  </a:lnTo>
                  <a:lnTo>
                    <a:pt x="489" y="2230"/>
                  </a:lnTo>
                  <a:lnTo>
                    <a:pt x="495" y="2221"/>
                  </a:lnTo>
                  <a:lnTo>
                    <a:pt x="499" y="2211"/>
                  </a:lnTo>
                  <a:lnTo>
                    <a:pt x="504" y="2201"/>
                  </a:lnTo>
                  <a:lnTo>
                    <a:pt x="507" y="2190"/>
                  </a:lnTo>
                  <a:lnTo>
                    <a:pt x="509" y="2179"/>
                  </a:lnTo>
                  <a:lnTo>
                    <a:pt x="511" y="2167"/>
                  </a:lnTo>
                  <a:lnTo>
                    <a:pt x="511" y="2155"/>
                  </a:lnTo>
                  <a:lnTo>
                    <a:pt x="511" y="2155"/>
                  </a:lnTo>
                  <a:lnTo>
                    <a:pt x="511" y="2141"/>
                  </a:lnTo>
                  <a:lnTo>
                    <a:pt x="509" y="2129"/>
                  </a:lnTo>
                  <a:lnTo>
                    <a:pt x="507" y="2118"/>
                  </a:lnTo>
                  <a:lnTo>
                    <a:pt x="504" y="2107"/>
                  </a:lnTo>
                  <a:lnTo>
                    <a:pt x="499" y="2097"/>
                  </a:lnTo>
                  <a:lnTo>
                    <a:pt x="495" y="2087"/>
                  </a:lnTo>
                  <a:lnTo>
                    <a:pt x="489" y="2078"/>
                  </a:lnTo>
                  <a:lnTo>
                    <a:pt x="482" y="2070"/>
                  </a:lnTo>
                  <a:lnTo>
                    <a:pt x="476" y="2062"/>
                  </a:lnTo>
                  <a:lnTo>
                    <a:pt x="468" y="2056"/>
                  </a:lnTo>
                  <a:lnTo>
                    <a:pt x="459" y="2050"/>
                  </a:lnTo>
                  <a:lnTo>
                    <a:pt x="450" y="2046"/>
                  </a:lnTo>
                  <a:lnTo>
                    <a:pt x="441" y="2042"/>
                  </a:lnTo>
                  <a:lnTo>
                    <a:pt x="431" y="2039"/>
                  </a:lnTo>
                  <a:lnTo>
                    <a:pt x="420" y="2038"/>
                  </a:lnTo>
                  <a:lnTo>
                    <a:pt x="409" y="2037"/>
                  </a:lnTo>
                  <a:lnTo>
                    <a:pt x="409" y="2037"/>
                  </a:lnTo>
                  <a:close/>
                  <a:moveTo>
                    <a:pt x="409" y="2219"/>
                  </a:moveTo>
                  <a:lnTo>
                    <a:pt x="409" y="2219"/>
                  </a:lnTo>
                  <a:lnTo>
                    <a:pt x="399" y="2218"/>
                  </a:lnTo>
                  <a:lnTo>
                    <a:pt x="390" y="2215"/>
                  </a:lnTo>
                  <a:lnTo>
                    <a:pt x="383" y="2209"/>
                  </a:lnTo>
                  <a:lnTo>
                    <a:pt x="377" y="2201"/>
                  </a:lnTo>
                  <a:lnTo>
                    <a:pt x="371" y="2192"/>
                  </a:lnTo>
                  <a:lnTo>
                    <a:pt x="367" y="2181"/>
                  </a:lnTo>
                  <a:lnTo>
                    <a:pt x="365" y="2168"/>
                  </a:lnTo>
                  <a:lnTo>
                    <a:pt x="365" y="2155"/>
                  </a:lnTo>
                  <a:lnTo>
                    <a:pt x="365" y="2155"/>
                  </a:lnTo>
                  <a:lnTo>
                    <a:pt x="365" y="2140"/>
                  </a:lnTo>
                  <a:lnTo>
                    <a:pt x="367" y="2127"/>
                  </a:lnTo>
                  <a:lnTo>
                    <a:pt x="371" y="2117"/>
                  </a:lnTo>
                  <a:lnTo>
                    <a:pt x="377" y="2107"/>
                  </a:lnTo>
                  <a:lnTo>
                    <a:pt x="383" y="2099"/>
                  </a:lnTo>
                  <a:lnTo>
                    <a:pt x="390" y="2093"/>
                  </a:lnTo>
                  <a:lnTo>
                    <a:pt x="399" y="2090"/>
                  </a:lnTo>
                  <a:lnTo>
                    <a:pt x="409" y="2089"/>
                  </a:lnTo>
                  <a:lnTo>
                    <a:pt x="409" y="2089"/>
                  </a:lnTo>
                  <a:lnTo>
                    <a:pt x="419" y="2090"/>
                  </a:lnTo>
                  <a:lnTo>
                    <a:pt x="428" y="2093"/>
                  </a:lnTo>
                  <a:lnTo>
                    <a:pt x="436" y="2099"/>
                  </a:lnTo>
                  <a:lnTo>
                    <a:pt x="442" y="2107"/>
                  </a:lnTo>
                  <a:lnTo>
                    <a:pt x="448" y="2117"/>
                  </a:lnTo>
                  <a:lnTo>
                    <a:pt x="451" y="2127"/>
                  </a:lnTo>
                  <a:lnTo>
                    <a:pt x="453" y="2140"/>
                  </a:lnTo>
                  <a:lnTo>
                    <a:pt x="455" y="2155"/>
                  </a:lnTo>
                  <a:lnTo>
                    <a:pt x="455" y="2155"/>
                  </a:lnTo>
                  <a:lnTo>
                    <a:pt x="453" y="2168"/>
                  </a:lnTo>
                  <a:lnTo>
                    <a:pt x="451" y="2181"/>
                  </a:lnTo>
                  <a:lnTo>
                    <a:pt x="448" y="2192"/>
                  </a:lnTo>
                  <a:lnTo>
                    <a:pt x="442" y="2201"/>
                  </a:lnTo>
                  <a:lnTo>
                    <a:pt x="436" y="2209"/>
                  </a:lnTo>
                  <a:lnTo>
                    <a:pt x="428" y="2215"/>
                  </a:lnTo>
                  <a:lnTo>
                    <a:pt x="419" y="2218"/>
                  </a:lnTo>
                  <a:lnTo>
                    <a:pt x="409" y="2219"/>
                  </a:lnTo>
                  <a:lnTo>
                    <a:pt x="409" y="2219"/>
                  </a:lnTo>
                  <a:close/>
                  <a:moveTo>
                    <a:pt x="2285" y="2105"/>
                  </a:moveTo>
                  <a:lnTo>
                    <a:pt x="2285" y="2105"/>
                  </a:lnTo>
                  <a:lnTo>
                    <a:pt x="2276" y="2100"/>
                  </a:lnTo>
                  <a:lnTo>
                    <a:pt x="2267" y="2096"/>
                  </a:lnTo>
                  <a:lnTo>
                    <a:pt x="2257" y="2093"/>
                  </a:lnTo>
                  <a:lnTo>
                    <a:pt x="2249" y="2092"/>
                  </a:lnTo>
                  <a:lnTo>
                    <a:pt x="2249" y="2092"/>
                  </a:lnTo>
                  <a:lnTo>
                    <a:pt x="2239" y="2093"/>
                  </a:lnTo>
                  <a:lnTo>
                    <a:pt x="2231" y="2096"/>
                  </a:lnTo>
                  <a:lnTo>
                    <a:pt x="2224" y="2100"/>
                  </a:lnTo>
                  <a:lnTo>
                    <a:pt x="2219" y="2106"/>
                  </a:lnTo>
                  <a:lnTo>
                    <a:pt x="2214" y="2112"/>
                  </a:lnTo>
                  <a:lnTo>
                    <a:pt x="2211" y="2121"/>
                  </a:lnTo>
                  <a:lnTo>
                    <a:pt x="2209" y="2132"/>
                  </a:lnTo>
                  <a:lnTo>
                    <a:pt x="2209" y="2145"/>
                  </a:lnTo>
                  <a:lnTo>
                    <a:pt x="2209" y="2266"/>
                  </a:lnTo>
                  <a:lnTo>
                    <a:pt x="2153" y="2266"/>
                  </a:lnTo>
                  <a:lnTo>
                    <a:pt x="2153" y="2042"/>
                  </a:lnTo>
                  <a:lnTo>
                    <a:pt x="2209" y="2042"/>
                  </a:lnTo>
                  <a:lnTo>
                    <a:pt x="2209" y="2061"/>
                  </a:lnTo>
                  <a:lnTo>
                    <a:pt x="2209" y="2061"/>
                  </a:lnTo>
                  <a:lnTo>
                    <a:pt x="2213" y="2056"/>
                  </a:lnTo>
                  <a:lnTo>
                    <a:pt x="2219" y="2050"/>
                  </a:lnTo>
                  <a:lnTo>
                    <a:pt x="2224" y="2047"/>
                  </a:lnTo>
                  <a:lnTo>
                    <a:pt x="2231" y="2043"/>
                  </a:lnTo>
                  <a:lnTo>
                    <a:pt x="2237" y="2040"/>
                  </a:lnTo>
                  <a:lnTo>
                    <a:pt x="2244" y="2039"/>
                  </a:lnTo>
                  <a:lnTo>
                    <a:pt x="2251" y="2038"/>
                  </a:lnTo>
                  <a:lnTo>
                    <a:pt x="2257" y="2037"/>
                  </a:lnTo>
                  <a:lnTo>
                    <a:pt x="2257" y="2037"/>
                  </a:lnTo>
                  <a:lnTo>
                    <a:pt x="2269" y="2038"/>
                  </a:lnTo>
                  <a:lnTo>
                    <a:pt x="2280" y="2041"/>
                  </a:lnTo>
                  <a:lnTo>
                    <a:pt x="2291" y="2046"/>
                  </a:lnTo>
                  <a:lnTo>
                    <a:pt x="2300" y="2051"/>
                  </a:lnTo>
                  <a:lnTo>
                    <a:pt x="2285" y="2105"/>
                  </a:lnTo>
                  <a:close/>
                  <a:moveTo>
                    <a:pt x="1850" y="2042"/>
                  </a:moveTo>
                  <a:lnTo>
                    <a:pt x="1904" y="2042"/>
                  </a:lnTo>
                  <a:lnTo>
                    <a:pt x="1841" y="2266"/>
                  </a:lnTo>
                  <a:lnTo>
                    <a:pt x="1793" y="2266"/>
                  </a:lnTo>
                  <a:lnTo>
                    <a:pt x="1768" y="2174"/>
                  </a:lnTo>
                  <a:lnTo>
                    <a:pt x="1768" y="2174"/>
                  </a:lnTo>
                  <a:lnTo>
                    <a:pt x="1756" y="2125"/>
                  </a:lnTo>
                  <a:lnTo>
                    <a:pt x="1756" y="2125"/>
                  </a:lnTo>
                  <a:lnTo>
                    <a:pt x="1751" y="2148"/>
                  </a:lnTo>
                  <a:lnTo>
                    <a:pt x="1744" y="2175"/>
                  </a:lnTo>
                  <a:lnTo>
                    <a:pt x="1720" y="2266"/>
                  </a:lnTo>
                  <a:lnTo>
                    <a:pt x="1672" y="2266"/>
                  </a:lnTo>
                  <a:lnTo>
                    <a:pt x="1671" y="2265"/>
                  </a:lnTo>
                  <a:lnTo>
                    <a:pt x="1608" y="2042"/>
                  </a:lnTo>
                  <a:lnTo>
                    <a:pt x="1665" y="2042"/>
                  </a:lnTo>
                  <a:lnTo>
                    <a:pt x="1686" y="2126"/>
                  </a:lnTo>
                  <a:lnTo>
                    <a:pt x="1686" y="2126"/>
                  </a:lnTo>
                  <a:lnTo>
                    <a:pt x="1692" y="2152"/>
                  </a:lnTo>
                  <a:lnTo>
                    <a:pt x="1697" y="2180"/>
                  </a:lnTo>
                  <a:lnTo>
                    <a:pt x="1697" y="2180"/>
                  </a:lnTo>
                  <a:lnTo>
                    <a:pt x="1703" y="2152"/>
                  </a:lnTo>
                  <a:lnTo>
                    <a:pt x="1711" y="2125"/>
                  </a:lnTo>
                  <a:lnTo>
                    <a:pt x="1734" y="2042"/>
                  </a:lnTo>
                  <a:lnTo>
                    <a:pt x="1781" y="2042"/>
                  </a:lnTo>
                  <a:lnTo>
                    <a:pt x="1804" y="2125"/>
                  </a:lnTo>
                  <a:lnTo>
                    <a:pt x="1804" y="2125"/>
                  </a:lnTo>
                  <a:lnTo>
                    <a:pt x="1811" y="2151"/>
                  </a:lnTo>
                  <a:lnTo>
                    <a:pt x="1817" y="2181"/>
                  </a:lnTo>
                  <a:lnTo>
                    <a:pt x="1817" y="2181"/>
                  </a:lnTo>
                  <a:lnTo>
                    <a:pt x="1823" y="2156"/>
                  </a:lnTo>
                  <a:lnTo>
                    <a:pt x="1830" y="2125"/>
                  </a:lnTo>
                  <a:lnTo>
                    <a:pt x="1850" y="2042"/>
                  </a:lnTo>
                  <a:close/>
                  <a:moveTo>
                    <a:pt x="2016" y="2037"/>
                  </a:moveTo>
                  <a:lnTo>
                    <a:pt x="2016" y="2037"/>
                  </a:lnTo>
                  <a:lnTo>
                    <a:pt x="2006" y="2038"/>
                  </a:lnTo>
                  <a:lnTo>
                    <a:pt x="1995" y="2039"/>
                  </a:lnTo>
                  <a:lnTo>
                    <a:pt x="1985" y="2042"/>
                  </a:lnTo>
                  <a:lnTo>
                    <a:pt x="1976" y="2046"/>
                  </a:lnTo>
                  <a:lnTo>
                    <a:pt x="1967" y="2050"/>
                  </a:lnTo>
                  <a:lnTo>
                    <a:pt x="1958" y="2057"/>
                  </a:lnTo>
                  <a:lnTo>
                    <a:pt x="1951" y="2062"/>
                  </a:lnTo>
                  <a:lnTo>
                    <a:pt x="1944" y="2070"/>
                  </a:lnTo>
                  <a:lnTo>
                    <a:pt x="1937" y="2078"/>
                  </a:lnTo>
                  <a:lnTo>
                    <a:pt x="1932" y="2087"/>
                  </a:lnTo>
                  <a:lnTo>
                    <a:pt x="1926" y="2097"/>
                  </a:lnTo>
                  <a:lnTo>
                    <a:pt x="1923" y="2107"/>
                  </a:lnTo>
                  <a:lnTo>
                    <a:pt x="1920" y="2118"/>
                  </a:lnTo>
                  <a:lnTo>
                    <a:pt x="1916" y="2130"/>
                  </a:lnTo>
                  <a:lnTo>
                    <a:pt x="1915" y="2141"/>
                  </a:lnTo>
                  <a:lnTo>
                    <a:pt x="1915" y="2155"/>
                  </a:lnTo>
                  <a:lnTo>
                    <a:pt x="1915" y="2155"/>
                  </a:lnTo>
                  <a:lnTo>
                    <a:pt x="1915" y="2167"/>
                  </a:lnTo>
                  <a:lnTo>
                    <a:pt x="1916" y="2179"/>
                  </a:lnTo>
                  <a:lnTo>
                    <a:pt x="1920" y="2190"/>
                  </a:lnTo>
                  <a:lnTo>
                    <a:pt x="1923" y="2201"/>
                  </a:lnTo>
                  <a:lnTo>
                    <a:pt x="1926" y="2211"/>
                  </a:lnTo>
                  <a:lnTo>
                    <a:pt x="1932" y="2221"/>
                  </a:lnTo>
                  <a:lnTo>
                    <a:pt x="1937" y="2230"/>
                  </a:lnTo>
                  <a:lnTo>
                    <a:pt x="1944" y="2238"/>
                  </a:lnTo>
                  <a:lnTo>
                    <a:pt x="1951" y="2246"/>
                  </a:lnTo>
                  <a:lnTo>
                    <a:pt x="1958" y="2252"/>
                  </a:lnTo>
                  <a:lnTo>
                    <a:pt x="1967" y="2258"/>
                  </a:lnTo>
                  <a:lnTo>
                    <a:pt x="1976" y="2262"/>
                  </a:lnTo>
                  <a:lnTo>
                    <a:pt x="1985" y="2266"/>
                  </a:lnTo>
                  <a:lnTo>
                    <a:pt x="1995" y="2269"/>
                  </a:lnTo>
                  <a:lnTo>
                    <a:pt x="2006" y="2270"/>
                  </a:lnTo>
                  <a:lnTo>
                    <a:pt x="2016" y="2271"/>
                  </a:lnTo>
                  <a:lnTo>
                    <a:pt x="2016" y="2271"/>
                  </a:lnTo>
                  <a:lnTo>
                    <a:pt x="2027" y="2270"/>
                  </a:lnTo>
                  <a:lnTo>
                    <a:pt x="2039" y="2269"/>
                  </a:lnTo>
                  <a:lnTo>
                    <a:pt x="2049" y="2266"/>
                  </a:lnTo>
                  <a:lnTo>
                    <a:pt x="2057" y="2262"/>
                  </a:lnTo>
                  <a:lnTo>
                    <a:pt x="2066" y="2258"/>
                  </a:lnTo>
                  <a:lnTo>
                    <a:pt x="2075" y="2252"/>
                  </a:lnTo>
                  <a:lnTo>
                    <a:pt x="2083" y="2246"/>
                  </a:lnTo>
                  <a:lnTo>
                    <a:pt x="2090" y="2238"/>
                  </a:lnTo>
                  <a:lnTo>
                    <a:pt x="2096" y="2230"/>
                  </a:lnTo>
                  <a:lnTo>
                    <a:pt x="2102" y="2221"/>
                  </a:lnTo>
                  <a:lnTo>
                    <a:pt x="2106" y="2211"/>
                  </a:lnTo>
                  <a:lnTo>
                    <a:pt x="2111" y="2201"/>
                  </a:lnTo>
                  <a:lnTo>
                    <a:pt x="2114" y="2190"/>
                  </a:lnTo>
                  <a:lnTo>
                    <a:pt x="2116" y="2179"/>
                  </a:lnTo>
                  <a:lnTo>
                    <a:pt x="2119" y="2167"/>
                  </a:lnTo>
                  <a:lnTo>
                    <a:pt x="2119" y="2155"/>
                  </a:lnTo>
                  <a:lnTo>
                    <a:pt x="2119" y="2155"/>
                  </a:lnTo>
                  <a:lnTo>
                    <a:pt x="2119" y="2141"/>
                  </a:lnTo>
                  <a:lnTo>
                    <a:pt x="2116" y="2130"/>
                  </a:lnTo>
                  <a:lnTo>
                    <a:pt x="2114" y="2118"/>
                  </a:lnTo>
                  <a:lnTo>
                    <a:pt x="2111" y="2107"/>
                  </a:lnTo>
                  <a:lnTo>
                    <a:pt x="2106" y="2097"/>
                  </a:lnTo>
                  <a:lnTo>
                    <a:pt x="2102" y="2087"/>
                  </a:lnTo>
                  <a:lnTo>
                    <a:pt x="2096" y="2078"/>
                  </a:lnTo>
                  <a:lnTo>
                    <a:pt x="2090" y="2070"/>
                  </a:lnTo>
                  <a:lnTo>
                    <a:pt x="2083" y="2062"/>
                  </a:lnTo>
                  <a:lnTo>
                    <a:pt x="2075" y="2057"/>
                  </a:lnTo>
                  <a:lnTo>
                    <a:pt x="2066" y="2050"/>
                  </a:lnTo>
                  <a:lnTo>
                    <a:pt x="2057" y="2046"/>
                  </a:lnTo>
                  <a:lnTo>
                    <a:pt x="2049" y="2042"/>
                  </a:lnTo>
                  <a:lnTo>
                    <a:pt x="2039" y="2039"/>
                  </a:lnTo>
                  <a:lnTo>
                    <a:pt x="2027" y="2038"/>
                  </a:lnTo>
                  <a:lnTo>
                    <a:pt x="2016" y="2037"/>
                  </a:lnTo>
                  <a:lnTo>
                    <a:pt x="2016" y="2037"/>
                  </a:lnTo>
                  <a:close/>
                  <a:moveTo>
                    <a:pt x="2016" y="2219"/>
                  </a:moveTo>
                  <a:lnTo>
                    <a:pt x="2016" y="2219"/>
                  </a:lnTo>
                  <a:lnTo>
                    <a:pt x="2006" y="2218"/>
                  </a:lnTo>
                  <a:lnTo>
                    <a:pt x="1998" y="2215"/>
                  </a:lnTo>
                  <a:lnTo>
                    <a:pt x="1991" y="2209"/>
                  </a:lnTo>
                  <a:lnTo>
                    <a:pt x="1984" y="2201"/>
                  </a:lnTo>
                  <a:lnTo>
                    <a:pt x="1978" y="2192"/>
                  </a:lnTo>
                  <a:lnTo>
                    <a:pt x="1974" y="2181"/>
                  </a:lnTo>
                  <a:lnTo>
                    <a:pt x="1972" y="2168"/>
                  </a:lnTo>
                  <a:lnTo>
                    <a:pt x="1972" y="2155"/>
                  </a:lnTo>
                  <a:lnTo>
                    <a:pt x="1972" y="2155"/>
                  </a:lnTo>
                  <a:lnTo>
                    <a:pt x="1972" y="2140"/>
                  </a:lnTo>
                  <a:lnTo>
                    <a:pt x="1974" y="2128"/>
                  </a:lnTo>
                  <a:lnTo>
                    <a:pt x="1978" y="2117"/>
                  </a:lnTo>
                  <a:lnTo>
                    <a:pt x="1984" y="2107"/>
                  </a:lnTo>
                  <a:lnTo>
                    <a:pt x="1991" y="2099"/>
                  </a:lnTo>
                  <a:lnTo>
                    <a:pt x="1998" y="2093"/>
                  </a:lnTo>
                  <a:lnTo>
                    <a:pt x="2006" y="2090"/>
                  </a:lnTo>
                  <a:lnTo>
                    <a:pt x="2016" y="2089"/>
                  </a:lnTo>
                  <a:lnTo>
                    <a:pt x="2016" y="2089"/>
                  </a:lnTo>
                  <a:lnTo>
                    <a:pt x="2026" y="2090"/>
                  </a:lnTo>
                  <a:lnTo>
                    <a:pt x="2035" y="2093"/>
                  </a:lnTo>
                  <a:lnTo>
                    <a:pt x="2043" y="2099"/>
                  </a:lnTo>
                  <a:lnTo>
                    <a:pt x="2050" y="2107"/>
                  </a:lnTo>
                  <a:lnTo>
                    <a:pt x="2055" y="2117"/>
                  </a:lnTo>
                  <a:lnTo>
                    <a:pt x="2059" y="2128"/>
                  </a:lnTo>
                  <a:lnTo>
                    <a:pt x="2061" y="2140"/>
                  </a:lnTo>
                  <a:lnTo>
                    <a:pt x="2062" y="2155"/>
                  </a:lnTo>
                  <a:lnTo>
                    <a:pt x="2062" y="2155"/>
                  </a:lnTo>
                  <a:lnTo>
                    <a:pt x="2061" y="2168"/>
                  </a:lnTo>
                  <a:lnTo>
                    <a:pt x="2059" y="2181"/>
                  </a:lnTo>
                  <a:lnTo>
                    <a:pt x="2055" y="2192"/>
                  </a:lnTo>
                  <a:lnTo>
                    <a:pt x="2050" y="2201"/>
                  </a:lnTo>
                  <a:lnTo>
                    <a:pt x="2043" y="2209"/>
                  </a:lnTo>
                  <a:lnTo>
                    <a:pt x="2035" y="2215"/>
                  </a:lnTo>
                  <a:lnTo>
                    <a:pt x="2026" y="2218"/>
                  </a:lnTo>
                  <a:lnTo>
                    <a:pt x="2016" y="2219"/>
                  </a:lnTo>
                  <a:lnTo>
                    <a:pt x="2016" y="2219"/>
                  </a:lnTo>
                  <a:close/>
                  <a:moveTo>
                    <a:pt x="843" y="2116"/>
                  </a:moveTo>
                  <a:lnTo>
                    <a:pt x="910" y="2266"/>
                  </a:lnTo>
                  <a:lnTo>
                    <a:pt x="849" y="2266"/>
                  </a:lnTo>
                  <a:lnTo>
                    <a:pt x="803" y="2162"/>
                  </a:lnTo>
                  <a:lnTo>
                    <a:pt x="772" y="2199"/>
                  </a:lnTo>
                  <a:lnTo>
                    <a:pt x="772" y="2266"/>
                  </a:lnTo>
                  <a:lnTo>
                    <a:pt x="718" y="2266"/>
                  </a:lnTo>
                  <a:lnTo>
                    <a:pt x="718" y="1977"/>
                  </a:lnTo>
                  <a:lnTo>
                    <a:pt x="772" y="1949"/>
                  </a:lnTo>
                  <a:lnTo>
                    <a:pt x="772" y="2128"/>
                  </a:lnTo>
                  <a:lnTo>
                    <a:pt x="772" y="2128"/>
                  </a:lnTo>
                  <a:lnTo>
                    <a:pt x="794" y="2099"/>
                  </a:lnTo>
                  <a:lnTo>
                    <a:pt x="838" y="2042"/>
                  </a:lnTo>
                  <a:lnTo>
                    <a:pt x="903" y="2042"/>
                  </a:lnTo>
                  <a:lnTo>
                    <a:pt x="843" y="2116"/>
                  </a:lnTo>
                  <a:close/>
                  <a:moveTo>
                    <a:pt x="1105" y="2266"/>
                  </a:moveTo>
                  <a:lnTo>
                    <a:pt x="1049" y="2266"/>
                  </a:lnTo>
                  <a:lnTo>
                    <a:pt x="1049" y="2042"/>
                  </a:lnTo>
                  <a:lnTo>
                    <a:pt x="1105" y="2042"/>
                  </a:lnTo>
                  <a:lnTo>
                    <a:pt x="1105" y="2061"/>
                  </a:lnTo>
                  <a:lnTo>
                    <a:pt x="1105" y="2061"/>
                  </a:lnTo>
                  <a:lnTo>
                    <a:pt x="1110" y="2056"/>
                  </a:lnTo>
                  <a:lnTo>
                    <a:pt x="1116" y="2051"/>
                  </a:lnTo>
                  <a:lnTo>
                    <a:pt x="1123" y="2047"/>
                  </a:lnTo>
                  <a:lnTo>
                    <a:pt x="1129" y="2043"/>
                  </a:lnTo>
                  <a:lnTo>
                    <a:pt x="1137" y="2041"/>
                  </a:lnTo>
                  <a:lnTo>
                    <a:pt x="1145" y="2039"/>
                  </a:lnTo>
                  <a:lnTo>
                    <a:pt x="1153" y="2038"/>
                  </a:lnTo>
                  <a:lnTo>
                    <a:pt x="1162" y="2037"/>
                  </a:lnTo>
                  <a:lnTo>
                    <a:pt x="1162" y="2037"/>
                  </a:lnTo>
                  <a:lnTo>
                    <a:pt x="1172" y="2038"/>
                  </a:lnTo>
                  <a:lnTo>
                    <a:pt x="1180" y="2039"/>
                  </a:lnTo>
                  <a:lnTo>
                    <a:pt x="1188" y="2041"/>
                  </a:lnTo>
                  <a:lnTo>
                    <a:pt x="1197" y="2043"/>
                  </a:lnTo>
                  <a:lnTo>
                    <a:pt x="1204" y="2048"/>
                  </a:lnTo>
                  <a:lnTo>
                    <a:pt x="1210" y="2052"/>
                  </a:lnTo>
                  <a:lnTo>
                    <a:pt x="1217" y="2057"/>
                  </a:lnTo>
                  <a:lnTo>
                    <a:pt x="1223" y="2063"/>
                  </a:lnTo>
                  <a:lnTo>
                    <a:pt x="1227" y="2070"/>
                  </a:lnTo>
                  <a:lnTo>
                    <a:pt x="1232" y="2078"/>
                  </a:lnTo>
                  <a:lnTo>
                    <a:pt x="1235" y="2086"/>
                  </a:lnTo>
                  <a:lnTo>
                    <a:pt x="1238" y="2096"/>
                  </a:lnTo>
                  <a:lnTo>
                    <a:pt x="1240" y="2106"/>
                  </a:lnTo>
                  <a:lnTo>
                    <a:pt x="1242" y="2116"/>
                  </a:lnTo>
                  <a:lnTo>
                    <a:pt x="1243" y="2127"/>
                  </a:lnTo>
                  <a:lnTo>
                    <a:pt x="1244" y="2139"/>
                  </a:lnTo>
                  <a:lnTo>
                    <a:pt x="1244" y="2266"/>
                  </a:lnTo>
                  <a:lnTo>
                    <a:pt x="1188" y="2266"/>
                  </a:lnTo>
                  <a:lnTo>
                    <a:pt x="1188" y="2142"/>
                  </a:lnTo>
                  <a:lnTo>
                    <a:pt x="1188" y="2142"/>
                  </a:lnTo>
                  <a:lnTo>
                    <a:pt x="1187" y="2130"/>
                  </a:lnTo>
                  <a:lnTo>
                    <a:pt x="1186" y="2118"/>
                  </a:lnTo>
                  <a:lnTo>
                    <a:pt x="1183" y="2109"/>
                  </a:lnTo>
                  <a:lnTo>
                    <a:pt x="1178" y="2101"/>
                  </a:lnTo>
                  <a:lnTo>
                    <a:pt x="1173" y="2096"/>
                  </a:lnTo>
                  <a:lnTo>
                    <a:pt x="1166" y="2091"/>
                  </a:lnTo>
                  <a:lnTo>
                    <a:pt x="1157" y="2089"/>
                  </a:lnTo>
                  <a:lnTo>
                    <a:pt x="1147" y="2088"/>
                  </a:lnTo>
                  <a:lnTo>
                    <a:pt x="1147" y="2088"/>
                  </a:lnTo>
                  <a:lnTo>
                    <a:pt x="1138" y="2089"/>
                  </a:lnTo>
                  <a:lnTo>
                    <a:pt x="1129" y="2091"/>
                  </a:lnTo>
                  <a:lnTo>
                    <a:pt x="1122" y="2096"/>
                  </a:lnTo>
                  <a:lnTo>
                    <a:pt x="1116" y="2102"/>
                  </a:lnTo>
                  <a:lnTo>
                    <a:pt x="1112" y="2109"/>
                  </a:lnTo>
                  <a:lnTo>
                    <a:pt x="1108" y="2119"/>
                  </a:lnTo>
                  <a:lnTo>
                    <a:pt x="1106" y="2130"/>
                  </a:lnTo>
                  <a:lnTo>
                    <a:pt x="1105" y="2142"/>
                  </a:lnTo>
                  <a:lnTo>
                    <a:pt x="1105" y="2266"/>
                  </a:lnTo>
                  <a:close/>
                  <a:moveTo>
                    <a:pt x="1418" y="2058"/>
                  </a:moveTo>
                  <a:lnTo>
                    <a:pt x="1418" y="2058"/>
                  </a:lnTo>
                  <a:lnTo>
                    <a:pt x="1413" y="2053"/>
                  </a:lnTo>
                  <a:lnTo>
                    <a:pt x="1407" y="2049"/>
                  </a:lnTo>
                  <a:lnTo>
                    <a:pt x="1402" y="2046"/>
                  </a:lnTo>
                  <a:lnTo>
                    <a:pt x="1395" y="2042"/>
                  </a:lnTo>
                  <a:lnTo>
                    <a:pt x="1388" y="2040"/>
                  </a:lnTo>
                  <a:lnTo>
                    <a:pt x="1382" y="2039"/>
                  </a:lnTo>
                  <a:lnTo>
                    <a:pt x="1375" y="2038"/>
                  </a:lnTo>
                  <a:lnTo>
                    <a:pt x="1368" y="2037"/>
                  </a:lnTo>
                  <a:lnTo>
                    <a:pt x="1368" y="2037"/>
                  </a:lnTo>
                  <a:lnTo>
                    <a:pt x="1358" y="2038"/>
                  </a:lnTo>
                  <a:lnTo>
                    <a:pt x="1349" y="2039"/>
                  </a:lnTo>
                  <a:lnTo>
                    <a:pt x="1340" y="2041"/>
                  </a:lnTo>
                  <a:lnTo>
                    <a:pt x="1332" y="2046"/>
                  </a:lnTo>
                  <a:lnTo>
                    <a:pt x="1324" y="2049"/>
                  </a:lnTo>
                  <a:lnTo>
                    <a:pt x="1317" y="2055"/>
                  </a:lnTo>
                  <a:lnTo>
                    <a:pt x="1310" y="2061"/>
                  </a:lnTo>
                  <a:lnTo>
                    <a:pt x="1304" y="2068"/>
                  </a:lnTo>
                  <a:lnTo>
                    <a:pt x="1298" y="2076"/>
                  </a:lnTo>
                  <a:lnTo>
                    <a:pt x="1294" y="2085"/>
                  </a:lnTo>
                  <a:lnTo>
                    <a:pt x="1289" y="2093"/>
                  </a:lnTo>
                  <a:lnTo>
                    <a:pt x="1286" y="2105"/>
                  </a:lnTo>
                  <a:lnTo>
                    <a:pt x="1284" y="2115"/>
                  </a:lnTo>
                  <a:lnTo>
                    <a:pt x="1282" y="2127"/>
                  </a:lnTo>
                  <a:lnTo>
                    <a:pt x="1280" y="2139"/>
                  </a:lnTo>
                  <a:lnTo>
                    <a:pt x="1280" y="2151"/>
                  </a:lnTo>
                  <a:lnTo>
                    <a:pt x="1280" y="2151"/>
                  </a:lnTo>
                  <a:lnTo>
                    <a:pt x="1280" y="2166"/>
                  </a:lnTo>
                  <a:lnTo>
                    <a:pt x="1282" y="2178"/>
                  </a:lnTo>
                  <a:lnTo>
                    <a:pt x="1284" y="2190"/>
                  </a:lnTo>
                  <a:lnTo>
                    <a:pt x="1286" y="2202"/>
                  </a:lnTo>
                  <a:lnTo>
                    <a:pt x="1289" y="2212"/>
                  </a:lnTo>
                  <a:lnTo>
                    <a:pt x="1294" y="2222"/>
                  </a:lnTo>
                  <a:lnTo>
                    <a:pt x="1298" y="2231"/>
                  </a:lnTo>
                  <a:lnTo>
                    <a:pt x="1304" y="2239"/>
                  </a:lnTo>
                  <a:lnTo>
                    <a:pt x="1309" y="2247"/>
                  </a:lnTo>
                  <a:lnTo>
                    <a:pt x="1316" y="2252"/>
                  </a:lnTo>
                  <a:lnTo>
                    <a:pt x="1323" y="2258"/>
                  </a:lnTo>
                  <a:lnTo>
                    <a:pt x="1330" y="2262"/>
                  </a:lnTo>
                  <a:lnTo>
                    <a:pt x="1339" y="2266"/>
                  </a:lnTo>
                  <a:lnTo>
                    <a:pt x="1348" y="2269"/>
                  </a:lnTo>
                  <a:lnTo>
                    <a:pt x="1357" y="2270"/>
                  </a:lnTo>
                  <a:lnTo>
                    <a:pt x="1367" y="2271"/>
                  </a:lnTo>
                  <a:lnTo>
                    <a:pt x="1367" y="2271"/>
                  </a:lnTo>
                  <a:lnTo>
                    <a:pt x="1374" y="2270"/>
                  </a:lnTo>
                  <a:lnTo>
                    <a:pt x="1382" y="2269"/>
                  </a:lnTo>
                  <a:lnTo>
                    <a:pt x="1388" y="2268"/>
                  </a:lnTo>
                  <a:lnTo>
                    <a:pt x="1395" y="2266"/>
                  </a:lnTo>
                  <a:lnTo>
                    <a:pt x="1401" y="2262"/>
                  </a:lnTo>
                  <a:lnTo>
                    <a:pt x="1407" y="2259"/>
                  </a:lnTo>
                  <a:lnTo>
                    <a:pt x="1413" y="2255"/>
                  </a:lnTo>
                  <a:lnTo>
                    <a:pt x="1418" y="2249"/>
                  </a:lnTo>
                  <a:lnTo>
                    <a:pt x="1418" y="2255"/>
                  </a:lnTo>
                  <a:lnTo>
                    <a:pt x="1418" y="2255"/>
                  </a:lnTo>
                  <a:lnTo>
                    <a:pt x="1418" y="2264"/>
                  </a:lnTo>
                  <a:lnTo>
                    <a:pt x="1417" y="2274"/>
                  </a:lnTo>
                  <a:lnTo>
                    <a:pt x="1414" y="2284"/>
                  </a:lnTo>
                  <a:lnTo>
                    <a:pt x="1412" y="2288"/>
                  </a:lnTo>
                  <a:lnTo>
                    <a:pt x="1409" y="2293"/>
                  </a:lnTo>
                  <a:lnTo>
                    <a:pt x="1405" y="2297"/>
                  </a:lnTo>
                  <a:lnTo>
                    <a:pt x="1401" y="2301"/>
                  </a:lnTo>
                  <a:lnTo>
                    <a:pt x="1395" y="2305"/>
                  </a:lnTo>
                  <a:lnTo>
                    <a:pt x="1388" y="2308"/>
                  </a:lnTo>
                  <a:lnTo>
                    <a:pt x="1379" y="2310"/>
                  </a:lnTo>
                  <a:lnTo>
                    <a:pt x="1370" y="2313"/>
                  </a:lnTo>
                  <a:lnTo>
                    <a:pt x="1359" y="2314"/>
                  </a:lnTo>
                  <a:lnTo>
                    <a:pt x="1346" y="2314"/>
                  </a:lnTo>
                  <a:lnTo>
                    <a:pt x="1344" y="2314"/>
                  </a:lnTo>
                  <a:lnTo>
                    <a:pt x="1364" y="2357"/>
                  </a:lnTo>
                  <a:lnTo>
                    <a:pt x="1365" y="2357"/>
                  </a:lnTo>
                  <a:lnTo>
                    <a:pt x="1365" y="2357"/>
                  </a:lnTo>
                  <a:lnTo>
                    <a:pt x="1378" y="2357"/>
                  </a:lnTo>
                  <a:lnTo>
                    <a:pt x="1390" y="2356"/>
                  </a:lnTo>
                  <a:lnTo>
                    <a:pt x="1402" y="2353"/>
                  </a:lnTo>
                  <a:lnTo>
                    <a:pt x="1413" y="2350"/>
                  </a:lnTo>
                  <a:lnTo>
                    <a:pt x="1423" y="2346"/>
                  </a:lnTo>
                  <a:lnTo>
                    <a:pt x="1432" y="2341"/>
                  </a:lnTo>
                  <a:lnTo>
                    <a:pt x="1439" y="2336"/>
                  </a:lnTo>
                  <a:lnTo>
                    <a:pt x="1446" y="2329"/>
                  </a:lnTo>
                  <a:lnTo>
                    <a:pt x="1453" y="2321"/>
                  </a:lnTo>
                  <a:lnTo>
                    <a:pt x="1458" y="2314"/>
                  </a:lnTo>
                  <a:lnTo>
                    <a:pt x="1463" y="2304"/>
                  </a:lnTo>
                  <a:lnTo>
                    <a:pt x="1466" y="2294"/>
                  </a:lnTo>
                  <a:lnTo>
                    <a:pt x="1469" y="2284"/>
                  </a:lnTo>
                  <a:lnTo>
                    <a:pt x="1472" y="2271"/>
                  </a:lnTo>
                  <a:lnTo>
                    <a:pt x="1473" y="2259"/>
                  </a:lnTo>
                  <a:lnTo>
                    <a:pt x="1473" y="2246"/>
                  </a:lnTo>
                  <a:lnTo>
                    <a:pt x="1473" y="2042"/>
                  </a:lnTo>
                  <a:lnTo>
                    <a:pt x="1418" y="2042"/>
                  </a:lnTo>
                  <a:lnTo>
                    <a:pt x="1418" y="2058"/>
                  </a:lnTo>
                  <a:close/>
                  <a:moveTo>
                    <a:pt x="1418" y="2110"/>
                  </a:moveTo>
                  <a:lnTo>
                    <a:pt x="1418" y="2198"/>
                  </a:lnTo>
                  <a:lnTo>
                    <a:pt x="1418" y="2198"/>
                  </a:lnTo>
                  <a:lnTo>
                    <a:pt x="1411" y="2206"/>
                  </a:lnTo>
                  <a:lnTo>
                    <a:pt x="1403" y="2214"/>
                  </a:lnTo>
                  <a:lnTo>
                    <a:pt x="1397" y="2216"/>
                  </a:lnTo>
                  <a:lnTo>
                    <a:pt x="1392" y="2218"/>
                  </a:lnTo>
                  <a:lnTo>
                    <a:pt x="1386" y="2219"/>
                  </a:lnTo>
                  <a:lnTo>
                    <a:pt x="1378" y="2220"/>
                  </a:lnTo>
                  <a:lnTo>
                    <a:pt x="1378" y="2220"/>
                  </a:lnTo>
                  <a:lnTo>
                    <a:pt x="1372" y="2219"/>
                  </a:lnTo>
                  <a:lnTo>
                    <a:pt x="1364" y="2217"/>
                  </a:lnTo>
                  <a:lnTo>
                    <a:pt x="1357" y="2214"/>
                  </a:lnTo>
                  <a:lnTo>
                    <a:pt x="1350" y="2207"/>
                  </a:lnTo>
                  <a:lnTo>
                    <a:pt x="1345" y="2198"/>
                  </a:lnTo>
                  <a:lnTo>
                    <a:pt x="1340" y="2186"/>
                  </a:lnTo>
                  <a:lnTo>
                    <a:pt x="1338" y="2170"/>
                  </a:lnTo>
                  <a:lnTo>
                    <a:pt x="1337" y="2150"/>
                  </a:lnTo>
                  <a:lnTo>
                    <a:pt x="1337" y="2150"/>
                  </a:lnTo>
                  <a:lnTo>
                    <a:pt x="1338" y="2133"/>
                  </a:lnTo>
                  <a:lnTo>
                    <a:pt x="1340" y="2119"/>
                  </a:lnTo>
                  <a:lnTo>
                    <a:pt x="1345" y="2108"/>
                  </a:lnTo>
                  <a:lnTo>
                    <a:pt x="1350" y="2100"/>
                  </a:lnTo>
                  <a:lnTo>
                    <a:pt x="1357" y="2095"/>
                  </a:lnTo>
                  <a:lnTo>
                    <a:pt x="1364" y="2090"/>
                  </a:lnTo>
                  <a:lnTo>
                    <a:pt x="1372" y="2089"/>
                  </a:lnTo>
                  <a:lnTo>
                    <a:pt x="1378" y="2088"/>
                  </a:lnTo>
                  <a:lnTo>
                    <a:pt x="1378" y="2088"/>
                  </a:lnTo>
                  <a:lnTo>
                    <a:pt x="1386" y="2089"/>
                  </a:lnTo>
                  <a:lnTo>
                    <a:pt x="1393" y="2090"/>
                  </a:lnTo>
                  <a:lnTo>
                    <a:pt x="1398" y="2092"/>
                  </a:lnTo>
                  <a:lnTo>
                    <a:pt x="1404" y="2096"/>
                  </a:lnTo>
                  <a:lnTo>
                    <a:pt x="1408" y="2099"/>
                  </a:lnTo>
                  <a:lnTo>
                    <a:pt x="1412" y="2102"/>
                  </a:lnTo>
                  <a:lnTo>
                    <a:pt x="1418" y="2110"/>
                  </a:lnTo>
                  <a:lnTo>
                    <a:pt x="1418" y="2110"/>
                  </a:lnTo>
                  <a:close/>
                  <a:moveTo>
                    <a:pt x="945" y="2042"/>
                  </a:moveTo>
                  <a:lnTo>
                    <a:pt x="1000" y="2042"/>
                  </a:lnTo>
                  <a:lnTo>
                    <a:pt x="1000" y="2139"/>
                  </a:lnTo>
                  <a:lnTo>
                    <a:pt x="1000" y="2266"/>
                  </a:lnTo>
                  <a:lnTo>
                    <a:pt x="945" y="2266"/>
                  </a:lnTo>
                  <a:lnTo>
                    <a:pt x="945" y="2042"/>
                  </a:lnTo>
                  <a:close/>
                  <a:moveTo>
                    <a:pt x="1000" y="1982"/>
                  </a:moveTo>
                  <a:lnTo>
                    <a:pt x="1000" y="2010"/>
                  </a:lnTo>
                  <a:lnTo>
                    <a:pt x="945" y="2010"/>
                  </a:lnTo>
                  <a:lnTo>
                    <a:pt x="945" y="1954"/>
                  </a:lnTo>
                  <a:lnTo>
                    <a:pt x="1000" y="1954"/>
                  </a:lnTo>
                  <a:lnTo>
                    <a:pt x="1000" y="1982"/>
                  </a:lnTo>
                  <a:close/>
                  <a:moveTo>
                    <a:pt x="2325" y="1977"/>
                  </a:moveTo>
                  <a:lnTo>
                    <a:pt x="2381" y="1949"/>
                  </a:lnTo>
                  <a:lnTo>
                    <a:pt x="2381" y="2144"/>
                  </a:lnTo>
                  <a:lnTo>
                    <a:pt x="2381" y="2266"/>
                  </a:lnTo>
                  <a:lnTo>
                    <a:pt x="2325" y="2266"/>
                  </a:lnTo>
                  <a:lnTo>
                    <a:pt x="2325" y="1977"/>
                  </a:lnTo>
                  <a:close/>
                  <a:moveTo>
                    <a:pt x="400" y="762"/>
                  </a:moveTo>
                  <a:lnTo>
                    <a:pt x="856" y="762"/>
                  </a:lnTo>
                  <a:lnTo>
                    <a:pt x="856" y="498"/>
                  </a:lnTo>
                  <a:lnTo>
                    <a:pt x="400" y="498"/>
                  </a:lnTo>
                  <a:lnTo>
                    <a:pt x="400" y="290"/>
                  </a:lnTo>
                  <a:lnTo>
                    <a:pt x="905" y="290"/>
                  </a:lnTo>
                  <a:lnTo>
                    <a:pt x="737" y="0"/>
                  </a:lnTo>
                  <a:lnTo>
                    <a:pt x="22" y="0"/>
                  </a:lnTo>
                  <a:lnTo>
                    <a:pt x="22" y="1261"/>
                  </a:lnTo>
                  <a:lnTo>
                    <a:pt x="1030" y="1261"/>
                  </a:lnTo>
                  <a:lnTo>
                    <a:pt x="1030" y="970"/>
                  </a:lnTo>
                  <a:lnTo>
                    <a:pt x="400" y="970"/>
                  </a:lnTo>
                  <a:lnTo>
                    <a:pt x="400" y="762"/>
                  </a:lnTo>
                  <a:close/>
                  <a:moveTo>
                    <a:pt x="1702" y="0"/>
                  </a:moveTo>
                  <a:lnTo>
                    <a:pt x="1487" y="411"/>
                  </a:lnTo>
                  <a:lnTo>
                    <a:pt x="1274" y="0"/>
                  </a:lnTo>
                  <a:lnTo>
                    <a:pt x="856" y="0"/>
                  </a:lnTo>
                  <a:lnTo>
                    <a:pt x="1296" y="762"/>
                  </a:lnTo>
                  <a:lnTo>
                    <a:pt x="1296" y="1261"/>
                  </a:lnTo>
                  <a:lnTo>
                    <a:pt x="1673" y="1261"/>
                  </a:lnTo>
                  <a:lnTo>
                    <a:pt x="1673" y="762"/>
                  </a:lnTo>
                  <a:lnTo>
                    <a:pt x="2114" y="0"/>
                  </a:lnTo>
                  <a:lnTo>
                    <a:pt x="1702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/>
            </a:p>
          </p:txBody>
        </p:sp>
      </p:grpSp>
    </p:spTree>
    <p:extLst>
      <p:ext uri="{BB962C8B-B14F-4D97-AF65-F5344CB8AC3E}">
        <p14:creationId xmlns:p14="http://schemas.microsoft.com/office/powerpoint/2010/main" val="470869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88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pproved question w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5" name="Group 234">
            <a:extLst>
              <a:ext uri="{FF2B5EF4-FFF2-40B4-BE49-F238E27FC236}">
                <a16:creationId xmlns:a16="http://schemas.microsoft.com/office/drawing/2014/main" id="{5342E118-6F1D-4C46-956E-4CCCBCAA7952}"/>
              </a:ext>
            </a:extLst>
          </p:cNvPr>
          <p:cNvGrpSpPr/>
          <p:nvPr userDrawn="1"/>
        </p:nvGrpSpPr>
        <p:grpSpPr>
          <a:xfrm>
            <a:off x="497856" y="5826613"/>
            <a:ext cx="3876004" cy="570195"/>
            <a:chOff x="498115" y="5951018"/>
            <a:chExt cx="3878023" cy="570195"/>
          </a:xfrm>
        </p:grpSpPr>
        <p:sp>
          <p:nvSpPr>
            <p:cNvPr id="168" name="Rectangle 167">
              <a:extLst>
                <a:ext uri="{FF2B5EF4-FFF2-40B4-BE49-F238E27FC236}">
                  <a16:creationId xmlns:a16="http://schemas.microsoft.com/office/drawing/2014/main" id="{A22049CA-64AE-409F-988D-A7317F8AD13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98115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169" name="Rectangle 6">
              <a:extLst>
                <a:ext uri="{FF2B5EF4-FFF2-40B4-BE49-F238E27FC236}">
                  <a16:creationId xmlns:a16="http://schemas.microsoft.com/office/drawing/2014/main" id="{E37A0A05-0A78-44A7-8873-0A1A20C8717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9341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170" name="Rectangle 7">
              <a:extLst>
                <a:ext uri="{FF2B5EF4-FFF2-40B4-BE49-F238E27FC236}">
                  <a16:creationId xmlns:a16="http://schemas.microsoft.com/office/drawing/2014/main" id="{0DEA0CBE-8527-4287-BF98-DA48947875F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9045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171" name="Freeform 8">
              <a:extLst>
                <a:ext uri="{FF2B5EF4-FFF2-40B4-BE49-F238E27FC236}">
                  <a16:creationId xmlns:a16="http://schemas.microsoft.com/office/drawing/2014/main" id="{444058C6-612A-446E-8F68-0E5CC4CFF36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181188"/>
              <a:ext cx="94161" cy="130778"/>
            </a:xfrm>
            <a:custGeom>
              <a:avLst/>
              <a:gdLst>
                <a:gd name="T0" fmla="*/ 32 w 54"/>
                <a:gd name="T1" fmla="*/ 11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1 h 75"/>
                <a:gd name="T8" fmla="*/ 0 w 54"/>
                <a:gd name="T9" fmla="*/ 11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1 h 75"/>
                <a:gd name="T16" fmla="*/ 32 w 54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1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1"/>
                  </a:lnTo>
                  <a:lnTo>
                    <a:pt x="32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72" name="Freeform 9">
              <a:extLst>
                <a:ext uri="{FF2B5EF4-FFF2-40B4-BE49-F238E27FC236}">
                  <a16:creationId xmlns:a16="http://schemas.microsoft.com/office/drawing/2014/main" id="{1011EC31-E0C3-404F-93B3-EFD3DADC11C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174213"/>
              <a:ext cx="78468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73" name="Freeform 10">
              <a:extLst>
                <a:ext uri="{FF2B5EF4-FFF2-40B4-BE49-F238E27FC236}">
                  <a16:creationId xmlns:a16="http://schemas.microsoft.com/office/drawing/2014/main" id="{3C9D076B-D88C-4089-8D58-9A31CFCDB02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74" name="Freeform 11">
              <a:extLst>
                <a:ext uri="{FF2B5EF4-FFF2-40B4-BE49-F238E27FC236}">
                  <a16:creationId xmlns:a16="http://schemas.microsoft.com/office/drawing/2014/main" id="{29DB43AC-B765-4ECB-B483-562473BD4A3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174213"/>
              <a:ext cx="83698" cy="139497"/>
            </a:xfrm>
            <a:custGeom>
              <a:avLst/>
              <a:gdLst>
                <a:gd name="T0" fmla="*/ 33 w 33"/>
                <a:gd name="T1" fmla="*/ 35 h 55"/>
                <a:gd name="T2" fmla="*/ 31 w 33"/>
                <a:gd name="T3" fmla="*/ 44 h 55"/>
                <a:gd name="T4" fmla="*/ 28 w 33"/>
                <a:gd name="T5" fmla="*/ 50 h 55"/>
                <a:gd name="T6" fmla="*/ 23 w 33"/>
                <a:gd name="T7" fmla="*/ 53 h 55"/>
                <a:gd name="T8" fmla="*/ 17 w 33"/>
                <a:gd name="T9" fmla="*/ 55 h 55"/>
                <a:gd name="T10" fmla="*/ 12 w 33"/>
                <a:gd name="T11" fmla="*/ 53 h 55"/>
                <a:gd name="T12" fmla="*/ 8 w 33"/>
                <a:gd name="T13" fmla="*/ 50 h 55"/>
                <a:gd name="T14" fmla="*/ 8 w 33"/>
                <a:gd name="T15" fmla="*/ 54 h 55"/>
                <a:gd name="T16" fmla="*/ 0 w 33"/>
                <a:gd name="T17" fmla="*/ 54 h 55"/>
                <a:gd name="T18" fmla="*/ 0 w 33"/>
                <a:gd name="T19" fmla="*/ 4 h 55"/>
                <a:gd name="T20" fmla="*/ 8 w 33"/>
                <a:gd name="T21" fmla="*/ 0 h 55"/>
                <a:gd name="T22" fmla="*/ 8 w 33"/>
                <a:gd name="T23" fmla="*/ 19 h 55"/>
                <a:gd name="T24" fmla="*/ 10 w 33"/>
                <a:gd name="T25" fmla="*/ 17 h 55"/>
                <a:gd name="T26" fmla="*/ 12 w 33"/>
                <a:gd name="T27" fmla="*/ 16 h 55"/>
                <a:gd name="T28" fmla="*/ 14 w 33"/>
                <a:gd name="T29" fmla="*/ 15 h 55"/>
                <a:gd name="T30" fmla="*/ 18 w 33"/>
                <a:gd name="T31" fmla="*/ 15 h 55"/>
                <a:gd name="T32" fmla="*/ 24 w 33"/>
                <a:gd name="T33" fmla="*/ 16 h 55"/>
                <a:gd name="T34" fmla="*/ 28 w 33"/>
                <a:gd name="T35" fmla="*/ 19 h 55"/>
                <a:gd name="T36" fmla="*/ 31 w 33"/>
                <a:gd name="T37" fmla="*/ 26 h 55"/>
                <a:gd name="T38" fmla="*/ 33 w 33"/>
                <a:gd name="T39" fmla="*/ 35 h 55"/>
                <a:gd name="T40" fmla="*/ 25 w 33"/>
                <a:gd name="T41" fmla="*/ 35 h 55"/>
                <a:gd name="T42" fmla="*/ 23 w 33"/>
                <a:gd name="T43" fmla="*/ 25 h 55"/>
                <a:gd name="T44" fmla="*/ 16 w 33"/>
                <a:gd name="T45" fmla="*/ 22 h 55"/>
                <a:gd name="T46" fmla="*/ 14 w 33"/>
                <a:gd name="T47" fmla="*/ 22 h 55"/>
                <a:gd name="T48" fmla="*/ 11 w 33"/>
                <a:gd name="T49" fmla="*/ 23 h 55"/>
                <a:gd name="T50" fmla="*/ 9 w 33"/>
                <a:gd name="T51" fmla="*/ 25 h 55"/>
                <a:gd name="T52" fmla="*/ 8 w 33"/>
                <a:gd name="T53" fmla="*/ 26 h 55"/>
                <a:gd name="T54" fmla="*/ 8 w 33"/>
                <a:gd name="T55" fmla="*/ 43 h 55"/>
                <a:gd name="T56" fmla="*/ 9 w 33"/>
                <a:gd name="T57" fmla="*/ 44 h 55"/>
                <a:gd name="T58" fmla="*/ 11 w 33"/>
                <a:gd name="T59" fmla="*/ 46 h 55"/>
                <a:gd name="T60" fmla="*/ 14 w 33"/>
                <a:gd name="T61" fmla="*/ 47 h 55"/>
                <a:gd name="T62" fmla="*/ 17 w 33"/>
                <a:gd name="T63" fmla="*/ 48 h 55"/>
                <a:gd name="T64" fmla="*/ 23 w 33"/>
                <a:gd name="T65" fmla="*/ 45 h 55"/>
                <a:gd name="T66" fmla="*/ 25 w 33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5">
                  <a:moveTo>
                    <a:pt x="33" y="35"/>
                  </a:moveTo>
                  <a:cubicBezTo>
                    <a:pt x="33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7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6" y="55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8"/>
                    <a:pt x="10" y="17"/>
                  </a:cubicBezTo>
                  <a:cubicBezTo>
                    <a:pt x="11" y="17"/>
                    <a:pt x="11" y="16"/>
                    <a:pt x="12" y="16"/>
                  </a:cubicBezTo>
                  <a:cubicBezTo>
                    <a:pt x="13" y="16"/>
                    <a:pt x="13" y="15"/>
                    <a:pt x="14" y="15"/>
                  </a:cubicBezTo>
                  <a:cubicBezTo>
                    <a:pt x="15" y="15"/>
                    <a:pt x="16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30" y="21"/>
                    <a:pt x="31" y="23"/>
                    <a:pt x="31" y="26"/>
                  </a:cubicBezTo>
                  <a:cubicBezTo>
                    <a:pt x="32" y="28"/>
                    <a:pt x="33" y="32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5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1" y="23"/>
                    <a:pt x="10" y="24"/>
                    <a:pt x="9" y="25"/>
                  </a:cubicBezTo>
                  <a:cubicBezTo>
                    <a:pt x="9" y="25"/>
                    <a:pt x="8" y="26"/>
                    <a:pt x="8" y="26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8" y="43"/>
                    <a:pt x="9" y="44"/>
                    <a:pt x="9" y="44"/>
                  </a:cubicBezTo>
                  <a:cubicBezTo>
                    <a:pt x="10" y="45"/>
                    <a:pt x="11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6" y="48"/>
                    <a:pt x="17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75" name="Freeform 12">
              <a:extLst>
                <a:ext uri="{FF2B5EF4-FFF2-40B4-BE49-F238E27FC236}">
                  <a16:creationId xmlns:a16="http://schemas.microsoft.com/office/drawing/2014/main" id="{AF1DE1B8-EA4B-4A98-A97D-BA5EEA42B19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76" name="Freeform 13">
              <a:extLst>
                <a:ext uri="{FF2B5EF4-FFF2-40B4-BE49-F238E27FC236}">
                  <a16:creationId xmlns:a16="http://schemas.microsoft.com/office/drawing/2014/main" id="{F8F60B79-7AF5-4C5E-A5EF-126F117D591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1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2" y="54"/>
                    <a:pt x="11" y="54"/>
                  </a:cubicBezTo>
                  <a:cubicBezTo>
                    <a:pt x="10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2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77" name="Freeform 14">
              <a:extLst>
                <a:ext uri="{FF2B5EF4-FFF2-40B4-BE49-F238E27FC236}">
                  <a16:creationId xmlns:a16="http://schemas.microsoft.com/office/drawing/2014/main" id="{0A0438AD-9937-4C25-AB9E-7F8C8CCA23F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78" name="Freeform 15">
              <a:extLst>
                <a:ext uri="{FF2B5EF4-FFF2-40B4-BE49-F238E27FC236}">
                  <a16:creationId xmlns:a16="http://schemas.microsoft.com/office/drawing/2014/main" id="{6FDE2726-7032-4BE4-A420-0ECF49A32A8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0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2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0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3" y="31"/>
                    <a:pt x="24" y="30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0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7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79" name="Freeform 16">
              <a:extLst>
                <a:ext uri="{FF2B5EF4-FFF2-40B4-BE49-F238E27FC236}">
                  <a16:creationId xmlns:a16="http://schemas.microsoft.com/office/drawing/2014/main" id="{50C22C21-F8DB-486D-9042-765D68AE3A7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212575"/>
              <a:ext cx="55799" cy="99391"/>
            </a:xfrm>
            <a:custGeom>
              <a:avLst/>
              <a:gdLst>
                <a:gd name="T0" fmla="*/ 20 w 22"/>
                <a:gd name="T1" fmla="*/ 8 h 39"/>
                <a:gd name="T2" fmla="*/ 18 w 22"/>
                <a:gd name="T3" fmla="*/ 7 h 39"/>
                <a:gd name="T4" fmla="*/ 15 w 22"/>
                <a:gd name="T5" fmla="*/ 7 h 39"/>
                <a:gd name="T6" fmla="*/ 9 w 22"/>
                <a:gd name="T7" fmla="*/ 9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0 h 39"/>
                <a:gd name="T16" fmla="*/ 7 w 22"/>
                <a:gd name="T17" fmla="*/ 0 h 39"/>
                <a:gd name="T18" fmla="*/ 7 w 22"/>
                <a:gd name="T19" fmla="*/ 4 h 39"/>
                <a:gd name="T20" fmla="*/ 9 w 22"/>
                <a:gd name="T21" fmla="*/ 2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0 h 39"/>
                <a:gd name="T30" fmla="*/ 22 w 22"/>
                <a:gd name="T31" fmla="*/ 1 h 39"/>
                <a:gd name="T32" fmla="*/ 20 w 22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2" y="7"/>
                    <a:pt x="10" y="8"/>
                    <a:pt x="9" y="9"/>
                  </a:cubicBezTo>
                  <a:cubicBezTo>
                    <a:pt x="8" y="11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9" y="2"/>
                    <a:pt x="10" y="1"/>
                    <a:pt x="11" y="1"/>
                  </a:cubicBezTo>
                  <a:cubicBezTo>
                    <a:pt x="11" y="0"/>
                    <a:pt x="12" y="0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0"/>
                  </a:cubicBezTo>
                  <a:cubicBezTo>
                    <a:pt x="21" y="0"/>
                    <a:pt x="22" y="1"/>
                    <a:pt x="22" y="1"/>
                  </a:cubicBezTo>
                  <a:lnTo>
                    <a:pt x="20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80" name="Freeform 17">
              <a:extLst>
                <a:ext uri="{FF2B5EF4-FFF2-40B4-BE49-F238E27FC236}">
                  <a16:creationId xmlns:a16="http://schemas.microsoft.com/office/drawing/2014/main" id="{7F763F72-BB8F-482C-9FDA-40EDD6EE5F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81" name="Freeform 18">
              <a:extLst>
                <a:ext uri="{FF2B5EF4-FFF2-40B4-BE49-F238E27FC236}">
                  <a16:creationId xmlns:a16="http://schemas.microsoft.com/office/drawing/2014/main" id="{710F466C-6BEC-4970-9707-40D8002740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2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8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9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82" name="Freeform 19">
              <a:extLst>
                <a:ext uri="{FF2B5EF4-FFF2-40B4-BE49-F238E27FC236}">
                  <a16:creationId xmlns:a16="http://schemas.microsoft.com/office/drawing/2014/main" id="{3332407D-F423-41B2-985F-8A4482C61D9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83" name="Freeform 20">
              <a:extLst>
                <a:ext uri="{FF2B5EF4-FFF2-40B4-BE49-F238E27FC236}">
                  <a16:creationId xmlns:a16="http://schemas.microsoft.com/office/drawing/2014/main" id="{44E3286F-1188-47B1-8B46-3498795DF2D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30922" y="6212575"/>
              <a:ext cx="80211" cy="134265"/>
            </a:xfrm>
            <a:custGeom>
              <a:avLst/>
              <a:gdLst>
                <a:gd name="T0" fmla="*/ 25 w 32"/>
                <a:gd name="T1" fmla="*/ 53 h 53"/>
                <a:gd name="T2" fmla="*/ 25 w 32"/>
                <a:gd name="T3" fmla="*/ 35 h 53"/>
                <a:gd name="T4" fmla="*/ 20 w 32"/>
                <a:gd name="T5" fmla="*/ 38 h 53"/>
                <a:gd name="T6" fmla="*/ 15 w 32"/>
                <a:gd name="T7" fmla="*/ 40 h 53"/>
                <a:gd name="T8" fmla="*/ 9 w 32"/>
                <a:gd name="T9" fmla="*/ 38 h 53"/>
                <a:gd name="T10" fmla="*/ 4 w 32"/>
                <a:gd name="T11" fmla="*/ 35 h 53"/>
                <a:gd name="T12" fmla="*/ 1 w 32"/>
                <a:gd name="T13" fmla="*/ 28 h 53"/>
                <a:gd name="T14" fmla="*/ 0 w 32"/>
                <a:gd name="T15" fmla="*/ 19 h 53"/>
                <a:gd name="T16" fmla="*/ 1 w 32"/>
                <a:gd name="T17" fmla="*/ 10 h 53"/>
                <a:gd name="T18" fmla="*/ 4 w 32"/>
                <a:gd name="T19" fmla="*/ 4 h 53"/>
                <a:gd name="T20" fmla="*/ 9 w 32"/>
                <a:gd name="T21" fmla="*/ 1 h 53"/>
                <a:gd name="T22" fmla="*/ 15 w 32"/>
                <a:gd name="T23" fmla="*/ 0 h 53"/>
                <a:gd name="T24" fmla="*/ 18 w 32"/>
                <a:gd name="T25" fmla="*/ 0 h 53"/>
                <a:gd name="T26" fmla="*/ 20 w 32"/>
                <a:gd name="T27" fmla="*/ 1 h 53"/>
                <a:gd name="T28" fmla="*/ 23 w 32"/>
                <a:gd name="T29" fmla="*/ 2 h 53"/>
                <a:gd name="T30" fmla="*/ 25 w 32"/>
                <a:gd name="T31" fmla="*/ 4 h 53"/>
                <a:gd name="T32" fmla="*/ 25 w 32"/>
                <a:gd name="T33" fmla="*/ 0 h 53"/>
                <a:gd name="T34" fmla="*/ 32 w 32"/>
                <a:gd name="T35" fmla="*/ 0 h 53"/>
                <a:gd name="T36" fmla="*/ 32 w 32"/>
                <a:gd name="T37" fmla="*/ 49 h 53"/>
                <a:gd name="T38" fmla="*/ 25 w 32"/>
                <a:gd name="T39" fmla="*/ 53 h 53"/>
                <a:gd name="T40" fmla="*/ 25 w 32"/>
                <a:gd name="T41" fmla="*/ 12 h 53"/>
                <a:gd name="T42" fmla="*/ 23 w 32"/>
                <a:gd name="T43" fmla="*/ 10 h 53"/>
                <a:gd name="T44" fmla="*/ 21 w 32"/>
                <a:gd name="T45" fmla="*/ 8 h 53"/>
                <a:gd name="T46" fmla="*/ 18 w 32"/>
                <a:gd name="T47" fmla="*/ 7 h 53"/>
                <a:gd name="T48" fmla="*/ 16 w 32"/>
                <a:gd name="T49" fmla="*/ 7 h 53"/>
                <a:gd name="T50" fmla="*/ 9 w 32"/>
                <a:gd name="T51" fmla="*/ 10 h 53"/>
                <a:gd name="T52" fmla="*/ 7 w 32"/>
                <a:gd name="T53" fmla="*/ 19 h 53"/>
                <a:gd name="T54" fmla="*/ 10 w 32"/>
                <a:gd name="T55" fmla="*/ 29 h 53"/>
                <a:gd name="T56" fmla="*/ 16 w 32"/>
                <a:gd name="T57" fmla="*/ 33 h 53"/>
                <a:gd name="T58" fmla="*/ 21 w 32"/>
                <a:gd name="T59" fmla="*/ 31 h 53"/>
                <a:gd name="T60" fmla="*/ 25 w 32"/>
                <a:gd name="T61" fmla="*/ 28 h 53"/>
                <a:gd name="T62" fmla="*/ 25 w 32"/>
                <a:gd name="T63" fmla="*/ 1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2" h="53">
                  <a:moveTo>
                    <a:pt x="25" y="53"/>
                  </a:moveTo>
                  <a:cubicBezTo>
                    <a:pt x="25" y="35"/>
                    <a:pt x="25" y="35"/>
                    <a:pt x="25" y="35"/>
                  </a:cubicBezTo>
                  <a:cubicBezTo>
                    <a:pt x="23" y="36"/>
                    <a:pt x="22" y="37"/>
                    <a:pt x="20" y="38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3" y="40"/>
                    <a:pt x="11" y="39"/>
                    <a:pt x="9" y="38"/>
                  </a:cubicBezTo>
                  <a:cubicBezTo>
                    <a:pt x="7" y="38"/>
                    <a:pt x="5" y="36"/>
                    <a:pt x="4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0" y="26"/>
                    <a:pt x="0" y="23"/>
                    <a:pt x="0" y="19"/>
                  </a:cubicBezTo>
                  <a:cubicBezTo>
                    <a:pt x="0" y="16"/>
                    <a:pt x="0" y="13"/>
                    <a:pt x="1" y="10"/>
                  </a:cubicBezTo>
                  <a:cubicBezTo>
                    <a:pt x="2" y="8"/>
                    <a:pt x="3" y="6"/>
                    <a:pt x="4" y="4"/>
                  </a:cubicBezTo>
                  <a:cubicBezTo>
                    <a:pt x="6" y="3"/>
                    <a:pt x="7" y="2"/>
                    <a:pt x="9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6" y="0"/>
                    <a:pt x="17" y="0"/>
                    <a:pt x="18" y="0"/>
                  </a:cubicBezTo>
                  <a:cubicBezTo>
                    <a:pt x="19" y="0"/>
                    <a:pt x="20" y="0"/>
                    <a:pt x="20" y="1"/>
                  </a:cubicBezTo>
                  <a:cubicBezTo>
                    <a:pt x="21" y="1"/>
                    <a:pt x="22" y="2"/>
                    <a:pt x="23" y="2"/>
                  </a:cubicBezTo>
                  <a:cubicBezTo>
                    <a:pt x="23" y="3"/>
                    <a:pt x="24" y="3"/>
                    <a:pt x="25" y="4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49"/>
                    <a:pt x="32" y="49"/>
                    <a:pt x="32" y="49"/>
                  </a:cubicBezTo>
                  <a:lnTo>
                    <a:pt x="25" y="53"/>
                  </a:lnTo>
                  <a:close/>
                  <a:moveTo>
                    <a:pt x="25" y="12"/>
                  </a:moveTo>
                  <a:cubicBezTo>
                    <a:pt x="24" y="11"/>
                    <a:pt x="24" y="10"/>
                    <a:pt x="23" y="10"/>
                  </a:cubicBezTo>
                  <a:cubicBezTo>
                    <a:pt x="23" y="9"/>
                    <a:pt x="22" y="9"/>
                    <a:pt x="21" y="8"/>
                  </a:cubicBezTo>
                  <a:cubicBezTo>
                    <a:pt x="20" y="8"/>
                    <a:pt x="19" y="7"/>
                    <a:pt x="18" y="7"/>
                  </a:cubicBezTo>
                  <a:cubicBezTo>
                    <a:pt x="18" y="7"/>
                    <a:pt x="17" y="7"/>
                    <a:pt x="16" y="7"/>
                  </a:cubicBezTo>
                  <a:cubicBezTo>
                    <a:pt x="13" y="7"/>
                    <a:pt x="11" y="8"/>
                    <a:pt x="9" y="10"/>
                  </a:cubicBezTo>
                  <a:cubicBezTo>
                    <a:pt x="8" y="12"/>
                    <a:pt x="7" y="15"/>
                    <a:pt x="7" y="19"/>
                  </a:cubicBezTo>
                  <a:cubicBezTo>
                    <a:pt x="7" y="23"/>
                    <a:pt x="8" y="27"/>
                    <a:pt x="10" y="29"/>
                  </a:cubicBezTo>
                  <a:cubicBezTo>
                    <a:pt x="11" y="31"/>
                    <a:pt x="13" y="33"/>
                    <a:pt x="16" y="33"/>
                  </a:cubicBezTo>
                  <a:cubicBezTo>
                    <a:pt x="18" y="33"/>
                    <a:pt x="19" y="32"/>
                    <a:pt x="21" y="31"/>
                  </a:cubicBezTo>
                  <a:cubicBezTo>
                    <a:pt x="22" y="30"/>
                    <a:pt x="24" y="29"/>
                    <a:pt x="25" y="28"/>
                  </a:cubicBezTo>
                  <a:lnTo>
                    <a:pt x="25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84" name="Freeform 21">
              <a:extLst>
                <a:ext uri="{FF2B5EF4-FFF2-40B4-BE49-F238E27FC236}">
                  <a16:creationId xmlns:a16="http://schemas.microsoft.com/office/drawing/2014/main" id="{E7BD9E0B-920A-4409-95E7-40A47107B3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35545" y="6212575"/>
              <a:ext cx="78468" cy="101135"/>
            </a:xfrm>
            <a:custGeom>
              <a:avLst/>
              <a:gdLst>
                <a:gd name="T0" fmla="*/ 24 w 31"/>
                <a:gd name="T1" fmla="*/ 39 h 40"/>
                <a:gd name="T2" fmla="*/ 24 w 31"/>
                <a:gd name="T3" fmla="*/ 35 h 40"/>
                <a:gd name="T4" fmla="*/ 20 w 31"/>
                <a:gd name="T5" fmla="*/ 38 h 40"/>
                <a:gd name="T6" fmla="*/ 14 w 31"/>
                <a:gd name="T7" fmla="*/ 40 h 40"/>
                <a:gd name="T8" fmla="*/ 4 w 31"/>
                <a:gd name="T9" fmla="*/ 35 h 40"/>
                <a:gd name="T10" fmla="*/ 0 w 31"/>
                <a:gd name="T11" fmla="*/ 22 h 40"/>
                <a:gd name="T12" fmla="*/ 0 w 31"/>
                <a:gd name="T13" fmla="*/ 0 h 40"/>
                <a:gd name="T14" fmla="*/ 8 w 31"/>
                <a:gd name="T15" fmla="*/ 0 h 40"/>
                <a:gd name="T16" fmla="*/ 8 w 31"/>
                <a:gd name="T17" fmla="*/ 22 h 40"/>
                <a:gd name="T18" fmla="*/ 10 w 31"/>
                <a:gd name="T19" fmla="*/ 30 h 40"/>
                <a:gd name="T20" fmla="*/ 16 w 31"/>
                <a:gd name="T21" fmla="*/ 33 h 40"/>
                <a:gd name="T22" fmla="*/ 22 w 31"/>
                <a:gd name="T23" fmla="*/ 30 h 40"/>
                <a:gd name="T24" fmla="*/ 24 w 31"/>
                <a:gd name="T25" fmla="*/ 23 h 40"/>
                <a:gd name="T26" fmla="*/ 24 w 31"/>
                <a:gd name="T27" fmla="*/ 0 h 40"/>
                <a:gd name="T28" fmla="*/ 31 w 31"/>
                <a:gd name="T29" fmla="*/ 0 h 40"/>
                <a:gd name="T30" fmla="*/ 31 w 31"/>
                <a:gd name="T31" fmla="*/ 39 h 40"/>
                <a:gd name="T32" fmla="*/ 24 w 31"/>
                <a:gd name="T33" fmla="*/ 39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1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2" y="38"/>
                    <a:pt x="20" y="38"/>
                  </a:cubicBezTo>
                  <a:cubicBezTo>
                    <a:pt x="18" y="39"/>
                    <a:pt x="16" y="40"/>
                    <a:pt x="14" y="40"/>
                  </a:cubicBezTo>
                  <a:cubicBezTo>
                    <a:pt x="10" y="40"/>
                    <a:pt x="6" y="38"/>
                    <a:pt x="4" y="35"/>
                  </a:cubicBezTo>
                  <a:cubicBezTo>
                    <a:pt x="2" y="32"/>
                    <a:pt x="0" y="28"/>
                    <a:pt x="0" y="2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6"/>
                    <a:pt x="9" y="28"/>
                    <a:pt x="10" y="30"/>
                  </a:cubicBezTo>
                  <a:cubicBezTo>
                    <a:pt x="11" y="32"/>
                    <a:pt x="13" y="33"/>
                    <a:pt x="16" y="33"/>
                  </a:cubicBezTo>
                  <a:cubicBezTo>
                    <a:pt x="18" y="33"/>
                    <a:pt x="20" y="32"/>
                    <a:pt x="22" y="30"/>
                  </a:cubicBezTo>
                  <a:cubicBezTo>
                    <a:pt x="23" y="28"/>
                    <a:pt x="24" y="26"/>
                    <a:pt x="24" y="23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4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85" name="Freeform 22">
              <a:extLst>
                <a:ext uri="{FF2B5EF4-FFF2-40B4-BE49-F238E27FC236}">
                  <a16:creationId xmlns:a16="http://schemas.microsoft.com/office/drawing/2014/main" id="{9D2625B8-0A5B-46EF-8302-77353AB0D3A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93493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1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2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86" name="Freeform 23">
              <a:extLst>
                <a:ext uri="{FF2B5EF4-FFF2-40B4-BE49-F238E27FC236}">
                  <a16:creationId xmlns:a16="http://schemas.microsoft.com/office/drawing/2014/main" id="{DE6C9E0E-C49B-4FBE-97F3-BB6DFAC5742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30841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1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4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7 w 29"/>
                <a:gd name="T55" fmla="*/ 24 h 40"/>
                <a:gd name="T56" fmla="*/ 13 w 29"/>
                <a:gd name="T57" fmla="*/ 22 h 40"/>
                <a:gd name="T58" fmla="*/ 8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2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3" y="6"/>
                    <a:pt x="11" y="7"/>
                    <a:pt x="10" y="7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1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9" y="25"/>
                    <a:pt x="18" y="24"/>
                    <a:pt x="17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8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3" y="15"/>
                    <a:pt x="2" y="14"/>
                  </a:cubicBezTo>
                  <a:cubicBezTo>
                    <a:pt x="2" y="13"/>
                    <a:pt x="2" y="12"/>
                    <a:pt x="2" y="10"/>
                  </a:cubicBezTo>
                  <a:cubicBezTo>
                    <a:pt x="2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87" name="Freeform 24">
              <a:extLst>
                <a:ext uri="{FF2B5EF4-FFF2-40B4-BE49-F238E27FC236}">
                  <a16:creationId xmlns:a16="http://schemas.microsoft.com/office/drawing/2014/main" id="{580801ED-9260-41DB-A0B7-5AF24B32272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1802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88" name="Freeform 25">
              <a:extLst>
                <a:ext uri="{FF2B5EF4-FFF2-40B4-BE49-F238E27FC236}">
                  <a16:creationId xmlns:a16="http://schemas.microsoft.com/office/drawing/2014/main" id="{3A9842FB-6E95-4D11-B5B9-58C4CB82C2F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194750" y="6175958"/>
              <a:ext cx="24412" cy="136010"/>
            </a:xfrm>
            <a:custGeom>
              <a:avLst/>
              <a:gdLst>
                <a:gd name="T0" fmla="*/ 10 w 10"/>
                <a:gd name="T1" fmla="*/ 5 h 53"/>
                <a:gd name="T2" fmla="*/ 9 w 10"/>
                <a:gd name="T3" fmla="*/ 6 h 53"/>
                <a:gd name="T4" fmla="*/ 8 w 10"/>
                <a:gd name="T5" fmla="*/ 8 h 53"/>
                <a:gd name="T6" fmla="*/ 7 w 10"/>
                <a:gd name="T7" fmla="*/ 9 h 53"/>
                <a:gd name="T8" fmla="*/ 5 w 10"/>
                <a:gd name="T9" fmla="*/ 9 h 53"/>
                <a:gd name="T10" fmla="*/ 3 w 10"/>
                <a:gd name="T11" fmla="*/ 9 h 53"/>
                <a:gd name="T12" fmla="*/ 1 w 10"/>
                <a:gd name="T13" fmla="*/ 8 h 53"/>
                <a:gd name="T14" fmla="*/ 0 w 10"/>
                <a:gd name="T15" fmla="*/ 6 h 53"/>
                <a:gd name="T16" fmla="*/ 0 w 10"/>
                <a:gd name="T17" fmla="*/ 5 h 53"/>
                <a:gd name="T18" fmla="*/ 0 w 10"/>
                <a:gd name="T19" fmla="*/ 3 h 53"/>
                <a:gd name="T20" fmla="*/ 1 w 10"/>
                <a:gd name="T21" fmla="*/ 1 h 53"/>
                <a:gd name="T22" fmla="*/ 3 w 10"/>
                <a:gd name="T23" fmla="*/ 0 h 53"/>
                <a:gd name="T24" fmla="*/ 5 w 10"/>
                <a:gd name="T25" fmla="*/ 0 h 53"/>
                <a:gd name="T26" fmla="*/ 7 w 10"/>
                <a:gd name="T27" fmla="*/ 0 h 53"/>
                <a:gd name="T28" fmla="*/ 8 w 10"/>
                <a:gd name="T29" fmla="*/ 1 h 53"/>
                <a:gd name="T30" fmla="*/ 9 w 10"/>
                <a:gd name="T31" fmla="*/ 3 h 53"/>
                <a:gd name="T32" fmla="*/ 10 w 10"/>
                <a:gd name="T33" fmla="*/ 5 h 53"/>
                <a:gd name="T34" fmla="*/ 1 w 10"/>
                <a:gd name="T35" fmla="*/ 53 h 53"/>
                <a:gd name="T36" fmla="*/ 1 w 10"/>
                <a:gd name="T37" fmla="*/ 14 h 53"/>
                <a:gd name="T38" fmla="*/ 9 w 10"/>
                <a:gd name="T39" fmla="*/ 14 h 53"/>
                <a:gd name="T40" fmla="*/ 9 w 10"/>
                <a:gd name="T41" fmla="*/ 53 h 53"/>
                <a:gd name="T42" fmla="*/ 1 w 10"/>
                <a:gd name="T43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" h="53">
                  <a:moveTo>
                    <a:pt x="10" y="5"/>
                  </a:moveTo>
                  <a:cubicBezTo>
                    <a:pt x="10" y="5"/>
                    <a:pt x="10" y="6"/>
                    <a:pt x="9" y="6"/>
                  </a:cubicBezTo>
                  <a:cubicBezTo>
                    <a:pt x="9" y="7"/>
                    <a:pt x="9" y="8"/>
                    <a:pt x="8" y="8"/>
                  </a:cubicBezTo>
                  <a:cubicBezTo>
                    <a:pt x="8" y="8"/>
                    <a:pt x="7" y="9"/>
                    <a:pt x="7" y="9"/>
                  </a:cubicBezTo>
                  <a:cubicBezTo>
                    <a:pt x="6" y="9"/>
                    <a:pt x="6" y="9"/>
                    <a:pt x="5" y="9"/>
                  </a:cubicBezTo>
                  <a:cubicBezTo>
                    <a:pt x="4" y="9"/>
                    <a:pt x="4" y="9"/>
                    <a:pt x="3" y="9"/>
                  </a:cubicBezTo>
                  <a:cubicBezTo>
                    <a:pt x="2" y="9"/>
                    <a:pt x="2" y="8"/>
                    <a:pt x="1" y="8"/>
                  </a:cubicBezTo>
                  <a:cubicBezTo>
                    <a:pt x="1" y="8"/>
                    <a:pt x="1" y="7"/>
                    <a:pt x="0" y="6"/>
                  </a:cubicBezTo>
                  <a:cubicBezTo>
                    <a:pt x="0" y="6"/>
                    <a:pt x="0" y="5"/>
                    <a:pt x="0" y="5"/>
                  </a:cubicBezTo>
                  <a:cubicBezTo>
                    <a:pt x="0" y="4"/>
                    <a:pt x="0" y="3"/>
                    <a:pt x="0" y="3"/>
                  </a:cubicBezTo>
                  <a:cubicBezTo>
                    <a:pt x="1" y="2"/>
                    <a:pt x="1" y="2"/>
                    <a:pt x="1" y="1"/>
                  </a:cubicBezTo>
                  <a:cubicBezTo>
                    <a:pt x="2" y="1"/>
                    <a:pt x="2" y="0"/>
                    <a:pt x="3" y="0"/>
                  </a:cubicBezTo>
                  <a:cubicBezTo>
                    <a:pt x="4" y="0"/>
                    <a:pt x="4" y="0"/>
                    <a:pt x="5" y="0"/>
                  </a:cubicBezTo>
                  <a:cubicBezTo>
                    <a:pt x="6" y="0"/>
                    <a:pt x="6" y="0"/>
                    <a:pt x="7" y="0"/>
                  </a:cubicBezTo>
                  <a:cubicBezTo>
                    <a:pt x="7" y="0"/>
                    <a:pt x="8" y="1"/>
                    <a:pt x="8" y="1"/>
                  </a:cubicBezTo>
                  <a:cubicBezTo>
                    <a:pt x="9" y="2"/>
                    <a:pt x="9" y="2"/>
                    <a:pt x="9" y="3"/>
                  </a:cubicBezTo>
                  <a:cubicBezTo>
                    <a:pt x="10" y="3"/>
                    <a:pt x="10" y="4"/>
                    <a:pt x="10" y="5"/>
                  </a:cubicBezTo>
                  <a:close/>
                  <a:moveTo>
                    <a:pt x="1" y="53"/>
                  </a:moveTo>
                  <a:cubicBezTo>
                    <a:pt x="1" y="14"/>
                    <a:pt x="1" y="14"/>
                    <a:pt x="1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53"/>
                    <a:pt x="9" y="53"/>
                    <a:pt x="9" y="53"/>
                  </a:cubicBezTo>
                  <a:lnTo>
                    <a:pt x="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89" name="Freeform 26">
              <a:extLst>
                <a:ext uri="{FF2B5EF4-FFF2-40B4-BE49-F238E27FC236}">
                  <a16:creationId xmlns:a16="http://schemas.microsoft.com/office/drawing/2014/main" id="{076538BB-C266-42BE-916B-458AF9EFB22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236599" y="6212575"/>
              <a:ext cx="87186" cy="101135"/>
            </a:xfrm>
            <a:custGeom>
              <a:avLst/>
              <a:gdLst>
                <a:gd name="T0" fmla="*/ 34 w 34"/>
                <a:gd name="T1" fmla="*/ 19 h 40"/>
                <a:gd name="T2" fmla="*/ 33 w 34"/>
                <a:gd name="T3" fmla="*/ 28 h 40"/>
                <a:gd name="T4" fmla="*/ 29 w 34"/>
                <a:gd name="T5" fmla="*/ 34 h 40"/>
                <a:gd name="T6" fmla="*/ 24 w 34"/>
                <a:gd name="T7" fmla="*/ 38 h 40"/>
                <a:gd name="T8" fmla="*/ 17 w 34"/>
                <a:gd name="T9" fmla="*/ 40 h 40"/>
                <a:gd name="T10" fmla="*/ 10 w 34"/>
                <a:gd name="T11" fmla="*/ 38 h 40"/>
                <a:gd name="T12" fmla="*/ 5 w 34"/>
                <a:gd name="T13" fmla="*/ 34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1 h 40"/>
                <a:gd name="T20" fmla="*/ 5 w 34"/>
                <a:gd name="T21" fmla="*/ 5 h 40"/>
                <a:gd name="T22" fmla="*/ 10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1 h 40"/>
                <a:gd name="T32" fmla="*/ 34 w 34"/>
                <a:gd name="T33" fmla="*/ 19 h 40"/>
                <a:gd name="T34" fmla="*/ 26 w 34"/>
                <a:gd name="T35" fmla="*/ 20 h 40"/>
                <a:gd name="T36" fmla="*/ 26 w 34"/>
                <a:gd name="T37" fmla="*/ 14 h 40"/>
                <a:gd name="T38" fmla="*/ 24 w 34"/>
                <a:gd name="T39" fmla="*/ 10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0 h 40"/>
                <a:gd name="T48" fmla="*/ 8 w 34"/>
                <a:gd name="T49" fmla="*/ 14 h 40"/>
                <a:gd name="T50" fmla="*/ 7 w 34"/>
                <a:gd name="T51" fmla="*/ 19 h 40"/>
                <a:gd name="T52" fmla="*/ 8 w 34"/>
                <a:gd name="T53" fmla="*/ 25 h 40"/>
                <a:gd name="T54" fmla="*/ 10 w 34"/>
                <a:gd name="T55" fmla="*/ 29 h 40"/>
                <a:gd name="T56" fmla="*/ 13 w 34"/>
                <a:gd name="T57" fmla="*/ 32 h 40"/>
                <a:gd name="T58" fmla="*/ 17 w 34"/>
                <a:gd name="T59" fmla="*/ 32 h 40"/>
                <a:gd name="T60" fmla="*/ 21 w 34"/>
                <a:gd name="T61" fmla="*/ 31 h 40"/>
                <a:gd name="T62" fmla="*/ 24 w 34"/>
                <a:gd name="T63" fmla="*/ 29 h 40"/>
                <a:gd name="T64" fmla="*/ 26 w 34"/>
                <a:gd name="T65" fmla="*/ 25 h 40"/>
                <a:gd name="T66" fmla="*/ 26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19"/>
                  </a:moveTo>
                  <a:cubicBezTo>
                    <a:pt x="34" y="23"/>
                    <a:pt x="34" y="25"/>
                    <a:pt x="33" y="28"/>
                  </a:cubicBezTo>
                  <a:cubicBezTo>
                    <a:pt x="32" y="30"/>
                    <a:pt x="31" y="33"/>
                    <a:pt x="29" y="34"/>
                  </a:cubicBezTo>
                  <a:cubicBezTo>
                    <a:pt x="28" y="36"/>
                    <a:pt x="26" y="37"/>
                    <a:pt x="24" y="38"/>
                  </a:cubicBezTo>
                  <a:cubicBezTo>
                    <a:pt x="21" y="39"/>
                    <a:pt x="19" y="40"/>
                    <a:pt x="17" y="40"/>
                  </a:cubicBezTo>
                  <a:cubicBezTo>
                    <a:pt x="14" y="40"/>
                    <a:pt x="12" y="39"/>
                    <a:pt x="10" y="38"/>
                  </a:cubicBezTo>
                  <a:cubicBezTo>
                    <a:pt x="8" y="37"/>
                    <a:pt x="6" y="36"/>
                    <a:pt x="5" y="34"/>
                  </a:cubicBezTo>
                  <a:cubicBezTo>
                    <a:pt x="3" y="32"/>
                    <a:pt x="2" y="30"/>
                    <a:pt x="1" y="28"/>
                  </a:cubicBezTo>
                  <a:cubicBezTo>
                    <a:pt x="0" y="25"/>
                    <a:pt x="0" y="23"/>
                    <a:pt x="0" y="20"/>
                  </a:cubicBezTo>
                  <a:cubicBezTo>
                    <a:pt x="0" y="16"/>
                    <a:pt x="0" y="14"/>
                    <a:pt x="1" y="11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8" y="3"/>
                    <a:pt x="29" y="5"/>
                  </a:cubicBezTo>
                  <a:cubicBezTo>
                    <a:pt x="31" y="7"/>
                    <a:pt x="32" y="9"/>
                    <a:pt x="33" y="11"/>
                  </a:cubicBezTo>
                  <a:cubicBezTo>
                    <a:pt x="34" y="14"/>
                    <a:pt x="34" y="16"/>
                    <a:pt x="34" y="19"/>
                  </a:cubicBezTo>
                  <a:close/>
                  <a:moveTo>
                    <a:pt x="26" y="20"/>
                  </a:moveTo>
                  <a:cubicBezTo>
                    <a:pt x="26" y="18"/>
                    <a:pt x="26" y="16"/>
                    <a:pt x="26" y="14"/>
                  </a:cubicBezTo>
                  <a:cubicBezTo>
                    <a:pt x="25" y="13"/>
                    <a:pt x="25" y="11"/>
                    <a:pt x="24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19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11"/>
                    <a:pt x="8" y="13"/>
                    <a:pt x="8" y="14"/>
                  </a:cubicBezTo>
                  <a:cubicBezTo>
                    <a:pt x="8" y="16"/>
                    <a:pt x="7" y="17"/>
                    <a:pt x="7" y="19"/>
                  </a:cubicBezTo>
                  <a:cubicBezTo>
                    <a:pt x="7" y="21"/>
                    <a:pt x="8" y="23"/>
                    <a:pt x="8" y="25"/>
                  </a:cubicBezTo>
                  <a:cubicBezTo>
                    <a:pt x="9" y="27"/>
                    <a:pt x="9" y="28"/>
                    <a:pt x="10" y="29"/>
                  </a:cubicBezTo>
                  <a:cubicBezTo>
                    <a:pt x="11" y="30"/>
                    <a:pt x="12" y="31"/>
                    <a:pt x="13" y="32"/>
                  </a:cubicBezTo>
                  <a:cubicBezTo>
                    <a:pt x="14" y="32"/>
                    <a:pt x="16" y="32"/>
                    <a:pt x="17" y="32"/>
                  </a:cubicBezTo>
                  <a:cubicBezTo>
                    <a:pt x="18" y="32"/>
                    <a:pt x="20" y="32"/>
                    <a:pt x="21" y="31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7"/>
                    <a:pt x="25" y="26"/>
                    <a:pt x="26" y="25"/>
                  </a:cubicBezTo>
                  <a:cubicBezTo>
                    <a:pt x="26" y="23"/>
                    <a:pt x="26" y="21"/>
                    <a:pt x="26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0" name="Freeform 27">
              <a:extLst>
                <a:ext uri="{FF2B5EF4-FFF2-40B4-BE49-F238E27FC236}">
                  <a16:creationId xmlns:a16="http://schemas.microsoft.com/office/drawing/2014/main" id="{A7C95C0F-A1E9-46B5-B9DB-284F35C7280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44710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1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9 w 31"/>
                <a:gd name="T11" fmla="*/ 9 h 39"/>
                <a:gd name="T12" fmla="*/ 8 w 31"/>
                <a:gd name="T13" fmla="*/ 12 h 39"/>
                <a:gd name="T14" fmla="*/ 7 w 31"/>
                <a:gd name="T15" fmla="*/ 16 h 39"/>
                <a:gd name="T16" fmla="*/ 7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7 w 31"/>
                <a:gd name="T23" fmla="*/ 0 h 39"/>
                <a:gd name="T24" fmla="*/ 7 w 31"/>
                <a:gd name="T25" fmla="*/ 4 h 39"/>
                <a:gd name="T26" fmla="*/ 9 w 31"/>
                <a:gd name="T27" fmla="*/ 2 h 39"/>
                <a:gd name="T28" fmla="*/ 11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7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1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9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7" y="15"/>
                    <a:pt x="7" y="16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9" y="0"/>
                    <a:pt x="21" y="0"/>
                    <a:pt x="23" y="1"/>
                  </a:cubicBezTo>
                  <a:cubicBezTo>
                    <a:pt x="25" y="1"/>
                    <a:pt x="26" y="2"/>
                    <a:pt x="27" y="4"/>
                  </a:cubicBezTo>
                  <a:cubicBezTo>
                    <a:pt x="28" y="5"/>
                    <a:pt x="29" y="7"/>
                    <a:pt x="30" y="9"/>
                  </a:cubicBezTo>
                  <a:cubicBezTo>
                    <a:pt x="30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1" name="Freeform 28">
              <a:extLst>
                <a:ext uri="{FF2B5EF4-FFF2-40B4-BE49-F238E27FC236}">
                  <a16:creationId xmlns:a16="http://schemas.microsoft.com/office/drawing/2014/main" id="{BEEA6186-B2B9-4E5E-9631-B6332C7FDB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45845" y="6284068"/>
              <a:ext cx="31387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4 w 12"/>
                <a:gd name="T11" fmla="*/ 11 h 12"/>
                <a:gd name="T12" fmla="*/ 2 w 12"/>
                <a:gd name="T13" fmla="*/ 10 h 12"/>
                <a:gd name="T14" fmla="*/ 1 w 12"/>
                <a:gd name="T15" fmla="*/ 8 h 12"/>
                <a:gd name="T16" fmla="*/ 0 w 12"/>
                <a:gd name="T17" fmla="*/ 6 h 12"/>
                <a:gd name="T18" fmla="*/ 1 w 12"/>
                <a:gd name="T19" fmla="*/ 4 h 12"/>
                <a:gd name="T20" fmla="*/ 2 w 12"/>
                <a:gd name="T21" fmla="*/ 2 h 12"/>
                <a:gd name="T22" fmla="*/ 4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4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1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1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4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2" name="Freeform 29">
              <a:extLst>
                <a:ext uri="{FF2B5EF4-FFF2-40B4-BE49-F238E27FC236}">
                  <a16:creationId xmlns:a16="http://schemas.microsoft.com/office/drawing/2014/main" id="{E9B00A5D-BE04-4D7D-B4A2-204E2D0E04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0006" y="6181188"/>
              <a:ext cx="97648" cy="130778"/>
            </a:xfrm>
            <a:custGeom>
              <a:avLst/>
              <a:gdLst>
                <a:gd name="T0" fmla="*/ 34 w 56"/>
                <a:gd name="T1" fmla="*/ 11 h 75"/>
                <a:gd name="T2" fmla="*/ 34 w 56"/>
                <a:gd name="T3" fmla="*/ 75 h 75"/>
                <a:gd name="T4" fmla="*/ 22 w 56"/>
                <a:gd name="T5" fmla="*/ 75 h 75"/>
                <a:gd name="T6" fmla="*/ 22 w 56"/>
                <a:gd name="T7" fmla="*/ 11 h 75"/>
                <a:gd name="T8" fmla="*/ 0 w 56"/>
                <a:gd name="T9" fmla="*/ 11 h 75"/>
                <a:gd name="T10" fmla="*/ 0 w 56"/>
                <a:gd name="T11" fmla="*/ 0 h 75"/>
                <a:gd name="T12" fmla="*/ 56 w 56"/>
                <a:gd name="T13" fmla="*/ 0 h 75"/>
                <a:gd name="T14" fmla="*/ 56 w 56"/>
                <a:gd name="T15" fmla="*/ 11 h 75"/>
                <a:gd name="T16" fmla="*/ 34 w 56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6" h="75">
                  <a:moveTo>
                    <a:pt x="34" y="11"/>
                  </a:moveTo>
                  <a:lnTo>
                    <a:pt x="34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6" y="0"/>
                  </a:lnTo>
                  <a:lnTo>
                    <a:pt x="56" y="11"/>
                  </a:lnTo>
                  <a:lnTo>
                    <a:pt x="34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3" name="Freeform 30">
              <a:extLst>
                <a:ext uri="{FF2B5EF4-FFF2-40B4-BE49-F238E27FC236}">
                  <a16:creationId xmlns:a16="http://schemas.microsoft.com/office/drawing/2014/main" id="{72C85502-C007-49A3-A8AB-2BCC8C53945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51603" y="6174213"/>
              <a:ext cx="80211" cy="137753"/>
            </a:xfrm>
            <a:custGeom>
              <a:avLst/>
              <a:gdLst>
                <a:gd name="T0" fmla="*/ 24 w 31"/>
                <a:gd name="T1" fmla="*/ 54 h 54"/>
                <a:gd name="T2" fmla="*/ 24 w 31"/>
                <a:gd name="T3" fmla="*/ 32 h 54"/>
                <a:gd name="T4" fmla="*/ 22 w 31"/>
                <a:gd name="T5" fmla="*/ 24 h 54"/>
                <a:gd name="T6" fmla="*/ 16 w 31"/>
                <a:gd name="T7" fmla="*/ 22 h 54"/>
                <a:gd name="T8" fmla="*/ 13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8 w 31"/>
                <a:gd name="T15" fmla="*/ 31 h 54"/>
                <a:gd name="T16" fmla="*/ 8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8 w 31"/>
                <a:gd name="T23" fmla="*/ 0 h 54"/>
                <a:gd name="T24" fmla="*/ 8 w 31"/>
                <a:gd name="T25" fmla="*/ 19 h 54"/>
                <a:gd name="T26" fmla="*/ 10 w 31"/>
                <a:gd name="T27" fmla="*/ 17 h 54"/>
                <a:gd name="T28" fmla="*/ 12 w 31"/>
                <a:gd name="T29" fmla="*/ 16 h 54"/>
                <a:gd name="T30" fmla="*/ 15 w 31"/>
                <a:gd name="T31" fmla="*/ 15 h 54"/>
                <a:gd name="T32" fmla="*/ 18 w 31"/>
                <a:gd name="T33" fmla="*/ 15 h 54"/>
                <a:gd name="T34" fmla="*/ 24 w 31"/>
                <a:gd name="T35" fmla="*/ 16 h 54"/>
                <a:gd name="T36" fmla="*/ 28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4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4" y="54"/>
                  </a:moveTo>
                  <a:cubicBezTo>
                    <a:pt x="24" y="32"/>
                    <a:pt x="24" y="32"/>
                    <a:pt x="24" y="32"/>
                  </a:cubicBezTo>
                  <a:cubicBezTo>
                    <a:pt x="24" y="28"/>
                    <a:pt x="23" y="26"/>
                    <a:pt x="22" y="24"/>
                  </a:cubicBezTo>
                  <a:cubicBezTo>
                    <a:pt x="21" y="22"/>
                    <a:pt x="19" y="22"/>
                    <a:pt x="16" y="22"/>
                  </a:cubicBezTo>
                  <a:cubicBezTo>
                    <a:pt x="15" y="22"/>
                    <a:pt x="14" y="22"/>
                    <a:pt x="13" y="22"/>
                  </a:cubicBezTo>
                  <a:cubicBezTo>
                    <a:pt x="12" y="22"/>
                    <a:pt x="11" y="23"/>
                    <a:pt x="10" y="24"/>
                  </a:cubicBezTo>
                  <a:cubicBezTo>
                    <a:pt x="9" y="25"/>
                    <a:pt x="9" y="26"/>
                    <a:pt x="8" y="27"/>
                  </a:cubicBezTo>
                  <a:cubicBezTo>
                    <a:pt x="8" y="28"/>
                    <a:pt x="8" y="30"/>
                    <a:pt x="8" y="31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3" y="15"/>
                    <a:pt x="14" y="15"/>
                    <a:pt x="15" y="15"/>
                  </a:cubicBezTo>
                  <a:cubicBezTo>
                    <a:pt x="16" y="15"/>
                    <a:pt x="17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29" y="20"/>
                    <a:pt x="30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4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4" name="Freeform 31">
              <a:extLst>
                <a:ext uri="{FF2B5EF4-FFF2-40B4-BE49-F238E27FC236}">
                  <a16:creationId xmlns:a16="http://schemas.microsoft.com/office/drawing/2014/main" id="{9A42586B-B388-4323-82EB-ED3423EDC5D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50996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1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5" name="Freeform 32">
              <a:extLst>
                <a:ext uri="{FF2B5EF4-FFF2-40B4-BE49-F238E27FC236}">
                  <a16:creationId xmlns:a16="http://schemas.microsoft.com/office/drawing/2014/main" id="{558D2F0C-3796-492F-9EBD-4BB822191F3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02698" y="6174213"/>
              <a:ext cx="80211" cy="139497"/>
            </a:xfrm>
            <a:custGeom>
              <a:avLst/>
              <a:gdLst>
                <a:gd name="T0" fmla="*/ 32 w 32"/>
                <a:gd name="T1" fmla="*/ 35 h 55"/>
                <a:gd name="T2" fmla="*/ 31 w 32"/>
                <a:gd name="T3" fmla="*/ 44 h 55"/>
                <a:gd name="T4" fmla="*/ 28 w 32"/>
                <a:gd name="T5" fmla="*/ 50 h 55"/>
                <a:gd name="T6" fmla="*/ 23 w 32"/>
                <a:gd name="T7" fmla="*/ 53 h 55"/>
                <a:gd name="T8" fmla="*/ 17 w 32"/>
                <a:gd name="T9" fmla="*/ 55 h 55"/>
                <a:gd name="T10" fmla="*/ 12 w 32"/>
                <a:gd name="T11" fmla="*/ 53 h 55"/>
                <a:gd name="T12" fmla="*/ 7 w 32"/>
                <a:gd name="T13" fmla="*/ 50 h 55"/>
                <a:gd name="T14" fmla="*/ 7 w 32"/>
                <a:gd name="T15" fmla="*/ 54 h 55"/>
                <a:gd name="T16" fmla="*/ 0 w 32"/>
                <a:gd name="T17" fmla="*/ 54 h 55"/>
                <a:gd name="T18" fmla="*/ 0 w 32"/>
                <a:gd name="T19" fmla="*/ 4 h 55"/>
                <a:gd name="T20" fmla="*/ 7 w 32"/>
                <a:gd name="T21" fmla="*/ 0 h 55"/>
                <a:gd name="T22" fmla="*/ 7 w 32"/>
                <a:gd name="T23" fmla="*/ 19 h 55"/>
                <a:gd name="T24" fmla="*/ 10 w 32"/>
                <a:gd name="T25" fmla="*/ 17 h 55"/>
                <a:gd name="T26" fmla="*/ 12 w 32"/>
                <a:gd name="T27" fmla="*/ 16 h 55"/>
                <a:gd name="T28" fmla="*/ 14 w 32"/>
                <a:gd name="T29" fmla="*/ 15 h 55"/>
                <a:gd name="T30" fmla="*/ 17 w 32"/>
                <a:gd name="T31" fmla="*/ 15 h 55"/>
                <a:gd name="T32" fmla="*/ 23 w 32"/>
                <a:gd name="T33" fmla="*/ 16 h 55"/>
                <a:gd name="T34" fmla="*/ 28 w 32"/>
                <a:gd name="T35" fmla="*/ 19 h 55"/>
                <a:gd name="T36" fmla="*/ 31 w 32"/>
                <a:gd name="T37" fmla="*/ 26 h 55"/>
                <a:gd name="T38" fmla="*/ 32 w 32"/>
                <a:gd name="T39" fmla="*/ 35 h 55"/>
                <a:gd name="T40" fmla="*/ 25 w 32"/>
                <a:gd name="T41" fmla="*/ 35 h 55"/>
                <a:gd name="T42" fmla="*/ 23 w 32"/>
                <a:gd name="T43" fmla="*/ 25 h 55"/>
                <a:gd name="T44" fmla="*/ 16 w 32"/>
                <a:gd name="T45" fmla="*/ 22 h 55"/>
                <a:gd name="T46" fmla="*/ 14 w 32"/>
                <a:gd name="T47" fmla="*/ 22 h 55"/>
                <a:gd name="T48" fmla="*/ 11 w 32"/>
                <a:gd name="T49" fmla="*/ 23 h 55"/>
                <a:gd name="T50" fmla="*/ 9 w 32"/>
                <a:gd name="T51" fmla="*/ 25 h 55"/>
                <a:gd name="T52" fmla="*/ 7 w 32"/>
                <a:gd name="T53" fmla="*/ 26 h 55"/>
                <a:gd name="T54" fmla="*/ 7 w 32"/>
                <a:gd name="T55" fmla="*/ 43 h 55"/>
                <a:gd name="T56" fmla="*/ 9 w 32"/>
                <a:gd name="T57" fmla="*/ 44 h 55"/>
                <a:gd name="T58" fmla="*/ 11 w 32"/>
                <a:gd name="T59" fmla="*/ 46 h 55"/>
                <a:gd name="T60" fmla="*/ 14 w 32"/>
                <a:gd name="T61" fmla="*/ 47 h 55"/>
                <a:gd name="T62" fmla="*/ 16 w 32"/>
                <a:gd name="T63" fmla="*/ 48 h 55"/>
                <a:gd name="T64" fmla="*/ 23 w 32"/>
                <a:gd name="T65" fmla="*/ 45 h 55"/>
                <a:gd name="T66" fmla="*/ 25 w 32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2" h="55">
                  <a:moveTo>
                    <a:pt x="32" y="35"/>
                  </a:moveTo>
                  <a:cubicBezTo>
                    <a:pt x="32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6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5" y="55"/>
                    <a:pt x="13" y="54"/>
                    <a:pt x="12" y="53"/>
                  </a:cubicBezTo>
                  <a:cubicBezTo>
                    <a:pt x="10" y="52"/>
                    <a:pt x="9" y="51"/>
                    <a:pt x="7" y="50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6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20" y="15"/>
                    <a:pt x="21" y="15"/>
                    <a:pt x="23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29" y="21"/>
                    <a:pt x="30" y="23"/>
                    <a:pt x="31" y="26"/>
                  </a:cubicBezTo>
                  <a:cubicBezTo>
                    <a:pt x="32" y="28"/>
                    <a:pt x="32" y="32"/>
                    <a:pt x="32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4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0" y="23"/>
                    <a:pt x="10" y="24"/>
                    <a:pt x="9" y="25"/>
                  </a:cubicBezTo>
                  <a:cubicBezTo>
                    <a:pt x="8" y="25"/>
                    <a:pt x="8" y="26"/>
                    <a:pt x="7" y="26"/>
                  </a:cubicBezTo>
                  <a:cubicBezTo>
                    <a:pt x="7" y="43"/>
                    <a:pt x="7" y="43"/>
                    <a:pt x="7" y="43"/>
                  </a:cubicBezTo>
                  <a:cubicBezTo>
                    <a:pt x="8" y="43"/>
                    <a:pt x="8" y="44"/>
                    <a:pt x="9" y="44"/>
                  </a:cubicBezTo>
                  <a:cubicBezTo>
                    <a:pt x="10" y="45"/>
                    <a:pt x="10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5" y="48"/>
                    <a:pt x="16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6" name="Freeform 33">
              <a:extLst>
                <a:ext uri="{FF2B5EF4-FFF2-40B4-BE49-F238E27FC236}">
                  <a16:creationId xmlns:a16="http://schemas.microsoft.com/office/drawing/2014/main" id="{DE4E3633-17EF-414F-A86D-0B6A9F2F098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9860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8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8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3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7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7" name="Freeform 34">
              <a:extLst>
                <a:ext uri="{FF2B5EF4-FFF2-40B4-BE49-F238E27FC236}">
                  <a16:creationId xmlns:a16="http://schemas.microsoft.com/office/drawing/2014/main" id="{2572AE39-9386-47FC-B6AF-FBCF804BEB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625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3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8" name="Freeform 35">
              <a:extLst>
                <a:ext uri="{FF2B5EF4-FFF2-40B4-BE49-F238E27FC236}">
                  <a16:creationId xmlns:a16="http://schemas.microsoft.com/office/drawing/2014/main" id="{7096AEC6-B8C0-4212-842F-89677AE7D80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64256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7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6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7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9" name="Freeform 36">
              <a:extLst>
                <a:ext uri="{FF2B5EF4-FFF2-40B4-BE49-F238E27FC236}">
                  <a16:creationId xmlns:a16="http://schemas.microsoft.com/office/drawing/2014/main" id="{406AD873-E434-40CF-BFBD-6D1D1CA7CB8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2340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0" name="Freeform 37">
              <a:extLst>
                <a:ext uri="{FF2B5EF4-FFF2-40B4-BE49-F238E27FC236}">
                  <a16:creationId xmlns:a16="http://schemas.microsoft.com/office/drawing/2014/main" id="{74857EE2-44CC-4E8F-B1BB-355509B3EFE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36884" y="6212575"/>
              <a:ext cx="59286" cy="99391"/>
            </a:xfrm>
            <a:custGeom>
              <a:avLst/>
              <a:gdLst>
                <a:gd name="T0" fmla="*/ 21 w 23"/>
                <a:gd name="T1" fmla="*/ 8 h 39"/>
                <a:gd name="T2" fmla="*/ 19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9" y="7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1" name="Freeform 38">
              <a:extLst>
                <a:ext uri="{FF2B5EF4-FFF2-40B4-BE49-F238E27FC236}">
                  <a16:creationId xmlns:a16="http://schemas.microsoft.com/office/drawing/2014/main" id="{D39EC8B1-952E-4BF5-9735-6A38584161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51969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2" name="Freeform 39">
              <a:extLst>
                <a:ext uri="{FF2B5EF4-FFF2-40B4-BE49-F238E27FC236}">
                  <a16:creationId xmlns:a16="http://schemas.microsoft.com/office/drawing/2014/main" id="{EA37D3DF-3401-44BD-97F4-F423BFC87A1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30436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3" name="Freeform 40">
              <a:extLst>
                <a:ext uri="{FF2B5EF4-FFF2-40B4-BE49-F238E27FC236}">
                  <a16:creationId xmlns:a16="http://schemas.microsoft.com/office/drawing/2014/main" id="{7DFA4B46-95EA-4D4D-800F-4D2DB7BB66E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62808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4" name="Freeform 41">
              <a:extLst>
                <a:ext uri="{FF2B5EF4-FFF2-40B4-BE49-F238E27FC236}">
                  <a16:creationId xmlns:a16="http://schemas.microsoft.com/office/drawing/2014/main" id="{EF5012BA-3255-4BEF-8F4F-9117A6BEF32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772813" y="6212575"/>
              <a:ext cx="81955" cy="101135"/>
            </a:xfrm>
            <a:custGeom>
              <a:avLst/>
              <a:gdLst>
                <a:gd name="T0" fmla="*/ 24 w 32"/>
                <a:gd name="T1" fmla="*/ 39 h 40"/>
                <a:gd name="T2" fmla="*/ 24 w 32"/>
                <a:gd name="T3" fmla="*/ 35 h 40"/>
                <a:gd name="T4" fmla="*/ 22 w 32"/>
                <a:gd name="T5" fmla="*/ 37 h 40"/>
                <a:gd name="T6" fmla="*/ 20 w 32"/>
                <a:gd name="T7" fmla="*/ 38 h 40"/>
                <a:gd name="T8" fmla="*/ 17 w 32"/>
                <a:gd name="T9" fmla="*/ 39 h 40"/>
                <a:gd name="T10" fmla="*/ 14 w 32"/>
                <a:gd name="T11" fmla="*/ 40 h 40"/>
                <a:gd name="T12" fmla="*/ 9 w 32"/>
                <a:gd name="T13" fmla="*/ 39 h 40"/>
                <a:gd name="T14" fmla="*/ 5 w 32"/>
                <a:gd name="T15" fmla="*/ 37 h 40"/>
                <a:gd name="T16" fmla="*/ 2 w 32"/>
                <a:gd name="T17" fmla="*/ 33 h 40"/>
                <a:gd name="T18" fmla="*/ 0 w 32"/>
                <a:gd name="T19" fmla="*/ 27 h 40"/>
                <a:gd name="T20" fmla="*/ 2 w 32"/>
                <a:gd name="T21" fmla="*/ 21 h 40"/>
                <a:gd name="T22" fmla="*/ 5 w 32"/>
                <a:gd name="T23" fmla="*/ 17 h 40"/>
                <a:gd name="T24" fmla="*/ 10 w 32"/>
                <a:gd name="T25" fmla="*/ 15 h 40"/>
                <a:gd name="T26" fmla="*/ 16 w 32"/>
                <a:gd name="T27" fmla="*/ 14 h 40"/>
                <a:gd name="T28" fmla="*/ 21 w 32"/>
                <a:gd name="T29" fmla="*/ 15 h 40"/>
                <a:gd name="T30" fmla="*/ 24 w 32"/>
                <a:gd name="T31" fmla="*/ 16 h 40"/>
                <a:gd name="T32" fmla="*/ 24 w 32"/>
                <a:gd name="T33" fmla="*/ 13 h 40"/>
                <a:gd name="T34" fmla="*/ 22 w 32"/>
                <a:gd name="T35" fmla="*/ 8 h 40"/>
                <a:gd name="T36" fmla="*/ 17 w 32"/>
                <a:gd name="T37" fmla="*/ 6 h 40"/>
                <a:gd name="T38" fmla="*/ 12 w 32"/>
                <a:gd name="T39" fmla="*/ 7 h 40"/>
                <a:gd name="T40" fmla="*/ 7 w 32"/>
                <a:gd name="T41" fmla="*/ 9 h 40"/>
                <a:gd name="T42" fmla="*/ 4 w 32"/>
                <a:gd name="T43" fmla="*/ 3 h 40"/>
                <a:gd name="T44" fmla="*/ 10 w 32"/>
                <a:gd name="T45" fmla="*/ 0 h 40"/>
                <a:gd name="T46" fmla="*/ 17 w 32"/>
                <a:gd name="T47" fmla="*/ 0 h 40"/>
                <a:gd name="T48" fmla="*/ 23 w 32"/>
                <a:gd name="T49" fmla="*/ 0 h 40"/>
                <a:gd name="T50" fmla="*/ 28 w 32"/>
                <a:gd name="T51" fmla="*/ 3 h 40"/>
                <a:gd name="T52" fmla="*/ 31 w 32"/>
                <a:gd name="T53" fmla="*/ 7 h 40"/>
                <a:gd name="T54" fmla="*/ 32 w 32"/>
                <a:gd name="T55" fmla="*/ 12 h 40"/>
                <a:gd name="T56" fmla="*/ 32 w 32"/>
                <a:gd name="T57" fmla="*/ 39 h 40"/>
                <a:gd name="T58" fmla="*/ 24 w 32"/>
                <a:gd name="T59" fmla="*/ 39 h 40"/>
                <a:gd name="T60" fmla="*/ 24 w 32"/>
                <a:gd name="T61" fmla="*/ 22 h 40"/>
                <a:gd name="T62" fmla="*/ 22 w 32"/>
                <a:gd name="T63" fmla="*/ 22 h 40"/>
                <a:gd name="T64" fmla="*/ 21 w 32"/>
                <a:gd name="T65" fmla="*/ 21 h 40"/>
                <a:gd name="T66" fmla="*/ 18 w 32"/>
                <a:gd name="T67" fmla="*/ 21 h 40"/>
                <a:gd name="T68" fmla="*/ 16 w 32"/>
                <a:gd name="T69" fmla="*/ 21 h 40"/>
                <a:gd name="T70" fmla="*/ 10 w 32"/>
                <a:gd name="T71" fmla="*/ 22 h 40"/>
                <a:gd name="T72" fmla="*/ 8 w 32"/>
                <a:gd name="T73" fmla="*/ 26 h 40"/>
                <a:gd name="T74" fmla="*/ 8 w 32"/>
                <a:gd name="T75" fmla="*/ 29 h 40"/>
                <a:gd name="T76" fmla="*/ 10 w 32"/>
                <a:gd name="T77" fmla="*/ 31 h 40"/>
                <a:gd name="T78" fmla="*/ 12 w 32"/>
                <a:gd name="T79" fmla="*/ 32 h 40"/>
                <a:gd name="T80" fmla="*/ 15 w 32"/>
                <a:gd name="T81" fmla="*/ 33 h 40"/>
                <a:gd name="T82" fmla="*/ 18 w 32"/>
                <a:gd name="T83" fmla="*/ 32 h 40"/>
                <a:gd name="T84" fmla="*/ 21 w 32"/>
                <a:gd name="T85" fmla="*/ 31 h 40"/>
                <a:gd name="T86" fmla="*/ 23 w 32"/>
                <a:gd name="T87" fmla="*/ 30 h 40"/>
                <a:gd name="T88" fmla="*/ 24 w 32"/>
                <a:gd name="T89" fmla="*/ 28 h 40"/>
                <a:gd name="T90" fmla="*/ 24 w 32"/>
                <a:gd name="T91" fmla="*/ 2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2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3" y="37"/>
                    <a:pt x="22" y="37"/>
                  </a:cubicBezTo>
                  <a:cubicBezTo>
                    <a:pt x="21" y="37"/>
                    <a:pt x="21" y="38"/>
                    <a:pt x="20" y="38"/>
                  </a:cubicBezTo>
                  <a:cubicBezTo>
                    <a:pt x="19" y="39"/>
                    <a:pt x="18" y="39"/>
                    <a:pt x="17" y="39"/>
                  </a:cubicBezTo>
                  <a:cubicBezTo>
                    <a:pt x="16" y="39"/>
                    <a:pt x="15" y="40"/>
                    <a:pt x="14" y="40"/>
                  </a:cubicBezTo>
                  <a:cubicBezTo>
                    <a:pt x="12" y="40"/>
                    <a:pt x="11" y="39"/>
                    <a:pt x="9" y="39"/>
                  </a:cubicBezTo>
                  <a:cubicBezTo>
                    <a:pt x="7" y="38"/>
                    <a:pt x="6" y="38"/>
                    <a:pt x="5" y="37"/>
                  </a:cubicBezTo>
                  <a:cubicBezTo>
                    <a:pt x="3" y="36"/>
                    <a:pt x="2" y="34"/>
                    <a:pt x="2" y="33"/>
                  </a:cubicBezTo>
                  <a:cubicBezTo>
                    <a:pt x="1" y="31"/>
                    <a:pt x="0" y="29"/>
                    <a:pt x="0" y="27"/>
                  </a:cubicBezTo>
                  <a:cubicBezTo>
                    <a:pt x="0" y="24"/>
                    <a:pt x="1" y="23"/>
                    <a:pt x="2" y="21"/>
                  </a:cubicBezTo>
                  <a:cubicBezTo>
                    <a:pt x="2" y="20"/>
                    <a:pt x="3" y="18"/>
                    <a:pt x="5" y="17"/>
                  </a:cubicBezTo>
                  <a:cubicBezTo>
                    <a:pt x="6" y="16"/>
                    <a:pt x="8" y="15"/>
                    <a:pt x="10" y="15"/>
                  </a:cubicBezTo>
                  <a:cubicBezTo>
                    <a:pt x="12" y="14"/>
                    <a:pt x="14" y="14"/>
                    <a:pt x="16" y="14"/>
                  </a:cubicBezTo>
                  <a:cubicBezTo>
                    <a:pt x="18" y="14"/>
                    <a:pt x="19" y="14"/>
                    <a:pt x="21" y="15"/>
                  </a:cubicBezTo>
                  <a:cubicBezTo>
                    <a:pt x="22" y="15"/>
                    <a:pt x="23" y="15"/>
                    <a:pt x="24" y="16"/>
                  </a:cubicBezTo>
                  <a:cubicBezTo>
                    <a:pt x="24" y="13"/>
                    <a:pt x="24" y="13"/>
                    <a:pt x="24" y="13"/>
                  </a:cubicBezTo>
                  <a:cubicBezTo>
                    <a:pt x="24" y="11"/>
                    <a:pt x="24" y="9"/>
                    <a:pt x="22" y="8"/>
                  </a:cubicBezTo>
                  <a:cubicBezTo>
                    <a:pt x="21" y="7"/>
                    <a:pt x="19" y="6"/>
                    <a:pt x="17" y="6"/>
                  </a:cubicBezTo>
                  <a:cubicBezTo>
                    <a:pt x="15" y="6"/>
                    <a:pt x="13" y="6"/>
                    <a:pt x="12" y="7"/>
                  </a:cubicBezTo>
                  <a:cubicBezTo>
                    <a:pt x="10" y="7"/>
                    <a:pt x="9" y="8"/>
                    <a:pt x="7" y="9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6" y="2"/>
                    <a:pt x="8" y="1"/>
                    <a:pt x="10" y="0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19" y="0"/>
                    <a:pt x="21" y="0"/>
                    <a:pt x="23" y="0"/>
                  </a:cubicBezTo>
                  <a:cubicBezTo>
                    <a:pt x="25" y="1"/>
                    <a:pt x="26" y="2"/>
                    <a:pt x="28" y="3"/>
                  </a:cubicBezTo>
                  <a:cubicBezTo>
                    <a:pt x="29" y="4"/>
                    <a:pt x="30" y="5"/>
                    <a:pt x="31" y="7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2" y="39"/>
                    <a:pt x="32" y="39"/>
                    <a:pt x="32" y="39"/>
                  </a:cubicBezTo>
                  <a:lnTo>
                    <a:pt x="24" y="39"/>
                  </a:lnTo>
                  <a:close/>
                  <a:moveTo>
                    <a:pt x="24" y="22"/>
                  </a:moveTo>
                  <a:cubicBezTo>
                    <a:pt x="24" y="22"/>
                    <a:pt x="23" y="22"/>
                    <a:pt x="22" y="22"/>
                  </a:cubicBezTo>
                  <a:cubicBezTo>
                    <a:pt x="22" y="21"/>
                    <a:pt x="21" y="21"/>
                    <a:pt x="21" y="21"/>
                  </a:cubicBezTo>
                  <a:cubicBezTo>
                    <a:pt x="20" y="21"/>
                    <a:pt x="19" y="21"/>
                    <a:pt x="18" y="21"/>
                  </a:cubicBezTo>
                  <a:cubicBezTo>
                    <a:pt x="17" y="21"/>
                    <a:pt x="17" y="21"/>
                    <a:pt x="16" y="21"/>
                  </a:cubicBezTo>
                  <a:cubicBezTo>
                    <a:pt x="13" y="21"/>
                    <a:pt x="11" y="21"/>
                    <a:pt x="10" y="22"/>
                  </a:cubicBezTo>
                  <a:cubicBezTo>
                    <a:pt x="8" y="23"/>
                    <a:pt x="8" y="25"/>
                    <a:pt x="8" y="26"/>
                  </a:cubicBezTo>
                  <a:cubicBezTo>
                    <a:pt x="8" y="28"/>
                    <a:pt x="8" y="29"/>
                    <a:pt x="8" y="29"/>
                  </a:cubicBezTo>
                  <a:cubicBezTo>
                    <a:pt x="9" y="30"/>
                    <a:pt x="9" y="31"/>
                    <a:pt x="10" y="31"/>
                  </a:cubicBezTo>
                  <a:cubicBezTo>
                    <a:pt x="10" y="32"/>
                    <a:pt x="11" y="32"/>
                    <a:pt x="12" y="32"/>
                  </a:cubicBezTo>
                  <a:cubicBezTo>
                    <a:pt x="13" y="33"/>
                    <a:pt x="14" y="33"/>
                    <a:pt x="15" y="33"/>
                  </a:cubicBezTo>
                  <a:cubicBezTo>
                    <a:pt x="16" y="33"/>
                    <a:pt x="17" y="33"/>
                    <a:pt x="18" y="32"/>
                  </a:cubicBezTo>
                  <a:cubicBezTo>
                    <a:pt x="19" y="32"/>
                    <a:pt x="20" y="32"/>
                    <a:pt x="21" y="31"/>
                  </a:cubicBezTo>
                  <a:cubicBezTo>
                    <a:pt x="21" y="31"/>
                    <a:pt x="22" y="30"/>
                    <a:pt x="23" y="30"/>
                  </a:cubicBezTo>
                  <a:cubicBezTo>
                    <a:pt x="23" y="29"/>
                    <a:pt x="24" y="28"/>
                    <a:pt x="24" y="28"/>
                  </a:cubicBezTo>
                  <a:lnTo>
                    <a:pt x="24" y="2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5" name="Freeform 42">
              <a:extLst>
                <a:ext uri="{FF2B5EF4-FFF2-40B4-BE49-F238E27FC236}">
                  <a16:creationId xmlns:a16="http://schemas.microsoft.com/office/drawing/2014/main" id="{223989A0-E246-4806-AF7E-9D6C2B1DD48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77436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2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10 w 31"/>
                <a:gd name="T11" fmla="*/ 9 h 39"/>
                <a:gd name="T12" fmla="*/ 8 w 31"/>
                <a:gd name="T13" fmla="*/ 12 h 39"/>
                <a:gd name="T14" fmla="*/ 8 w 31"/>
                <a:gd name="T15" fmla="*/ 16 h 39"/>
                <a:gd name="T16" fmla="*/ 8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8 w 31"/>
                <a:gd name="T23" fmla="*/ 0 h 39"/>
                <a:gd name="T24" fmla="*/ 8 w 31"/>
                <a:gd name="T25" fmla="*/ 4 h 39"/>
                <a:gd name="T26" fmla="*/ 9 w 31"/>
                <a:gd name="T27" fmla="*/ 2 h 39"/>
                <a:gd name="T28" fmla="*/ 12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8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2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10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8" y="15"/>
                    <a:pt x="8" y="16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2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20" y="0"/>
                    <a:pt x="22" y="0"/>
                    <a:pt x="23" y="1"/>
                  </a:cubicBezTo>
                  <a:cubicBezTo>
                    <a:pt x="25" y="1"/>
                    <a:pt x="26" y="2"/>
                    <a:pt x="28" y="4"/>
                  </a:cubicBezTo>
                  <a:cubicBezTo>
                    <a:pt x="29" y="5"/>
                    <a:pt x="29" y="7"/>
                    <a:pt x="30" y="9"/>
                  </a:cubicBezTo>
                  <a:cubicBezTo>
                    <a:pt x="31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6" name="Freeform 43">
              <a:extLst>
                <a:ext uri="{FF2B5EF4-FFF2-40B4-BE49-F238E27FC236}">
                  <a16:creationId xmlns:a16="http://schemas.microsoft.com/office/drawing/2014/main" id="{5FED967A-F1ED-4489-A689-A9A49A2780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75084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0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3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6 w 29"/>
                <a:gd name="T55" fmla="*/ 24 h 40"/>
                <a:gd name="T56" fmla="*/ 13 w 29"/>
                <a:gd name="T57" fmla="*/ 22 h 40"/>
                <a:gd name="T58" fmla="*/ 7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1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2" y="6"/>
                    <a:pt x="11" y="7"/>
                    <a:pt x="10" y="7"/>
                  </a:cubicBezTo>
                  <a:cubicBezTo>
                    <a:pt x="9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1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8" y="25"/>
                    <a:pt x="18" y="24"/>
                    <a:pt x="16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7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2" y="15"/>
                    <a:pt x="2" y="14"/>
                  </a:cubicBezTo>
                  <a:cubicBezTo>
                    <a:pt x="2" y="13"/>
                    <a:pt x="1" y="12"/>
                    <a:pt x="1" y="10"/>
                  </a:cubicBezTo>
                  <a:cubicBezTo>
                    <a:pt x="1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7" name="Freeform 44">
              <a:extLst>
                <a:ext uri="{FF2B5EF4-FFF2-40B4-BE49-F238E27FC236}">
                  <a16:creationId xmlns:a16="http://schemas.microsoft.com/office/drawing/2014/main" id="{DA362954-FE74-40B7-AB98-CC8AC60FFC8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58782" y="6212575"/>
              <a:ext cx="122060" cy="99391"/>
            </a:xfrm>
            <a:custGeom>
              <a:avLst/>
              <a:gdLst>
                <a:gd name="T0" fmla="*/ 55 w 70"/>
                <a:gd name="T1" fmla="*/ 57 h 57"/>
                <a:gd name="T2" fmla="*/ 45 w 70"/>
                <a:gd name="T3" fmla="*/ 57 h 57"/>
                <a:gd name="T4" fmla="*/ 35 w 70"/>
                <a:gd name="T5" fmla="*/ 17 h 57"/>
                <a:gd name="T6" fmla="*/ 25 w 70"/>
                <a:gd name="T7" fmla="*/ 57 h 57"/>
                <a:gd name="T8" fmla="*/ 14 w 70"/>
                <a:gd name="T9" fmla="*/ 57 h 57"/>
                <a:gd name="T10" fmla="*/ 0 w 70"/>
                <a:gd name="T11" fmla="*/ 0 h 57"/>
                <a:gd name="T12" fmla="*/ 10 w 70"/>
                <a:gd name="T13" fmla="*/ 0 h 57"/>
                <a:gd name="T14" fmla="*/ 20 w 70"/>
                <a:gd name="T15" fmla="*/ 39 h 57"/>
                <a:gd name="T16" fmla="*/ 30 w 70"/>
                <a:gd name="T17" fmla="*/ 0 h 57"/>
                <a:gd name="T18" fmla="*/ 39 w 70"/>
                <a:gd name="T19" fmla="*/ 0 h 57"/>
                <a:gd name="T20" fmla="*/ 49 w 70"/>
                <a:gd name="T21" fmla="*/ 39 h 57"/>
                <a:gd name="T22" fmla="*/ 60 w 70"/>
                <a:gd name="T23" fmla="*/ 0 h 57"/>
                <a:gd name="T24" fmla="*/ 70 w 70"/>
                <a:gd name="T25" fmla="*/ 0 h 57"/>
                <a:gd name="T26" fmla="*/ 55 w 70"/>
                <a:gd name="T27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7">
                  <a:moveTo>
                    <a:pt x="55" y="57"/>
                  </a:moveTo>
                  <a:lnTo>
                    <a:pt x="45" y="57"/>
                  </a:lnTo>
                  <a:lnTo>
                    <a:pt x="35" y="17"/>
                  </a:lnTo>
                  <a:lnTo>
                    <a:pt x="25" y="57"/>
                  </a:lnTo>
                  <a:lnTo>
                    <a:pt x="14" y="57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0" y="39"/>
                  </a:lnTo>
                  <a:lnTo>
                    <a:pt x="30" y="0"/>
                  </a:lnTo>
                  <a:lnTo>
                    <a:pt x="39" y="0"/>
                  </a:lnTo>
                  <a:lnTo>
                    <a:pt x="49" y="39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8" name="Freeform 45">
              <a:extLst>
                <a:ext uri="{FF2B5EF4-FFF2-40B4-BE49-F238E27FC236}">
                  <a16:creationId xmlns:a16="http://schemas.microsoft.com/office/drawing/2014/main" id="{C1C7EF3F-CB28-4C69-901C-8F9F09C5B59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1913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9" name="Freeform 46">
              <a:extLst>
                <a:ext uri="{FF2B5EF4-FFF2-40B4-BE49-F238E27FC236}">
                  <a16:creationId xmlns:a16="http://schemas.microsoft.com/office/drawing/2014/main" id="{80D5AA14-D31C-42E8-B89F-2FCABF20400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95927" y="6212575"/>
              <a:ext cx="57543" cy="99391"/>
            </a:xfrm>
            <a:custGeom>
              <a:avLst/>
              <a:gdLst>
                <a:gd name="T0" fmla="*/ 21 w 23"/>
                <a:gd name="T1" fmla="*/ 8 h 39"/>
                <a:gd name="T2" fmla="*/ 18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6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0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0" name="Freeform 47">
              <a:extLst>
                <a:ext uri="{FF2B5EF4-FFF2-40B4-BE49-F238E27FC236}">
                  <a16:creationId xmlns:a16="http://schemas.microsoft.com/office/drawing/2014/main" id="{3894EB82-A456-47F8-BB06-FE894AF4B86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6494" y="6284068"/>
              <a:ext cx="29644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3 w 12"/>
                <a:gd name="T11" fmla="*/ 11 h 12"/>
                <a:gd name="T12" fmla="*/ 2 w 12"/>
                <a:gd name="T13" fmla="*/ 10 h 12"/>
                <a:gd name="T14" fmla="*/ 0 w 12"/>
                <a:gd name="T15" fmla="*/ 8 h 12"/>
                <a:gd name="T16" fmla="*/ 0 w 12"/>
                <a:gd name="T17" fmla="*/ 6 h 12"/>
                <a:gd name="T18" fmla="*/ 0 w 12"/>
                <a:gd name="T19" fmla="*/ 4 h 12"/>
                <a:gd name="T20" fmla="*/ 2 w 12"/>
                <a:gd name="T21" fmla="*/ 2 h 12"/>
                <a:gd name="T22" fmla="*/ 3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3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0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3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1" name="Freeform 48">
              <a:extLst>
                <a:ext uri="{FF2B5EF4-FFF2-40B4-BE49-F238E27FC236}">
                  <a16:creationId xmlns:a16="http://schemas.microsoft.com/office/drawing/2014/main" id="{A88F5C3F-FAE1-4A50-86D3-E9A1CAA89A9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388691"/>
              <a:ext cx="94161" cy="130778"/>
            </a:xfrm>
            <a:custGeom>
              <a:avLst/>
              <a:gdLst>
                <a:gd name="T0" fmla="*/ 32 w 54"/>
                <a:gd name="T1" fmla="*/ 12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2 h 75"/>
                <a:gd name="T8" fmla="*/ 0 w 54"/>
                <a:gd name="T9" fmla="*/ 12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2 h 75"/>
                <a:gd name="T16" fmla="*/ 32 w 54"/>
                <a:gd name="T17" fmla="*/ 12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2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2"/>
                  </a:lnTo>
                  <a:lnTo>
                    <a:pt x="0" y="12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2"/>
                  </a:lnTo>
                  <a:lnTo>
                    <a:pt x="32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2" name="Freeform 49">
              <a:extLst>
                <a:ext uri="{FF2B5EF4-FFF2-40B4-BE49-F238E27FC236}">
                  <a16:creationId xmlns:a16="http://schemas.microsoft.com/office/drawing/2014/main" id="{1EFCBDA7-FA42-4391-9872-95EB6DDEA68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383459"/>
              <a:ext cx="78468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9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1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7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7"/>
                    <a:pt x="9" y="17"/>
                  </a:cubicBezTo>
                  <a:cubicBezTo>
                    <a:pt x="10" y="16"/>
                    <a:pt x="10" y="16"/>
                    <a:pt x="11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3" name="Freeform 50">
              <a:extLst>
                <a:ext uri="{FF2B5EF4-FFF2-40B4-BE49-F238E27FC236}">
                  <a16:creationId xmlns:a16="http://schemas.microsoft.com/office/drawing/2014/main" id="{721D8C30-DB23-4A0B-8A74-BC467086477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418333"/>
              <a:ext cx="85443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7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3 w 33"/>
                <a:gd name="T73" fmla="*/ 8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9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2" y="32"/>
                    <a:pt x="23" y="32"/>
                    <a:pt x="23" y="32"/>
                  </a:cubicBezTo>
                  <a:cubicBezTo>
                    <a:pt x="24" y="31"/>
                    <a:pt x="25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1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5" y="13"/>
                  </a:cubicBezTo>
                  <a:cubicBezTo>
                    <a:pt x="24" y="12"/>
                    <a:pt x="24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4" name="Freeform 51">
              <a:extLst>
                <a:ext uri="{FF2B5EF4-FFF2-40B4-BE49-F238E27FC236}">
                  <a16:creationId xmlns:a16="http://schemas.microsoft.com/office/drawing/2014/main" id="{01AD00CA-8BC7-4B62-AC64-03851855A7A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383459"/>
              <a:ext cx="83698" cy="137753"/>
            </a:xfrm>
            <a:custGeom>
              <a:avLst/>
              <a:gdLst>
                <a:gd name="T0" fmla="*/ 33 w 33"/>
                <a:gd name="T1" fmla="*/ 35 h 54"/>
                <a:gd name="T2" fmla="*/ 31 w 33"/>
                <a:gd name="T3" fmla="*/ 43 h 54"/>
                <a:gd name="T4" fmla="*/ 28 w 33"/>
                <a:gd name="T5" fmla="*/ 49 h 54"/>
                <a:gd name="T6" fmla="*/ 23 w 33"/>
                <a:gd name="T7" fmla="*/ 53 h 54"/>
                <a:gd name="T8" fmla="*/ 17 w 33"/>
                <a:gd name="T9" fmla="*/ 54 h 54"/>
                <a:gd name="T10" fmla="*/ 12 w 33"/>
                <a:gd name="T11" fmla="*/ 53 h 54"/>
                <a:gd name="T12" fmla="*/ 8 w 33"/>
                <a:gd name="T13" fmla="*/ 50 h 54"/>
                <a:gd name="T14" fmla="*/ 8 w 33"/>
                <a:gd name="T15" fmla="*/ 53 h 54"/>
                <a:gd name="T16" fmla="*/ 0 w 33"/>
                <a:gd name="T17" fmla="*/ 53 h 54"/>
                <a:gd name="T18" fmla="*/ 0 w 33"/>
                <a:gd name="T19" fmla="*/ 4 h 54"/>
                <a:gd name="T20" fmla="*/ 8 w 33"/>
                <a:gd name="T21" fmla="*/ 0 h 54"/>
                <a:gd name="T22" fmla="*/ 8 w 33"/>
                <a:gd name="T23" fmla="*/ 19 h 54"/>
                <a:gd name="T24" fmla="*/ 10 w 33"/>
                <a:gd name="T25" fmla="*/ 17 h 54"/>
                <a:gd name="T26" fmla="*/ 12 w 33"/>
                <a:gd name="T27" fmla="*/ 16 h 54"/>
                <a:gd name="T28" fmla="*/ 14 w 33"/>
                <a:gd name="T29" fmla="*/ 14 h 54"/>
                <a:gd name="T30" fmla="*/ 18 w 33"/>
                <a:gd name="T31" fmla="*/ 14 h 54"/>
                <a:gd name="T32" fmla="*/ 24 w 33"/>
                <a:gd name="T33" fmla="*/ 15 h 54"/>
                <a:gd name="T34" fmla="*/ 28 w 33"/>
                <a:gd name="T35" fmla="*/ 19 h 54"/>
                <a:gd name="T36" fmla="*/ 31 w 33"/>
                <a:gd name="T37" fmla="*/ 25 h 54"/>
                <a:gd name="T38" fmla="*/ 33 w 33"/>
                <a:gd name="T39" fmla="*/ 35 h 54"/>
                <a:gd name="T40" fmla="*/ 25 w 33"/>
                <a:gd name="T41" fmla="*/ 35 h 54"/>
                <a:gd name="T42" fmla="*/ 23 w 33"/>
                <a:gd name="T43" fmla="*/ 24 h 54"/>
                <a:gd name="T44" fmla="*/ 16 w 33"/>
                <a:gd name="T45" fmla="*/ 21 h 54"/>
                <a:gd name="T46" fmla="*/ 14 w 33"/>
                <a:gd name="T47" fmla="*/ 21 h 54"/>
                <a:gd name="T48" fmla="*/ 11 w 33"/>
                <a:gd name="T49" fmla="*/ 23 h 54"/>
                <a:gd name="T50" fmla="*/ 9 w 33"/>
                <a:gd name="T51" fmla="*/ 24 h 54"/>
                <a:gd name="T52" fmla="*/ 8 w 33"/>
                <a:gd name="T53" fmla="*/ 26 h 54"/>
                <a:gd name="T54" fmla="*/ 8 w 33"/>
                <a:gd name="T55" fmla="*/ 42 h 54"/>
                <a:gd name="T56" fmla="*/ 9 w 33"/>
                <a:gd name="T57" fmla="*/ 44 h 54"/>
                <a:gd name="T58" fmla="*/ 11 w 33"/>
                <a:gd name="T59" fmla="*/ 45 h 54"/>
                <a:gd name="T60" fmla="*/ 14 w 33"/>
                <a:gd name="T61" fmla="*/ 47 h 54"/>
                <a:gd name="T62" fmla="*/ 17 w 33"/>
                <a:gd name="T63" fmla="*/ 47 h 54"/>
                <a:gd name="T64" fmla="*/ 23 w 33"/>
                <a:gd name="T65" fmla="*/ 44 h 54"/>
                <a:gd name="T66" fmla="*/ 25 w 33"/>
                <a:gd name="T67" fmla="*/ 35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4">
                  <a:moveTo>
                    <a:pt x="33" y="35"/>
                  </a:moveTo>
                  <a:cubicBezTo>
                    <a:pt x="33" y="38"/>
                    <a:pt x="32" y="41"/>
                    <a:pt x="31" y="43"/>
                  </a:cubicBezTo>
                  <a:cubicBezTo>
                    <a:pt x="30" y="46"/>
                    <a:pt x="29" y="48"/>
                    <a:pt x="28" y="49"/>
                  </a:cubicBezTo>
                  <a:cubicBezTo>
                    <a:pt x="27" y="51"/>
                    <a:pt x="25" y="52"/>
                    <a:pt x="23" y="53"/>
                  </a:cubicBezTo>
                  <a:cubicBezTo>
                    <a:pt x="21" y="54"/>
                    <a:pt x="19" y="54"/>
                    <a:pt x="17" y="54"/>
                  </a:cubicBezTo>
                  <a:cubicBezTo>
                    <a:pt x="16" y="54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7"/>
                    <a:pt x="10" y="17"/>
                  </a:cubicBezTo>
                  <a:cubicBezTo>
                    <a:pt x="11" y="16"/>
                    <a:pt x="11" y="16"/>
                    <a:pt x="12" y="16"/>
                  </a:cubicBezTo>
                  <a:cubicBezTo>
                    <a:pt x="13" y="15"/>
                    <a:pt x="13" y="15"/>
                    <a:pt x="14" y="14"/>
                  </a:cubicBezTo>
                  <a:cubicBezTo>
                    <a:pt x="15" y="14"/>
                    <a:pt x="16" y="14"/>
                    <a:pt x="18" y="14"/>
                  </a:cubicBezTo>
                  <a:cubicBezTo>
                    <a:pt x="20" y="14"/>
                    <a:pt x="22" y="14"/>
                    <a:pt x="24" y="15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30" y="21"/>
                    <a:pt x="31" y="23"/>
                    <a:pt x="31" y="25"/>
                  </a:cubicBezTo>
                  <a:cubicBezTo>
                    <a:pt x="32" y="28"/>
                    <a:pt x="33" y="31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0"/>
                    <a:pt x="24" y="27"/>
                    <a:pt x="23" y="24"/>
                  </a:cubicBezTo>
                  <a:cubicBezTo>
                    <a:pt x="21" y="22"/>
                    <a:pt x="19" y="21"/>
                    <a:pt x="16" y="21"/>
                  </a:cubicBezTo>
                  <a:cubicBezTo>
                    <a:pt x="15" y="21"/>
                    <a:pt x="15" y="21"/>
                    <a:pt x="14" y="21"/>
                  </a:cubicBezTo>
                  <a:cubicBezTo>
                    <a:pt x="13" y="22"/>
                    <a:pt x="12" y="22"/>
                    <a:pt x="11" y="23"/>
                  </a:cubicBezTo>
                  <a:cubicBezTo>
                    <a:pt x="11" y="23"/>
                    <a:pt x="10" y="24"/>
                    <a:pt x="9" y="24"/>
                  </a:cubicBezTo>
                  <a:cubicBezTo>
                    <a:pt x="9" y="25"/>
                    <a:pt x="8" y="25"/>
                    <a:pt x="8" y="26"/>
                  </a:cubicBezTo>
                  <a:cubicBezTo>
                    <a:pt x="8" y="42"/>
                    <a:pt x="8" y="42"/>
                    <a:pt x="8" y="42"/>
                  </a:cubicBezTo>
                  <a:cubicBezTo>
                    <a:pt x="8" y="43"/>
                    <a:pt x="9" y="43"/>
                    <a:pt x="9" y="44"/>
                  </a:cubicBezTo>
                  <a:cubicBezTo>
                    <a:pt x="10" y="44"/>
                    <a:pt x="11" y="45"/>
                    <a:pt x="11" y="45"/>
                  </a:cubicBezTo>
                  <a:cubicBezTo>
                    <a:pt x="12" y="46"/>
                    <a:pt x="13" y="46"/>
                    <a:pt x="14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9" y="47"/>
                    <a:pt x="21" y="46"/>
                    <a:pt x="23" y="44"/>
                  </a:cubicBezTo>
                  <a:cubicBezTo>
                    <a:pt x="24" y="42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5" name="Freeform 52">
              <a:extLst>
                <a:ext uri="{FF2B5EF4-FFF2-40B4-BE49-F238E27FC236}">
                  <a16:creationId xmlns:a16="http://schemas.microsoft.com/office/drawing/2014/main" id="{BC957590-E3D7-48BF-A1DF-73DCD767385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1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4" y="31"/>
                    <a:pt x="24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6" name="Freeform 53">
              <a:extLst>
                <a:ext uri="{FF2B5EF4-FFF2-40B4-BE49-F238E27FC236}">
                  <a16:creationId xmlns:a16="http://schemas.microsoft.com/office/drawing/2014/main" id="{9BC2125B-AF0E-4411-AFA7-3F79B873BFB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1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2" y="54"/>
                    <a:pt x="11" y="54"/>
                  </a:cubicBezTo>
                  <a:cubicBezTo>
                    <a:pt x="10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2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7" name="Freeform 54">
              <a:extLst>
                <a:ext uri="{FF2B5EF4-FFF2-40B4-BE49-F238E27FC236}">
                  <a16:creationId xmlns:a16="http://schemas.microsoft.com/office/drawing/2014/main" id="{1E5BE33C-9675-423A-802C-0A789DB1851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8" name="Freeform 55">
              <a:extLst>
                <a:ext uri="{FF2B5EF4-FFF2-40B4-BE49-F238E27FC236}">
                  <a16:creationId xmlns:a16="http://schemas.microsoft.com/office/drawing/2014/main" id="{FB04A8AC-9DA2-4FB3-985A-DD8E6439135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0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2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0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3" y="31"/>
                    <a:pt x="24" y="31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0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7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9" name="Freeform 56">
              <a:extLst>
                <a:ext uri="{FF2B5EF4-FFF2-40B4-BE49-F238E27FC236}">
                  <a16:creationId xmlns:a16="http://schemas.microsoft.com/office/drawing/2014/main" id="{F365BB87-C861-4F40-A844-477BAA1EAA5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418333"/>
              <a:ext cx="55799" cy="101135"/>
            </a:xfrm>
            <a:custGeom>
              <a:avLst/>
              <a:gdLst>
                <a:gd name="T0" fmla="*/ 20 w 22"/>
                <a:gd name="T1" fmla="*/ 9 h 39"/>
                <a:gd name="T2" fmla="*/ 18 w 22"/>
                <a:gd name="T3" fmla="*/ 8 h 39"/>
                <a:gd name="T4" fmla="*/ 15 w 22"/>
                <a:gd name="T5" fmla="*/ 7 h 39"/>
                <a:gd name="T6" fmla="*/ 9 w 22"/>
                <a:gd name="T7" fmla="*/ 10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1 h 39"/>
                <a:gd name="T16" fmla="*/ 7 w 22"/>
                <a:gd name="T17" fmla="*/ 1 h 39"/>
                <a:gd name="T18" fmla="*/ 7 w 22"/>
                <a:gd name="T19" fmla="*/ 5 h 39"/>
                <a:gd name="T20" fmla="*/ 9 w 22"/>
                <a:gd name="T21" fmla="*/ 3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1 h 39"/>
                <a:gd name="T30" fmla="*/ 22 w 22"/>
                <a:gd name="T31" fmla="*/ 2 h 39"/>
                <a:gd name="T32" fmla="*/ 20 w 22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7" y="8"/>
                    <a:pt x="16" y="7"/>
                    <a:pt x="15" y="7"/>
                  </a:cubicBezTo>
                  <a:cubicBezTo>
                    <a:pt x="12" y="7"/>
                    <a:pt x="10" y="8"/>
                    <a:pt x="9" y="10"/>
                  </a:cubicBezTo>
                  <a:cubicBezTo>
                    <a:pt x="8" y="12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8" y="4"/>
                    <a:pt x="8" y="3"/>
                    <a:pt x="9" y="3"/>
                  </a:cubicBezTo>
                  <a:cubicBezTo>
                    <a:pt x="9" y="2"/>
                    <a:pt x="10" y="2"/>
                    <a:pt x="11" y="1"/>
                  </a:cubicBezTo>
                  <a:cubicBezTo>
                    <a:pt x="11" y="1"/>
                    <a:pt x="12" y="1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1"/>
                  </a:cubicBezTo>
                  <a:cubicBezTo>
                    <a:pt x="21" y="1"/>
                    <a:pt x="22" y="1"/>
                    <a:pt x="22" y="2"/>
                  </a:cubicBezTo>
                  <a:lnTo>
                    <a:pt x="20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0" name="Freeform 57">
              <a:extLst>
                <a:ext uri="{FF2B5EF4-FFF2-40B4-BE49-F238E27FC236}">
                  <a16:creationId xmlns:a16="http://schemas.microsoft.com/office/drawing/2014/main" id="{8B7E2806-AAFA-45B5-B801-55C79A92779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1" name="Freeform 58">
              <a:extLst>
                <a:ext uri="{FF2B5EF4-FFF2-40B4-BE49-F238E27FC236}">
                  <a16:creationId xmlns:a16="http://schemas.microsoft.com/office/drawing/2014/main" id="{7A49B80F-B4C0-4F31-9238-8123D3E20D1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383459"/>
              <a:ext cx="80211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10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2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8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7"/>
                    <a:pt x="9" y="17"/>
                  </a:cubicBezTo>
                  <a:cubicBezTo>
                    <a:pt x="10" y="16"/>
                    <a:pt x="11" y="16"/>
                    <a:pt x="12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2" name="Freeform 59">
              <a:extLst>
                <a:ext uri="{FF2B5EF4-FFF2-40B4-BE49-F238E27FC236}">
                  <a16:creationId xmlns:a16="http://schemas.microsoft.com/office/drawing/2014/main" id="{9C60C45F-865F-4118-A4B0-174C696B472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8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2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6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1 w 33"/>
                <a:gd name="T69" fmla="*/ 8 h 40"/>
                <a:gd name="T70" fmla="*/ 17 w 33"/>
                <a:gd name="T71" fmla="*/ 7 h 40"/>
                <a:gd name="T72" fmla="*/ 13 w 33"/>
                <a:gd name="T73" fmla="*/ 8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6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10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3" y="32"/>
                    <a:pt x="23" y="32"/>
                    <a:pt x="24" y="32"/>
                  </a:cubicBezTo>
                  <a:cubicBezTo>
                    <a:pt x="24" y="31"/>
                    <a:pt x="25" y="31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7" y="38"/>
                    <a:pt x="26" y="38"/>
                    <a:pt x="25" y="39"/>
                  </a:cubicBezTo>
                  <a:cubicBezTo>
                    <a:pt x="24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4" y="40"/>
                    <a:pt x="12" y="39"/>
                  </a:cubicBezTo>
                  <a:cubicBezTo>
                    <a:pt x="11" y="39"/>
                    <a:pt x="10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4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5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6" y="17"/>
                  </a:moveTo>
                  <a:cubicBezTo>
                    <a:pt x="26" y="15"/>
                    <a:pt x="25" y="14"/>
                    <a:pt x="25" y="13"/>
                  </a:cubicBezTo>
                  <a:cubicBezTo>
                    <a:pt x="25" y="12"/>
                    <a:pt x="24" y="11"/>
                    <a:pt x="23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20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6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3" name="Freeform 60">
              <a:extLst>
                <a:ext uri="{FF2B5EF4-FFF2-40B4-BE49-F238E27FC236}">
                  <a16:creationId xmlns:a16="http://schemas.microsoft.com/office/drawing/2014/main" id="{15FBF980-B96C-472B-A46B-A731CA164E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7435" y="6421821"/>
              <a:ext cx="122060" cy="97648"/>
            </a:xfrm>
            <a:custGeom>
              <a:avLst/>
              <a:gdLst>
                <a:gd name="T0" fmla="*/ 56 w 70"/>
                <a:gd name="T1" fmla="*/ 56 h 56"/>
                <a:gd name="T2" fmla="*/ 46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5 w 70"/>
                <a:gd name="T9" fmla="*/ 56 h 56"/>
                <a:gd name="T10" fmla="*/ 0 w 70"/>
                <a:gd name="T11" fmla="*/ 0 h 56"/>
                <a:gd name="T12" fmla="*/ 10 w 70"/>
                <a:gd name="T13" fmla="*/ 0 h 56"/>
                <a:gd name="T14" fmla="*/ 21 w 70"/>
                <a:gd name="T15" fmla="*/ 38 h 56"/>
                <a:gd name="T16" fmla="*/ 31 w 70"/>
                <a:gd name="T17" fmla="*/ 0 h 56"/>
                <a:gd name="T18" fmla="*/ 40 w 70"/>
                <a:gd name="T19" fmla="*/ 0 h 56"/>
                <a:gd name="T20" fmla="*/ 50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6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6" y="56"/>
                  </a:moveTo>
                  <a:lnTo>
                    <a:pt x="46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5" y="56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1" y="38"/>
                  </a:lnTo>
                  <a:lnTo>
                    <a:pt x="31" y="0"/>
                  </a:lnTo>
                  <a:lnTo>
                    <a:pt x="40" y="0"/>
                  </a:lnTo>
                  <a:lnTo>
                    <a:pt x="50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6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4" name="Freeform 61">
              <a:extLst>
                <a:ext uri="{FF2B5EF4-FFF2-40B4-BE49-F238E27FC236}">
                  <a16:creationId xmlns:a16="http://schemas.microsoft.com/office/drawing/2014/main" id="{64F1DD18-05EE-4F9F-9E6B-E03C4C500F2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859957" y="6418333"/>
              <a:ext cx="87186" cy="102879"/>
            </a:xfrm>
            <a:custGeom>
              <a:avLst/>
              <a:gdLst>
                <a:gd name="T0" fmla="*/ 34 w 34"/>
                <a:gd name="T1" fmla="*/ 20 h 40"/>
                <a:gd name="T2" fmla="*/ 33 w 34"/>
                <a:gd name="T3" fmla="*/ 28 h 40"/>
                <a:gd name="T4" fmla="*/ 29 w 34"/>
                <a:gd name="T5" fmla="*/ 35 h 40"/>
                <a:gd name="T6" fmla="*/ 24 w 34"/>
                <a:gd name="T7" fmla="*/ 39 h 40"/>
                <a:gd name="T8" fmla="*/ 17 w 34"/>
                <a:gd name="T9" fmla="*/ 40 h 40"/>
                <a:gd name="T10" fmla="*/ 10 w 34"/>
                <a:gd name="T11" fmla="*/ 39 h 40"/>
                <a:gd name="T12" fmla="*/ 5 w 34"/>
                <a:gd name="T13" fmla="*/ 35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2 h 40"/>
                <a:gd name="T20" fmla="*/ 5 w 34"/>
                <a:gd name="T21" fmla="*/ 5 h 40"/>
                <a:gd name="T22" fmla="*/ 11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2 h 40"/>
                <a:gd name="T32" fmla="*/ 34 w 34"/>
                <a:gd name="T33" fmla="*/ 20 h 40"/>
                <a:gd name="T34" fmla="*/ 27 w 34"/>
                <a:gd name="T35" fmla="*/ 20 h 40"/>
                <a:gd name="T36" fmla="*/ 26 w 34"/>
                <a:gd name="T37" fmla="*/ 15 h 40"/>
                <a:gd name="T38" fmla="*/ 24 w 34"/>
                <a:gd name="T39" fmla="*/ 11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1 h 40"/>
                <a:gd name="T48" fmla="*/ 8 w 34"/>
                <a:gd name="T49" fmla="*/ 15 h 40"/>
                <a:gd name="T50" fmla="*/ 8 w 34"/>
                <a:gd name="T51" fmla="*/ 20 h 40"/>
                <a:gd name="T52" fmla="*/ 8 w 34"/>
                <a:gd name="T53" fmla="*/ 26 h 40"/>
                <a:gd name="T54" fmla="*/ 10 w 34"/>
                <a:gd name="T55" fmla="*/ 30 h 40"/>
                <a:gd name="T56" fmla="*/ 13 w 34"/>
                <a:gd name="T57" fmla="*/ 32 h 40"/>
                <a:gd name="T58" fmla="*/ 17 w 34"/>
                <a:gd name="T59" fmla="*/ 33 h 40"/>
                <a:gd name="T60" fmla="*/ 21 w 34"/>
                <a:gd name="T61" fmla="*/ 32 h 40"/>
                <a:gd name="T62" fmla="*/ 24 w 34"/>
                <a:gd name="T63" fmla="*/ 29 h 40"/>
                <a:gd name="T64" fmla="*/ 26 w 34"/>
                <a:gd name="T65" fmla="*/ 25 h 40"/>
                <a:gd name="T66" fmla="*/ 27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20"/>
                  </a:moveTo>
                  <a:cubicBezTo>
                    <a:pt x="34" y="23"/>
                    <a:pt x="34" y="26"/>
                    <a:pt x="33" y="28"/>
                  </a:cubicBezTo>
                  <a:cubicBezTo>
                    <a:pt x="32" y="31"/>
                    <a:pt x="31" y="33"/>
                    <a:pt x="29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2" y="40"/>
                    <a:pt x="10" y="39"/>
                  </a:cubicBezTo>
                  <a:cubicBezTo>
                    <a:pt x="8" y="38"/>
                    <a:pt x="6" y="36"/>
                    <a:pt x="5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1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7" y="4"/>
                    <a:pt x="8" y="2"/>
                    <a:pt x="11" y="1"/>
                  </a:cubicBezTo>
                  <a:cubicBezTo>
                    <a:pt x="13" y="1"/>
                    <a:pt x="15" y="0"/>
                    <a:pt x="17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4" y="17"/>
                    <a:pt x="34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3" y="10"/>
                    <a:pt x="22" y="9"/>
                    <a:pt x="21" y="8"/>
                  </a:cubicBezTo>
                  <a:cubicBezTo>
                    <a:pt x="20" y="8"/>
                    <a:pt x="18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9" y="12"/>
                    <a:pt x="9" y="13"/>
                    <a:pt x="8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8" y="26"/>
                  </a:cubicBezTo>
                  <a:cubicBezTo>
                    <a:pt x="9" y="27"/>
                    <a:pt x="10" y="28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5" name="Freeform 62">
              <a:extLst>
                <a:ext uri="{FF2B5EF4-FFF2-40B4-BE49-F238E27FC236}">
                  <a16:creationId xmlns:a16="http://schemas.microsoft.com/office/drawing/2014/main" id="{6051CC00-BFF2-4334-9855-62AD588546F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8067" y="6418333"/>
              <a:ext cx="57543" cy="101135"/>
            </a:xfrm>
            <a:custGeom>
              <a:avLst/>
              <a:gdLst>
                <a:gd name="T0" fmla="*/ 21 w 23"/>
                <a:gd name="T1" fmla="*/ 9 h 39"/>
                <a:gd name="T2" fmla="*/ 18 w 23"/>
                <a:gd name="T3" fmla="*/ 8 h 39"/>
                <a:gd name="T4" fmla="*/ 15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9 w 23"/>
                <a:gd name="T21" fmla="*/ 3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8" y="8"/>
                    <a:pt x="17" y="7"/>
                    <a:pt x="15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8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9" y="3"/>
                  </a:cubicBezTo>
                  <a:cubicBezTo>
                    <a:pt x="10" y="2"/>
                    <a:pt x="11" y="2"/>
                    <a:pt x="11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1"/>
                  </a:cubicBezTo>
                  <a:cubicBezTo>
                    <a:pt x="21" y="1"/>
                    <a:pt x="22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6" name="Freeform 63">
              <a:extLst>
                <a:ext uri="{FF2B5EF4-FFF2-40B4-BE49-F238E27FC236}">
                  <a16:creationId xmlns:a16="http://schemas.microsoft.com/office/drawing/2014/main" id="{905DD261-B224-46ED-8CEE-E8D180BA4B7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3046" y="6383459"/>
              <a:ext cx="19181" cy="136010"/>
            </a:xfrm>
            <a:custGeom>
              <a:avLst/>
              <a:gdLst>
                <a:gd name="T0" fmla="*/ 0 w 11"/>
                <a:gd name="T1" fmla="*/ 78 h 78"/>
                <a:gd name="T2" fmla="*/ 0 w 11"/>
                <a:gd name="T3" fmla="*/ 6 h 78"/>
                <a:gd name="T4" fmla="*/ 11 w 11"/>
                <a:gd name="T5" fmla="*/ 0 h 78"/>
                <a:gd name="T6" fmla="*/ 11 w 11"/>
                <a:gd name="T7" fmla="*/ 78 h 78"/>
                <a:gd name="T8" fmla="*/ 0 w 11"/>
                <a:gd name="T9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78">
                  <a:moveTo>
                    <a:pt x="0" y="78"/>
                  </a:moveTo>
                  <a:lnTo>
                    <a:pt x="0" y="6"/>
                  </a:lnTo>
                  <a:lnTo>
                    <a:pt x="11" y="0"/>
                  </a:lnTo>
                  <a:lnTo>
                    <a:pt x="11" y="78"/>
                  </a:lnTo>
                  <a:lnTo>
                    <a:pt x="0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7" name="Freeform 64">
              <a:extLst>
                <a:ext uri="{FF2B5EF4-FFF2-40B4-BE49-F238E27FC236}">
                  <a16:creationId xmlns:a16="http://schemas.microsoft.com/office/drawing/2014/main" id="{A23129DF-0296-4CA9-9723-124682F0A70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084896" y="6383459"/>
              <a:ext cx="80211" cy="137753"/>
            </a:xfrm>
            <a:custGeom>
              <a:avLst/>
              <a:gdLst>
                <a:gd name="T0" fmla="*/ 24 w 32"/>
                <a:gd name="T1" fmla="*/ 53 h 54"/>
                <a:gd name="T2" fmla="*/ 24 w 32"/>
                <a:gd name="T3" fmla="*/ 50 h 54"/>
                <a:gd name="T4" fmla="*/ 22 w 32"/>
                <a:gd name="T5" fmla="*/ 51 h 54"/>
                <a:gd name="T6" fmla="*/ 20 w 32"/>
                <a:gd name="T7" fmla="*/ 53 h 54"/>
                <a:gd name="T8" fmla="*/ 17 w 32"/>
                <a:gd name="T9" fmla="*/ 54 h 54"/>
                <a:gd name="T10" fmla="*/ 14 w 32"/>
                <a:gd name="T11" fmla="*/ 54 h 54"/>
                <a:gd name="T12" fmla="*/ 9 w 32"/>
                <a:gd name="T13" fmla="*/ 53 h 54"/>
                <a:gd name="T14" fmla="*/ 4 w 32"/>
                <a:gd name="T15" fmla="*/ 49 h 54"/>
                <a:gd name="T16" fmla="*/ 1 w 32"/>
                <a:gd name="T17" fmla="*/ 43 h 54"/>
                <a:gd name="T18" fmla="*/ 0 w 32"/>
                <a:gd name="T19" fmla="*/ 33 h 54"/>
                <a:gd name="T20" fmla="*/ 1 w 32"/>
                <a:gd name="T21" fmla="*/ 25 h 54"/>
                <a:gd name="T22" fmla="*/ 4 w 32"/>
                <a:gd name="T23" fmla="*/ 19 h 54"/>
                <a:gd name="T24" fmla="*/ 9 w 32"/>
                <a:gd name="T25" fmla="*/ 15 h 54"/>
                <a:gd name="T26" fmla="*/ 15 w 32"/>
                <a:gd name="T27" fmla="*/ 14 h 54"/>
                <a:gd name="T28" fmla="*/ 18 w 32"/>
                <a:gd name="T29" fmla="*/ 14 h 54"/>
                <a:gd name="T30" fmla="*/ 20 w 32"/>
                <a:gd name="T31" fmla="*/ 15 h 54"/>
                <a:gd name="T32" fmla="*/ 22 w 32"/>
                <a:gd name="T33" fmla="*/ 17 h 54"/>
                <a:gd name="T34" fmla="*/ 24 w 32"/>
                <a:gd name="T35" fmla="*/ 18 h 54"/>
                <a:gd name="T36" fmla="*/ 24 w 32"/>
                <a:gd name="T37" fmla="*/ 4 h 54"/>
                <a:gd name="T38" fmla="*/ 32 w 32"/>
                <a:gd name="T39" fmla="*/ 0 h 54"/>
                <a:gd name="T40" fmla="*/ 32 w 32"/>
                <a:gd name="T41" fmla="*/ 53 h 54"/>
                <a:gd name="T42" fmla="*/ 24 w 32"/>
                <a:gd name="T43" fmla="*/ 53 h 54"/>
                <a:gd name="T44" fmla="*/ 24 w 32"/>
                <a:gd name="T45" fmla="*/ 26 h 54"/>
                <a:gd name="T46" fmla="*/ 23 w 32"/>
                <a:gd name="T47" fmla="*/ 24 h 54"/>
                <a:gd name="T48" fmla="*/ 21 w 32"/>
                <a:gd name="T49" fmla="*/ 23 h 54"/>
                <a:gd name="T50" fmla="*/ 18 w 32"/>
                <a:gd name="T51" fmla="*/ 22 h 54"/>
                <a:gd name="T52" fmla="*/ 15 w 32"/>
                <a:gd name="T53" fmla="*/ 21 h 54"/>
                <a:gd name="T54" fmla="*/ 9 w 32"/>
                <a:gd name="T55" fmla="*/ 24 h 54"/>
                <a:gd name="T56" fmla="*/ 7 w 32"/>
                <a:gd name="T57" fmla="*/ 33 h 54"/>
                <a:gd name="T58" fmla="*/ 8 w 32"/>
                <a:gd name="T59" fmla="*/ 39 h 54"/>
                <a:gd name="T60" fmla="*/ 9 w 32"/>
                <a:gd name="T61" fmla="*/ 44 h 54"/>
                <a:gd name="T62" fmla="*/ 12 w 32"/>
                <a:gd name="T63" fmla="*/ 46 h 54"/>
                <a:gd name="T64" fmla="*/ 16 w 32"/>
                <a:gd name="T65" fmla="*/ 47 h 54"/>
                <a:gd name="T66" fmla="*/ 18 w 32"/>
                <a:gd name="T67" fmla="*/ 47 h 54"/>
                <a:gd name="T68" fmla="*/ 21 w 32"/>
                <a:gd name="T69" fmla="*/ 46 h 54"/>
                <a:gd name="T70" fmla="*/ 23 w 32"/>
                <a:gd name="T71" fmla="*/ 44 h 54"/>
                <a:gd name="T72" fmla="*/ 24 w 32"/>
                <a:gd name="T73" fmla="*/ 42 h 54"/>
                <a:gd name="T74" fmla="*/ 24 w 32"/>
                <a:gd name="T75" fmla="*/ 2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2" h="54">
                  <a:moveTo>
                    <a:pt x="24" y="53"/>
                  </a:moveTo>
                  <a:cubicBezTo>
                    <a:pt x="24" y="50"/>
                    <a:pt x="24" y="50"/>
                    <a:pt x="24" y="50"/>
                  </a:cubicBezTo>
                  <a:cubicBezTo>
                    <a:pt x="24" y="50"/>
                    <a:pt x="23" y="51"/>
                    <a:pt x="22" y="51"/>
                  </a:cubicBezTo>
                  <a:cubicBezTo>
                    <a:pt x="21" y="52"/>
                    <a:pt x="21" y="52"/>
                    <a:pt x="20" y="53"/>
                  </a:cubicBezTo>
                  <a:cubicBezTo>
                    <a:pt x="19" y="53"/>
                    <a:pt x="18" y="54"/>
                    <a:pt x="17" y="54"/>
                  </a:cubicBezTo>
                  <a:cubicBezTo>
                    <a:pt x="16" y="54"/>
                    <a:pt x="15" y="54"/>
                    <a:pt x="14" y="54"/>
                  </a:cubicBezTo>
                  <a:cubicBezTo>
                    <a:pt x="12" y="54"/>
                    <a:pt x="10" y="54"/>
                    <a:pt x="9" y="53"/>
                  </a:cubicBezTo>
                  <a:cubicBezTo>
                    <a:pt x="7" y="52"/>
                    <a:pt x="5" y="51"/>
                    <a:pt x="4" y="49"/>
                  </a:cubicBezTo>
                  <a:cubicBezTo>
                    <a:pt x="3" y="48"/>
                    <a:pt x="1" y="45"/>
                    <a:pt x="1" y="43"/>
                  </a:cubicBezTo>
                  <a:cubicBezTo>
                    <a:pt x="0" y="40"/>
                    <a:pt x="0" y="37"/>
                    <a:pt x="0" y="33"/>
                  </a:cubicBezTo>
                  <a:cubicBezTo>
                    <a:pt x="0" y="30"/>
                    <a:pt x="0" y="27"/>
                    <a:pt x="1" y="25"/>
                  </a:cubicBezTo>
                  <a:cubicBezTo>
                    <a:pt x="2" y="22"/>
                    <a:pt x="3" y="20"/>
                    <a:pt x="4" y="19"/>
                  </a:cubicBezTo>
                  <a:cubicBezTo>
                    <a:pt x="6" y="17"/>
                    <a:pt x="7" y="16"/>
                    <a:pt x="9" y="15"/>
                  </a:cubicBezTo>
                  <a:cubicBezTo>
                    <a:pt x="11" y="14"/>
                    <a:pt x="13" y="14"/>
                    <a:pt x="15" y="14"/>
                  </a:cubicBezTo>
                  <a:cubicBezTo>
                    <a:pt x="16" y="14"/>
                    <a:pt x="17" y="14"/>
                    <a:pt x="18" y="14"/>
                  </a:cubicBezTo>
                  <a:cubicBezTo>
                    <a:pt x="18" y="15"/>
                    <a:pt x="19" y="15"/>
                    <a:pt x="20" y="15"/>
                  </a:cubicBezTo>
                  <a:cubicBezTo>
                    <a:pt x="21" y="16"/>
                    <a:pt x="22" y="16"/>
                    <a:pt x="22" y="17"/>
                  </a:cubicBezTo>
                  <a:cubicBezTo>
                    <a:pt x="23" y="17"/>
                    <a:pt x="24" y="18"/>
                    <a:pt x="24" y="18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53"/>
                    <a:pt x="32" y="53"/>
                    <a:pt x="32" y="53"/>
                  </a:cubicBezTo>
                  <a:lnTo>
                    <a:pt x="24" y="53"/>
                  </a:lnTo>
                  <a:close/>
                  <a:moveTo>
                    <a:pt x="24" y="26"/>
                  </a:moveTo>
                  <a:cubicBezTo>
                    <a:pt x="24" y="26"/>
                    <a:pt x="23" y="25"/>
                    <a:pt x="23" y="24"/>
                  </a:cubicBezTo>
                  <a:cubicBezTo>
                    <a:pt x="22" y="24"/>
                    <a:pt x="22" y="23"/>
                    <a:pt x="21" y="23"/>
                  </a:cubicBezTo>
                  <a:cubicBezTo>
                    <a:pt x="20" y="22"/>
                    <a:pt x="19" y="22"/>
                    <a:pt x="18" y="22"/>
                  </a:cubicBezTo>
                  <a:cubicBezTo>
                    <a:pt x="17" y="21"/>
                    <a:pt x="16" y="21"/>
                    <a:pt x="15" y="21"/>
                  </a:cubicBezTo>
                  <a:cubicBezTo>
                    <a:pt x="13" y="21"/>
                    <a:pt x="11" y="22"/>
                    <a:pt x="9" y="24"/>
                  </a:cubicBezTo>
                  <a:cubicBezTo>
                    <a:pt x="8" y="26"/>
                    <a:pt x="7" y="29"/>
                    <a:pt x="7" y="33"/>
                  </a:cubicBezTo>
                  <a:cubicBezTo>
                    <a:pt x="7" y="36"/>
                    <a:pt x="7" y="38"/>
                    <a:pt x="8" y="39"/>
                  </a:cubicBezTo>
                  <a:cubicBezTo>
                    <a:pt x="8" y="41"/>
                    <a:pt x="9" y="43"/>
                    <a:pt x="9" y="44"/>
                  </a:cubicBezTo>
                  <a:cubicBezTo>
                    <a:pt x="10" y="45"/>
                    <a:pt x="11" y="46"/>
                    <a:pt x="12" y="46"/>
                  </a:cubicBezTo>
                  <a:cubicBezTo>
                    <a:pt x="13" y="47"/>
                    <a:pt x="14" y="47"/>
                    <a:pt x="16" y="47"/>
                  </a:cubicBezTo>
                  <a:cubicBezTo>
                    <a:pt x="17" y="47"/>
                    <a:pt x="18" y="47"/>
                    <a:pt x="18" y="47"/>
                  </a:cubicBezTo>
                  <a:cubicBezTo>
                    <a:pt x="19" y="46"/>
                    <a:pt x="20" y="46"/>
                    <a:pt x="21" y="46"/>
                  </a:cubicBezTo>
                  <a:cubicBezTo>
                    <a:pt x="21" y="45"/>
                    <a:pt x="22" y="45"/>
                    <a:pt x="23" y="44"/>
                  </a:cubicBezTo>
                  <a:cubicBezTo>
                    <a:pt x="23" y="43"/>
                    <a:pt x="24" y="43"/>
                    <a:pt x="24" y="42"/>
                  </a:cubicBezTo>
                  <a:lnTo>
                    <a:pt x="24" y="2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8" name="Freeform 65">
              <a:extLst>
                <a:ext uri="{FF2B5EF4-FFF2-40B4-BE49-F238E27FC236}">
                  <a16:creationId xmlns:a16="http://schemas.microsoft.com/office/drawing/2014/main" id="{A2A2BF8E-DA3A-4AC0-B7EB-7CAABFC9E69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29624" y="6421821"/>
              <a:ext cx="122060" cy="97648"/>
            </a:xfrm>
            <a:custGeom>
              <a:avLst/>
              <a:gdLst>
                <a:gd name="T0" fmla="*/ 55 w 70"/>
                <a:gd name="T1" fmla="*/ 56 h 56"/>
                <a:gd name="T2" fmla="*/ 45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6 w 70"/>
                <a:gd name="T9" fmla="*/ 56 h 56"/>
                <a:gd name="T10" fmla="*/ 0 w 70"/>
                <a:gd name="T11" fmla="*/ 0 h 56"/>
                <a:gd name="T12" fmla="*/ 12 w 70"/>
                <a:gd name="T13" fmla="*/ 0 h 56"/>
                <a:gd name="T14" fmla="*/ 20 w 70"/>
                <a:gd name="T15" fmla="*/ 38 h 56"/>
                <a:gd name="T16" fmla="*/ 31 w 70"/>
                <a:gd name="T17" fmla="*/ 0 h 56"/>
                <a:gd name="T18" fmla="*/ 39 w 70"/>
                <a:gd name="T19" fmla="*/ 0 h 56"/>
                <a:gd name="T20" fmla="*/ 51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5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5" y="56"/>
                  </a:moveTo>
                  <a:lnTo>
                    <a:pt x="45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6" y="56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0" y="38"/>
                  </a:lnTo>
                  <a:lnTo>
                    <a:pt x="31" y="0"/>
                  </a:lnTo>
                  <a:lnTo>
                    <a:pt x="39" y="0"/>
                  </a:lnTo>
                  <a:lnTo>
                    <a:pt x="51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9" name="Freeform 66">
              <a:extLst>
                <a:ext uri="{FF2B5EF4-FFF2-40B4-BE49-F238E27FC236}">
                  <a16:creationId xmlns:a16="http://schemas.microsoft.com/office/drawing/2014/main" id="{BEBFC1A4-92B9-418F-A0A9-2E210A37BCF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62147" y="6418333"/>
              <a:ext cx="88930" cy="102879"/>
            </a:xfrm>
            <a:custGeom>
              <a:avLst/>
              <a:gdLst>
                <a:gd name="T0" fmla="*/ 35 w 35"/>
                <a:gd name="T1" fmla="*/ 20 h 40"/>
                <a:gd name="T2" fmla="*/ 33 w 35"/>
                <a:gd name="T3" fmla="*/ 28 h 40"/>
                <a:gd name="T4" fmla="*/ 30 w 35"/>
                <a:gd name="T5" fmla="*/ 35 h 40"/>
                <a:gd name="T6" fmla="*/ 24 w 35"/>
                <a:gd name="T7" fmla="*/ 39 h 40"/>
                <a:gd name="T8" fmla="*/ 17 w 35"/>
                <a:gd name="T9" fmla="*/ 40 h 40"/>
                <a:gd name="T10" fmla="*/ 11 w 35"/>
                <a:gd name="T11" fmla="*/ 39 h 40"/>
                <a:gd name="T12" fmla="*/ 5 w 35"/>
                <a:gd name="T13" fmla="*/ 35 h 40"/>
                <a:gd name="T14" fmla="*/ 2 w 35"/>
                <a:gd name="T15" fmla="*/ 28 h 40"/>
                <a:gd name="T16" fmla="*/ 0 w 35"/>
                <a:gd name="T17" fmla="*/ 20 h 40"/>
                <a:gd name="T18" fmla="*/ 2 w 35"/>
                <a:gd name="T19" fmla="*/ 12 h 40"/>
                <a:gd name="T20" fmla="*/ 5 w 35"/>
                <a:gd name="T21" fmla="*/ 5 h 40"/>
                <a:gd name="T22" fmla="*/ 11 w 35"/>
                <a:gd name="T23" fmla="*/ 1 h 40"/>
                <a:gd name="T24" fmla="*/ 18 w 35"/>
                <a:gd name="T25" fmla="*/ 0 h 40"/>
                <a:gd name="T26" fmla="*/ 24 w 35"/>
                <a:gd name="T27" fmla="*/ 1 h 40"/>
                <a:gd name="T28" fmla="*/ 30 w 35"/>
                <a:gd name="T29" fmla="*/ 5 h 40"/>
                <a:gd name="T30" fmla="*/ 33 w 35"/>
                <a:gd name="T31" fmla="*/ 12 h 40"/>
                <a:gd name="T32" fmla="*/ 35 w 35"/>
                <a:gd name="T33" fmla="*/ 20 h 40"/>
                <a:gd name="T34" fmla="*/ 27 w 35"/>
                <a:gd name="T35" fmla="*/ 20 h 40"/>
                <a:gd name="T36" fmla="*/ 26 w 35"/>
                <a:gd name="T37" fmla="*/ 15 h 40"/>
                <a:gd name="T38" fmla="*/ 24 w 35"/>
                <a:gd name="T39" fmla="*/ 11 h 40"/>
                <a:gd name="T40" fmla="*/ 21 w 35"/>
                <a:gd name="T41" fmla="*/ 8 h 40"/>
                <a:gd name="T42" fmla="*/ 17 w 35"/>
                <a:gd name="T43" fmla="*/ 7 h 40"/>
                <a:gd name="T44" fmla="*/ 13 w 35"/>
                <a:gd name="T45" fmla="*/ 8 h 40"/>
                <a:gd name="T46" fmla="*/ 10 w 35"/>
                <a:gd name="T47" fmla="*/ 11 h 40"/>
                <a:gd name="T48" fmla="*/ 9 w 35"/>
                <a:gd name="T49" fmla="*/ 15 h 40"/>
                <a:gd name="T50" fmla="*/ 8 w 35"/>
                <a:gd name="T51" fmla="*/ 20 h 40"/>
                <a:gd name="T52" fmla="*/ 9 w 35"/>
                <a:gd name="T53" fmla="*/ 26 h 40"/>
                <a:gd name="T54" fmla="*/ 11 w 35"/>
                <a:gd name="T55" fmla="*/ 30 h 40"/>
                <a:gd name="T56" fmla="*/ 14 w 35"/>
                <a:gd name="T57" fmla="*/ 32 h 40"/>
                <a:gd name="T58" fmla="*/ 18 w 35"/>
                <a:gd name="T59" fmla="*/ 33 h 40"/>
                <a:gd name="T60" fmla="*/ 21 w 35"/>
                <a:gd name="T61" fmla="*/ 32 h 40"/>
                <a:gd name="T62" fmla="*/ 24 w 35"/>
                <a:gd name="T63" fmla="*/ 29 h 40"/>
                <a:gd name="T64" fmla="*/ 26 w 35"/>
                <a:gd name="T65" fmla="*/ 25 h 40"/>
                <a:gd name="T66" fmla="*/ 27 w 35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5" h="40">
                  <a:moveTo>
                    <a:pt x="35" y="20"/>
                  </a:moveTo>
                  <a:cubicBezTo>
                    <a:pt x="35" y="23"/>
                    <a:pt x="34" y="26"/>
                    <a:pt x="33" y="28"/>
                  </a:cubicBezTo>
                  <a:cubicBezTo>
                    <a:pt x="32" y="31"/>
                    <a:pt x="31" y="33"/>
                    <a:pt x="30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3" y="40"/>
                    <a:pt x="11" y="39"/>
                  </a:cubicBezTo>
                  <a:cubicBezTo>
                    <a:pt x="8" y="38"/>
                    <a:pt x="7" y="36"/>
                    <a:pt x="5" y="35"/>
                  </a:cubicBezTo>
                  <a:cubicBezTo>
                    <a:pt x="4" y="33"/>
                    <a:pt x="2" y="31"/>
                    <a:pt x="2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3" y="9"/>
                    <a:pt x="4" y="7"/>
                    <a:pt x="5" y="5"/>
                  </a:cubicBezTo>
                  <a:cubicBezTo>
                    <a:pt x="7" y="4"/>
                    <a:pt x="9" y="2"/>
                    <a:pt x="11" y="1"/>
                  </a:cubicBezTo>
                  <a:cubicBezTo>
                    <a:pt x="13" y="1"/>
                    <a:pt x="15" y="0"/>
                    <a:pt x="18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30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5" y="17"/>
                    <a:pt x="35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4" y="10"/>
                    <a:pt x="23" y="9"/>
                    <a:pt x="21" y="8"/>
                  </a:cubicBezTo>
                  <a:cubicBezTo>
                    <a:pt x="20" y="8"/>
                    <a:pt x="19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10" y="12"/>
                    <a:pt x="9" y="13"/>
                    <a:pt x="9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9" y="26"/>
                  </a:cubicBezTo>
                  <a:cubicBezTo>
                    <a:pt x="9" y="27"/>
                    <a:pt x="10" y="28"/>
                    <a:pt x="11" y="30"/>
                  </a:cubicBezTo>
                  <a:cubicBezTo>
                    <a:pt x="11" y="31"/>
                    <a:pt x="12" y="32"/>
                    <a:pt x="14" y="32"/>
                  </a:cubicBezTo>
                  <a:cubicBezTo>
                    <a:pt x="15" y="33"/>
                    <a:pt x="16" y="33"/>
                    <a:pt x="18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3" y="31"/>
                    <a:pt x="24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0" name="Freeform 67">
              <a:extLst>
                <a:ext uri="{FF2B5EF4-FFF2-40B4-BE49-F238E27FC236}">
                  <a16:creationId xmlns:a16="http://schemas.microsoft.com/office/drawing/2014/main" id="{A28B9FD0-8354-4DD6-856A-157C5F8768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68514" y="6418333"/>
              <a:ext cx="59286" cy="101135"/>
            </a:xfrm>
            <a:custGeom>
              <a:avLst/>
              <a:gdLst>
                <a:gd name="T0" fmla="*/ 21 w 23"/>
                <a:gd name="T1" fmla="*/ 9 h 39"/>
                <a:gd name="T2" fmla="*/ 19 w 23"/>
                <a:gd name="T3" fmla="*/ 8 h 39"/>
                <a:gd name="T4" fmla="*/ 16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10 w 23"/>
                <a:gd name="T21" fmla="*/ 3 h 39"/>
                <a:gd name="T22" fmla="*/ 12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1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20" y="8"/>
                    <a:pt x="19" y="8"/>
                  </a:cubicBezTo>
                  <a:cubicBezTo>
                    <a:pt x="18" y="8"/>
                    <a:pt x="17" y="7"/>
                    <a:pt x="16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9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10" y="3"/>
                  </a:cubicBezTo>
                  <a:cubicBezTo>
                    <a:pt x="10" y="2"/>
                    <a:pt x="11" y="2"/>
                    <a:pt x="12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20" y="0"/>
                    <a:pt x="21" y="1"/>
                  </a:cubicBezTo>
                  <a:cubicBezTo>
                    <a:pt x="22" y="1"/>
                    <a:pt x="23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1" name="Freeform 68">
              <a:extLst>
                <a:ext uri="{FF2B5EF4-FFF2-40B4-BE49-F238E27FC236}">
                  <a16:creationId xmlns:a16="http://schemas.microsoft.com/office/drawing/2014/main" id="{83D3DEEE-A610-48BE-BADD-6BA188B5B86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5237" y="6383459"/>
              <a:ext cx="76723" cy="136010"/>
            </a:xfrm>
            <a:custGeom>
              <a:avLst/>
              <a:gdLst>
                <a:gd name="T0" fmla="*/ 31 w 44"/>
                <a:gd name="T1" fmla="*/ 78 h 78"/>
                <a:gd name="T2" fmla="*/ 19 w 44"/>
                <a:gd name="T3" fmla="*/ 50 h 78"/>
                <a:gd name="T4" fmla="*/ 10 w 44"/>
                <a:gd name="T5" fmla="*/ 61 h 78"/>
                <a:gd name="T6" fmla="*/ 10 w 44"/>
                <a:gd name="T7" fmla="*/ 78 h 78"/>
                <a:gd name="T8" fmla="*/ 0 w 44"/>
                <a:gd name="T9" fmla="*/ 78 h 78"/>
                <a:gd name="T10" fmla="*/ 0 w 44"/>
                <a:gd name="T11" fmla="*/ 6 h 78"/>
                <a:gd name="T12" fmla="*/ 10 w 44"/>
                <a:gd name="T13" fmla="*/ 0 h 78"/>
                <a:gd name="T14" fmla="*/ 10 w 44"/>
                <a:gd name="T15" fmla="*/ 47 h 78"/>
                <a:gd name="T16" fmla="*/ 28 w 44"/>
                <a:gd name="T17" fmla="*/ 22 h 78"/>
                <a:gd name="T18" fmla="*/ 41 w 44"/>
                <a:gd name="T19" fmla="*/ 22 h 78"/>
                <a:gd name="T20" fmla="*/ 26 w 44"/>
                <a:gd name="T21" fmla="*/ 41 h 78"/>
                <a:gd name="T22" fmla="*/ 44 w 44"/>
                <a:gd name="T23" fmla="*/ 78 h 78"/>
                <a:gd name="T24" fmla="*/ 31 w 44"/>
                <a:gd name="T25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4" h="78">
                  <a:moveTo>
                    <a:pt x="31" y="78"/>
                  </a:moveTo>
                  <a:lnTo>
                    <a:pt x="19" y="50"/>
                  </a:lnTo>
                  <a:lnTo>
                    <a:pt x="10" y="61"/>
                  </a:lnTo>
                  <a:lnTo>
                    <a:pt x="10" y="78"/>
                  </a:lnTo>
                  <a:lnTo>
                    <a:pt x="0" y="78"/>
                  </a:lnTo>
                  <a:lnTo>
                    <a:pt x="0" y="6"/>
                  </a:lnTo>
                  <a:lnTo>
                    <a:pt x="10" y="0"/>
                  </a:lnTo>
                  <a:lnTo>
                    <a:pt x="10" y="47"/>
                  </a:lnTo>
                  <a:lnTo>
                    <a:pt x="28" y="22"/>
                  </a:lnTo>
                  <a:lnTo>
                    <a:pt x="41" y="22"/>
                  </a:lnTo>
                  <a:lnTo>
                    <a:pt x="26" y="41"/>
                  </a:lnTo>
                  <a:lnTo>
                    <a:pt x="44" y="78"/>
                  </a:lnTo>
                  <a:lnTo>
                    <a:pt x="31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2" name="Freeform 69">
              <a:extLst>
                <a:ext uri="{FF2B5EF4-FFF2-40B4-BE49-F238E27FC236}">
                  <a16:creationId xmlns:a16="http://schemas.microsoft.com/office/drawing/2014/main" id="{463C7ADB-C654-4D24-9055-0B6003A770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28936" y="6418333"/>
              <a:ext cx="74980" cy="102879"/>
            </a:xfrm>
            <a:custGeom>
              <a:avLst/>
              <a:gdLst>
                <a:gd name="T0" fmla="*/ 28 w 29"/>
                <a:gd name="T1" fmla="*/ 4 h 40"/>
                <a:gd name="T2" fmla="*/ 25 w 29"/>
                <a:gd name="T3" fmla="*/ 10 h 40"/>
                <a:gd name="T4" fmla="*/ 20 w 29"/>
                <a:gd name="T5" fmla="*/ 8 h 40"/>
                <a:gd name="T6" fmla="*/ 15 w 29"/>
                <a:gd name="T7" fmla="*/ 7 h 40"/>
                <a:gd name="T8" fmla="*/ 11 w 29"/>
                <a:gd name="T9" fmla="*/ 8 h 40"/>
                <a:gd name="T10" fmla="*/ 9 w 29"/>
                <a:gd name="T11" fmla="*/ 10 h 40"/>
                <a:gd name="T12" fmla="*/ 10 w 29"/>
                <a:gd name="T13" fmla="*/ 12 h 40"/>
                <a:gd name="T14" fmla="*/ 11 w 29"/>
                <a:gd name="T15" fmla="*/ 13 h 40"/>
                <a:gd name="T16" fmla="*/ 13 w 29"/>
                <a:gd name="T17" fmla="*/ 14 h 40"/>
                <a:gd name="T18" fmla="*/ 17 w 29"/>
                <a:gd name="T19" fmla="*/ 16 h 40"/>
                <a:gd name="T20" fmla="*/ 22 w 29"/>
                <a:gd name="T21" fmla="*/ 18 h 40"/>
                <a:gd name="T22" fmla="*/ 26 w 29"/>
                <a:gd name="T23" fmla="*/ 21 h 40"/>
                <a:gd name="T24" fmla="*/ 29 w 29"/>
                <a:gd name="T25" fmla="*/ 24 h 40"/>
                <a:gd name="T26" fmla="*/ 29 w 29"/>
                <a:gd name="T27" fmla="*/ 29 h 40"/>
                <a:gd name="T28" fmla="*/ 28 w 29"/>
                <a:gd name="T29" fmla="*/ 34 h 40"/>
                <a:gd name="T30" fmla="*/ 25 w 29"/>
                <a:gd name="T31" fmla="*/ 38 h 40"/>
                <a:gd name="T32" fmla="*/ 21 w 29"/>
                <a:gd name="T33" fmla="*/ 40 h 40"/>
                <a:gd name="T34" fmla="*/ 15 w 29"/>
                <a:gd name="T35" fmla="*/ 40 h 40"/>
                <a:gd name="T36" fmla="*/ 7 w 29"/>
                <a:gd name="T37" fmla="*/ 39 h 40"/>
                <a:gd name="T38" fmla="*/ 0 w 29"/>
                <a:gd name="T39" fmla="*/ 35 h 40"/>
                <a:gd name="T40" fmla="*/ 4 w 29"/>
                <a:gd name="T41" fmla="*/ 30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20 w 29"/>
                <a:gd name="T53" fmla="*/ 26 h 40"/>
                <a:gd name="T54" fmla="*/ 17 w 29"/>
                <a:gd name="T55" fmla="*/ 24 h 40"/>
                <a:gd name="T56" fmla="*/ 13 w 29"/>
                <a:gd name="T57" fmla="*/ 23 h 40"/>
                <a:gd name="T58" fmla="*/ 8 w 29"/>
                <a:gd name="T59" fmla="*/ 20 h 40"/>
                <a:gd name="T60" fmla="*/ 4 w 29"/>
                <a:gd name="T61" fmla="*/ 18 h 40"/>
                <a:gd name="T62" fmla="*/ 2 w 29"/>
                <a:gd name="T63" fmla="*/ 15 h 40"/>
                <a:gd name="T64" fmla="*/ 2 w 29"/>
                <a:gd name="T65" fmla="*/ 11 h 40"/>
                <a:gd name="T66" fmla="*/ 3 w 29"/>
                <a:gd name="T67" fmla="*/ 6 h 40"/>
                <a:gd name="T68" fmla="*/ 6 w 29"/>
                <a:gd name="T69" fmla="*/ 3 h 40"/>
                <a:gd name="T70" fmla="*/ 10 w 29"/>
                <a:gd name="T71" fmla="*/ 1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5" y="10"/>
                    <a:pt x="25" y="10"/>
                    <a:pt x="25" y="10"/>
                  </a:cubicBezTo>
                  <a:cubicBezTo>
                    <a:pt x="23" y="9"/>
                    <a:pt x="22" y="8"/>
                    <a:pt x="20" y="8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2" y="7"/>
                    <a:pt x="11" y="8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1"/>
                    <a:pt x="10" y="11"/>
                    <a:pt x="10" y="12"/>
                  </a:cubicBezTo>
                  <a:cubicBezTo>
                    <a:pt x="10" y="12"/>
                    <a:pt x="10" y="13"/>
                    <a:pt x="11" y="13"/>
                  </a:cubicBezTo>
                  <a:cubicBezTo>
                    <a:pt x="11" y="13"/>
                    <a:pt x="12" y="14"/>
                    <a:pt x="13" y="14"/>
                  </a:cubicBezTo>
                  <a:cubicBezTo>
                    <a:pt x="14" y="15"/>
                    <a:pt x="15" y="15"/>
                    <a:pt x="17" y="16"/>
                  </a:cubicBezTo>
                  <a:cubicBezTo>
                    <a:pt x="19" y="17"/>
                    <a:pt x="21" y="18"/>
                    <a:pt x="22" y="18"/>
                  </a:cubicBezTo>
                  <a:cubicBezTo>
                    <a:pt x="24" y="19"/>
                    <a:pt x="25" y="20"/>
                    <a:pt x="26" y="21"/>
                  </a:cubicBezTo>
                  <a:cubicBezTo>
                    <a:pt x="27" y="22"/>
                    <a:pt x="28" y="23"/>
                    <a:pt x="29" y="24"/>
                  </a:cubicBezTo>
                  <a:cubicBezTo>
                    <a:pt x="29" y="25"/>
                    <a:pt x="29" y="27"/>
                    <a:pt x="29" y="29"/>
                  </a:cubicBezTo>
                  <a:cubicBezTo>
                    <a:pt x="29" y="31"/>
                    <a:pt x="29" y="33"/>
                    <a:pt x="28" y="34"/>
                  </a:cubicBezTo>
                  <a:cubicBezTo>
                    <a:pt x="28" y="36"/>
                    <a:pt x="26" y="37"/>
                    <a:pt x="25" y="38"/>
                  </a:cubicBezTo>
                  <a:cubicBezTo>
                    <a:pt x="24" y="39"/>
                    <a:pt x="22" y="39"/>
                    <a:pt x="21" y="40"/>
                  </a:cubicBezTo>
                  <a:cubicBezTo>
                    <a:pt x="19" y="40"/>
                    <a:pt x="17" y="40"/>
                    <a:pt x="15" y="40"/>
                  </a:cubicBezTo>
                  <a:cubicBezTo>
                    <a:pt x="13" y="40"/>
                    <a:pt x="10" y="40"/>
                    <a:pt x="7" y="39"/>
                  </a:cubicBezTo>
                  <a:cubicBezTo>
                    <a:pt x="5" y="38"/>
                    <a:pt x="2" y="37"/>
                    <a:pt x="0" y="35"/>
                  </a:cubicBezTo>
                  <a:cubicBezTo>
                    <a:pt x="4" y="30"/>
                    <a:pt x="4" y="30"/>
                    <a:pt x="4" y="30"/>
                  </a:cubicBezTo>
                  <a:cubicBezTo>
                    <a:pt x="6" y="31"/>
                    <a:pt x="7" y="32"/>
                    <a:pt x="9" y="32"/>
                  </a:cubicBezTo>
                  <a:cubicBezTo>
                    <a:pt x="11" y="33"/>
                    <a:pt x="13" y="33"/>
                    <a:pt x="15" y="33"/>
                  </a:cubicBezTo>
                  <a:cubicBezTo>
                    <a:pt x="17" y="33"/>
                    <a:pt x="19" y="33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8"/>
                    <a:pt x="21" y="27"/>
                  </a:cubicBezTo>
                  <a:cubicBezTo>
                    <a:pt x="21" y="27"/>
                    <a:pt x="20" y="26"/>
                    <a:pt x="20" y="26"/>
                  </a:cubicBezTo>
                  <a:cubicBezTo>
                    <a:pt x="19" y="25"/>
                    <a:pt x="18" y="25"/>
                    <a:pt x="17" y="24"/>
                  </a:cubicBezTo>
                  <a:cubicBezTo>
                    <a:pt x="16" y="24"/>
                    <a:pt x="15" y="23"/>
                    <a:pt x="13" y="23"/>
                  </a:cubicBezTo>
                  <a:cubicBezTo>
                    <a:pt x="11" y="22"/>
                    <a:pt x="9" y="21"/>
                    <a:pt x="8" y="20"/>
                  </a:cubicBezTo>
                  <a:cubicBezTo>
                    <a:pt x="6" y="19"/>
                    <a:pt x="5" y="19"/>
                    <a:pt x="4" y="18"/>
                  </a:cubicBezTo>
                  <a:cubicBezTo>
                    <a:pt x="3" y="17"/>
                    <a:pt x="3" y="16"/>
                    <a:pt x="2" y="15"/>
                  </a:cubicBezTo>
                  <a:cubicBezTo>
                    <a:pt x="2" y="13"/>
                    <a:pt x="2" y="12"/>
                    <a:pt x="2" y="11"/>
                  </a:cubicBezTo>
                  <a:cubicBezTo>
                    <a:pt x="2" y="9"/>
                    <a:pt x="2" y="7"/>
                    <a:pt x="3" y="6"/>
                  </a:cubicBezTo>
                  <a:cubicBezTo>
                    <a:pt x="3" y="5"/>
                    <a:pt x="4" y="4"/>
                    <a:pt x="6" y="3"/>
                  </a:cubicBezTo>
                  <a:cubicBezTo>
                    <a:pt x="7" y="2"/>
                    <a:pt x="8" y="1"/>
                    <a:pt x="10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20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3" name="Freeform 70">
              <a:extLst>
                <a:ext uri="{FF2B5EF4-FFF2-40B4-BE49-F238E27FC236}">
                  <a16:creationId xmlns:a16="http://schemas.microsoft.com/office/drawing/2014/main" id="{40CF3793-E792-4DB3-8064-4B43F4706A3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23096" y="6489826"/>
              <a:ext cx="27899" cy="31387"/>
            </a:xfrm>
            <a:custGeom>
              <a:avLst/>
              <a:gdLst>
                <a:gd name="T0" fmla="*/ 11 w 11"/>
                <a:gd name="T1" fmla="*/ 6 h 12"/>
                <a:gd name="T2" fmla="*/ 11 w 11"/>
                <a:gd name="T3" fmla="*/ 9 h 12"/>
                <a:gd name="T4" fmla="*/ 10 w 11"/>
                <a:gd name="T5" fmla="*/ 10 h 12"/>
                <a:gd name="T6" fmla="*/ 8 w 11"/>
                <a:gd name="T7" fmla="*/ 12 h 12"/>
                <a:gd name="T8" fmla="*/ 6 w 11"/>
                <a:gd name="T9" fmla="*/ 12 h 12"/>
                <a:gd name="T10" fmla="*/ 3 w 11"/>
                <a:gd name="T11" fmla="*/ 12 h 12"/>
                <a:gd name="T12" fmla="*/ 1 w 11"/>
                <a:gd name="T13" fmla="*/ 10 h 12"/>
                <a:gd name="T14" fmla="*/ 0 w 11"/>
                <a:gd name="T15" fmla="*/ 9 h 12"/>
                <a:gd name="T16" fmla="*/ 0 w 11"/>
                <a:gd name="T17" fmla="*/ 6 h 12"/>
                <a:gd name="T18" fmla="*/ 0 w 11"/>
                <a:gd name="T19" fmla="*/ 4 h 12"/>
                <a:gd name="T20" fmla="*/ 1 w 11"/>
                <a:gd name="T21" fmla="*/ 2 h 12"/>
                <a:gd name="T22" fmla="*/ 3 w 11"/>
                <a:gd name="T23" fmla="*/ 1 h 12"/>
                <a:gd name="T24" fmla="*/ 6 w 11"/>
                <a:gd name="T25" fmla="*/ 0 h 12"/>
                <a:gd name="T26" fmla="*/ 8 w 11"/>
                <a:gd name="T27" fmla="*/ 1 h 12"/>
                <a:gd name="T28" fmla="*/ 10 w 11"/>
                <a:gd name="T29" fmla="*/ 2 h 12"/>
                <a:gd name="T30" fmla="*/ 11 w 11"/>
                <a:gd name="T31" fmla="*/ 4 h 12"/>
                <a:gd name="T32" fmla="*/ 11 w 11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" h="12">
                  <a:moveTo>
                    <a:pt x="11" y="6"/>
                  </a:moveTo>
                  <a:cubicBezTo>
                    <a:pt x="11" y="7"/>
                    <a:pt x="11" y="8"/>
                    <a:pt x="11" y="9"/>
                  </a:cubicBezTo>
                  <a:cubicBezTo>
                    <a:pt x="11" y="9"/>
                    <a:pt x="10" y="10"/>
                    <a:pt x="10" y="10"/>
                  </a:cubicBezTo>
                  <a:cubicBezTo>
                    <a:pt x="9" y="11"/>
                    <a:pt x="9" y="11"/>
                    <a:pt x="8" y="12"/>
                  </a:cubicBezTo>
                  <a:cubicBezTo>
                    <a:pt x="7" y="12"/>
                    <a:pt x="6" y="12"/>
                    <a:pt x="6" y="12"/>
                  </a:cubicBezTo>
                  <a:cubicBezTo>
                    <a:pt x="5" y="12"/>
                    <a:pt x="4" y="12"/>
                    <a:pt x="3" y="12"/>
                  </a:cubicBezTo>
                  <a:cubicBezTo>
                    <a:pt x="3" y="11"/>
                    <a:pt x="2" y="11"/>
                    <a:pt x="1" y="10"/>
                  </a:cubicBezTo>
                  <a:cubicBezTo>
                    <a:pt x="1" y="10"/>
                    <a:pt x="1" y="9"/>
                    <a:pt x="0" y="9"/>
                  </a:cubicBezTo>
                  <a:cubicBezTo>
                    <a:pt x="0" y="8"/>
                    <a:pt x="0" y="7"/>
                    <a:pt x="0" y="6"/>
                  </a:cubicBezTo>
                  <a:cubicBezTo>
                    <a:pt x="0" y="6"/>
                    <a:pt x="0" y="5"/>
                    <a:pt x="0" y="4"/>
                  </a:cubicBezTo>
                  <a:cubicBezTo>
                    <a:pt x="1" y="3"/>
                    <a:pt x="1" y="3"/>
                    <a:pt x="1" y="2"/>
                  </a:cubicBezTo>
                  <a:cubicBezTo>
                    <a:pt x="2" y="2"/>
                    <a:pt x="3" y="1"/>
                    <a:pt x="3" y="1"/>
                  </a:cubicBezTo>
                  <a:cubicBezTo>
                    <a:pt x="4" y="1"/>
                    <a:pt x="5" y="0"/>
                    <a:pt x="6" y="0"/>
                  </a:cubicBezTo>
                  <a:cubicBezTo>
                    <a:pt x="6" y="0"/>
                    <a:pt x="7" y="1"/>
                    <a:pt x="8" y="1"/>
                  </a:cubicBezTo>
                  <a:cubicBezTo>
                    <a:pt x="9" y="1"/>
                    <a:pt x="9" y="2"/>
                    <a:pt x="10" y="2"/>
                  </a:cubicBezTo>
                  <a:cubicBezTo>
                    <a:pt x="10" y="3"/>
                    <a:pt x="11" y="3"/>
                    <a:pt x="11" y="4"/>
                  </a:cubicBezTo>
                  <a:cubicBezTo>
                    <a:pt x="11" y="5"/>
                    <a:pt x="11" y="6"/>
                    <a:pt x="11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</p:grpSp>
      <p:sp>
        <p:nvSpPr>
          <p:cNvPr id="18" name="Title 1"/>
          <p:cNvSpPr>
            <a:spLocks noGrp="1"/>
          </p:cNvSpPr>
          <p:nvPr userDrawn="1">
            <p:ph type="ctrTitle"/>
          </p:nvPr>
        </p:nvSpPr>
        <p:spPr>
          <a:xfrm>
            <a:off x="944388" y="2158329"/>
            <a:ext cx="4781392" cy="860400"/>
          </a:xfrm>
          <a:prstGeom prst="rect">
            <a:avLst/>
          </a:prstGeom>
        </p:spPr>
        <p:txBody>
          <a:bodyPr/>
          <a:lstStyle>
            <a:lvl1pPr>
              <a:defRPr sz="2999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9" name="Subtitle 2"/>
          <p:cNvSpPr>
            <a:spLocks noGrp="1"/>
          </p:cNvSpPr>
          <p:nvPr userDrawn="1">
            <p:ph type="subTitle" idx="1"/>
          </p:nvPr>
        </p:nvSpPr>
        <p:spPr>
          <a:xfrm>
            <a:off x="944580" y="3200329"/>
            <a:ext cx="4805525" cy="64574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999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  <a:lvl2pPr marL="0" indent="0" algn="l">
              <a:buNone/>
              <a:defRPr sz="1599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913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9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8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8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7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subtitle style</a:t>
            </a:r>
            <a:endParaRPr lang="en-GB" dirty="0"/>
          </a:p>
        </p:txBody>
      </p:sp>
      <p:sp>
        <p:nvSpPr>
          <p:cNvPr id="3" name="Freeform: Shape 2">
            <a:extLst>
              <a:ext uri="{FF2B5EF4-FFF2-40B4-BE49-F238E27FC236}">
                <a16:creationId xmlns:a16="http://schemas.microsoft.com/office/drawing/2014/main" id="{44A731D0-020D-4D8E-955D-2354AF0FE452}"/>
              </a:ext>
            </a:extLst>
          </p:cNvPr>
          <p:cNvSpPr/>
          <p:nvPr userDrawn="1"/>
        </p:nvSpPr>
        <p:spPr>
          <a:xfrm>
            <a:off x="489112" y="723658"/>
            <a:ext cx="5677988" cy="3452894"/>
          </a:xfrm>
          <a:custGeom>
            <a:avLst/>
            <a:gdLst>
              <a:gd name="connsiteX0" fmla="*/ 8749 w 5680945"/>
              <a:gd name="connsiteY0" fmla="*/ 1021520 h 3452894"/>
              <a:gd name="connsiteX1" fmla="*/ 8749 w 5680945"/>
              <a:gd name="connsiteY1" fmla="*/ 3164181 h 3452894"/>
              <a:gd name="connsiteX2" fmla="*/ 151414 w 5680945"/>
              <a:gd name="connsiteY2" fmla="*/ 3164181 h 3452894"/>
              <a:gd name="connsiteX3" fmla="*/ 151414 w 5680945"/>
              <a:gd name="connsiteY3" fmla="*/ 1140155 h 3452894"/>
              <a:gd name="connsiteX4" fmla="*/ 5534897 w 5680945"/>
              <a:gd name="connsiteY4" fmla="*/ 179294 h 3452894"/>
              <a:gd name="connsiteX5" fmla="*/ 5534897 w 5680945"/>
              <a:gd name="connsiteY5" fmla="*/ 3306846 h 3452894"/>
              <a:gd name="connsiteX6" fmla="*/ 864624 w 5680945"/>
              <a:gd name="connsiteY6" fmla="*/ 3306846 h 3452894"/>
              <a:gd name="connsiteX7" fmla="*/ 864624 w 5680945"/>
              <a:gd name="connsiteY7" fmla="*/ 3449395 h 3452894"/>
              <a:gd name="connsiteX8" fmla="*/ 5677562 w 5680945"/>
              <a:gd name="connsiteY8" fmla="*/ 3449395 h 3452894"/>
              <a:gd name="connsiteX9" fmla="*/ 5677562 w 5680945"/>
              <a:gd name="connsiteY9" fmla="*/ 8749 h 3452894"/>
              <a:gd name="connsiteX10" fmla="*/ 8749 w 5680945"/>
              <a:gd name="connsiteY10" fmla="*/ 1021520 h 34528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5680945" h="3452894">
                <a:moveTo>
                  <a:pt x="8749" y="1021520"/>
                </a:moveTo>
                <a:lnTo>
                  <a:pt x="8749" y="3164181"/>
                </a:lnTo>
                <a:lnTo>
                  <a:pt x="151414" y="3164181"/>
                </a:lnTo>
                <a:lnTo>
                  <a:pt x="151414" y="1140155"/>
                </a:lnTo>
                <a:lnTo>
                  <a:pt x="5534897" y="179294"/>
                </a:lnTo>
                <a:lnTo>
                  <a:pt x="5534897" y="3306846"/>
                </a:lnTo>
                <a:lnTo>
                  <a:pt x="864624" y="3306846"/>
                </a:lnTo>
                <a:lnTo>
                  <a:pt x="864624" y="3449395"/>
                </a:lnTo>
                <a:lnTo>
                  <a:pt x="5677562" y="3449395"/>
                </a:lnTo>
                <a:lnTo>
                  <a:pt x="5677562" y="8749"/>
                </a:lnTo>
                <a:lnTo>
                  <a:pt x="8749" y="1021520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 sz="1799"/>
          </a:p>
        </p:txBody>
      </p:sp>
      <p:sp>
        <p:nvSpPr>
          <p:cNvPr id="4" name="Freeform: Shape 3">
            <a:extLst>
              <a:ext uri="{FF2B5EF4-FFF2-40B4-BE49-F238E27FC236}">
                <a16:creationId xmlns:a16="http://schemas.microsoft.com/office/drawing/2014/main" id="{15324C54-B75E-4AC0-90C2-FA558C7716F7}"/>
              </a:ext>
            </a:extLst>
          </p:cNvPr>
          <p:cNvSpPr/>
          <p:nvPr/>
        </p:nvSpPr>
        <p:spPr>
          <a:xfrm>
            <a:off x="489112" y="4021756"/>
            <a:ext cx="151568" cy="151647"/>
          </a:xfrm>
          <a:custGeom>
            <a:avLst/>
            <a:gdLst>
              <a:gd name="connsiteX0" fmla="*/ 8749 w 151647"/>
              <a:gd name="connsiteY0" fmla="*/ 8749 h 151647"/>
              <a:gd name="connsiteX1" fmla="*/ 151414 w 151647"/>
              <a:gd name="connsiteY1" fmla="*/ 8749 h 151647"/>
              <a:gd name="connsiteX2" fmla="*/ 151414 w 151647"/>
              <a:gd name="connsiteY2" fmla="*/ 151414 h 151647"/>
              <a:gd name="connsiteX3" fmla="*/ 8749 w 151647"/>
              <a:gd name="connsiteY3" fmla="*/ 151414 h 151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647" h="151647">
                <a:moveTo>
                  <a:pt x="8749" y="8749"/>
                </a:moveTo>
                <a:lnTo>
                  <a:pt x="151414" y="8749"/>
                </a:lnTo>
                <a:lnTo>
                  <a:pt x="151414" y="151414"/>
                </a:lnTo>
                <a:lnTo>
                  <a:pt x="8749" y="151414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 sz="1799"/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CAA95478-C099-485F-AD95-A617656C6C7C}"/>
              </a:ext>
            </a:extLst>
          </p:cNvPr>
          <p:cNvSpPr/>
          <p:nvPr/>
        </p:nvSpPr>
        <p:spPr>
          <a:xfrm>
            <a:off x="774294" y="4021756"/>
            <a:ext cx="151568" cy="151647"/>
          </a:xfrm>
          <a:custGeom>
            <a:avLst/>
            <a:gdLst>
              <a:gd name="connsiteX0" fmla="*/ 8749 w 151647"/>
              <a:gd name="connsiteY0" fmla="*/ 8749 h 151647"/>
              <a:gd name="connsiteX1" fmla="*/ 151414 w 151647"/>
              <a:gd name="connsiteY1" fmla="*/ 8749 h 151647"/>
              <a:gd name="connsiteX2" fmla="*/ 151414 w 151647"/>
              <a:gd name="connsiteY2" fmla="*/ 151414 h 151647"/>
              <a:gd name="connsiteX3" fmla="*/ 8749 w 151647"/>
              <a:gd name="connsiteY3" fmla="*/ 151414 h 151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647" h="151647">
                <a:moveTo>
                  <a:pt x="8749" y="8749"/>
                </a:moveTo>
                <a:lnTo>
                  <a:pt x="151414" y="8749"/>
                </a:lnTo>
                <a:lnTo>
                  <a:pt x="151414" y="151414"/>
                </a:lnTo>
                <a:lnTo>
                  <a:pt x="8749" y="151414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 sz="1799"/>
          </a:p>
        </p:txBody>
      </p: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D65680A1-86D1-44C2-AA38-0DF5735F1F26}"/>
              </a:ext>
            </a:extLst>
          </p:cNvPr>
          <p:cNvSpPr/>
          <p:nvPr/>
        </p:nvSpPr>
        <p:spPr>
          <a:xfrm>
            <a:off x="1059359" y="4021756"/>
            <a:ext cx="151568" cy="151647"/>
          </a:xfrm>
          <a:custGeom>
            <a:avLst/>
            <a:gdLst>
              <a:gd name="connsiteX0" fmla="*/ 8749 w 151647"/>
              <a:gd name="connsiteY0" fmla="*/ 8749 h 151647"/>
              <a:gd name="connsiteX1" fmla="*/ 151414 w 151647"/>
              <a:gd name="connsiteY1" fmla="*/ 8749 h 151647"/>
              <a:gd name="connsiteX2" fmla="*/ 151414 w 151647"/>
              <a:gd name="connsiteY2" fmla="*/ 151414 h 151647"/>
              <a:gd name="connsiteX3" fmla="*/ 8749 w 151647"/>
              <a:gd name="connsiteY3" fmla="*/ 151414 h 151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647" h="151647">
                <a:moveTo>
                  <a:pt x="8749" y="8749"/>
                </a:moveTo>
                <a:lnTo>
                  <a:pt x="151414" y="8749"/>
                </a:lnTo>
                <a:lnTo>
                  <a:pt x="151414" y="151414"/>
                </a:lnTo>
                <a:lnTo>
                  <a:pt x="8749" y="151414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 sz="1799"/>
          </a:p>
        </p:txBody>
      </p:sp>
      <p:grpSp>
        <p:nvGrpSpPr>
          <p:cNvPr id="76" name="Group 4">
            <a:extLst>
              <a:ext uri="{FF2B5EF4-FFF2-40B4-BE49-F238E27FC236}">
                <a16:creationId xmlns:a16="http://schemas.microsoft.com/office/drawing/2014/main" id="{9D60B6B0-F7ED-4B9F-A77C-632AC4EA661D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59392" y="4960938"/>
            <a:ext cx="1224912" cy="1435100"/>
            <a:chOff x="6529" y="3125"/>
            <a:chExt cx="772" cy="904"/>
          </a:xfrm>
        </p:grpSpPr>
        <p:sp>
          <p:nvSpPr>
            <p:cNvPr id="77" name="Freeform 5">
              <a:extLst>
                <a:ext uri="{FF2B5EF4-FFF2-40B4-BE49-F238E27FC236}">
                  <a16:creationId xmlns:a16="http://schemas.microsoft.com/office/drawing/2014/main" id="{CC1B45B9-64DF-4C5B-9711-FA69AD53707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78" name="Freeform 6">
              <a:extLst>
                <a:ext uri="{FF2B5EF4-FFF2-40B4-BE49-F238E27FC236}">
                  <a16:creationId xmlns:a16="http://schemas.microsoft.com/office/drawing/2014/main" id="{BA55CB73-EE25-43B6-9720-855E16C4B15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</p:grpSp>
    </p:spTree>
    <p:extLst>
      <p:ext uri="{BB962C8B-B14F-4D97-AF65-F5344CB8AC3E}">
        <p14:creationId xmlns:p14="http://schemas.microsoft.com/office/powerpoint/2010/main" val="107888708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56">
            <a:extLst>
              <a:ext uri="{FF2B5EF4-FFF2-40B4-BE49-F238E27FC236}">
                <a16:creationId xmlns:a16="http://schemas.microsoft.com/office/drawing/2014/main" id="{13A7AC18-CF42-4EC5-8D40-441EAE30A06C}"/>
              </a:ext>
            </a:extLst>
          </p:cNvPr>
          <p:cNvSpPr/>
          <p:nvPr userDrawn="1"/>
        </p:nvSpPr>
        <p:spPr>
          <a:xfrm>
            <a:off x="497856" y="795662"/>
            <a:ext cx="4927845" cy="3581484"/>
          </a:xfrm>
          <a:custGeom>
            <a:avLst/>
            <a:gdLst>
              <a:gd name="connsiteX0" fmla="*/ 4238387 w 4257675"/>
              <a:gd name="connsiteY0" fmla="*/ 0 h 3092804"/>
              <a:gd name="connsiteX1" fmla="*/ 4257675 w 4257675"/>
              <a:gd name="connsiteY1" fmla="*/ 0 h 3092804"/>
              <a:gd name="connsiteX2" fmla="*/ 4257675 w 4257675"/>
              <a:gd name="connsiteY2" fmla="*/ 3092804 h 3092804"/>
              <a:gd name="connsiteX3" fmla="*/ 0 w 4257675"/>
              <a:gd name="connsiteY3" fmla="*/ 3092804 h 3092804"/>
              <a:gd name="connsiteX4" fmla="*/ 0 w 4257675"/>
              <a:gd name="connsiteY4" fmla="*/ 747342 h 30928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7675" h="3092804">
                <a:moveTo>
                  <a:pt x="4238387" y="0"/>
                </a:moveTo>
                <a:lnTo>
                  <a:pt x="4257675" y="0"/>
                </a:lnTo>
                <a:lnTo>
                  <a:pt x="4257675" y="3092804"/>
                </a:lnTo>
                <a:lnTo>
                  <a:pt x="0" y="3092804"/>
                </a:lnTo>
                <a:lnTo>
                  <a:pt x="0" y="747342"/>
                </a:lnTo>
                <a:close/>
              </a:path>
            </a:pathLst>
          </a:custGeom>
          <a:solidFill>
            <a:srgbClr val="FFE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 dirty="0"/>
          </a:p>
        </p:txBody>
      </p:sp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775100" y="1954221"/>
            <a:ext cx="4326679" cy="979702"/>
          </a:xfrm>
        </p:spPr>
        <p:txBody>
          <a:bodyPr/>
          <a:lstStyle>
            <a:lvl1pPr>
              <a:defRPr sz="2999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2" name="Subtitle 2"/>
          <p:cNvSpPr>
            <a:spLocks noGrp="1"/>
          </p:cNvSpPr>
          <p:nvPr>
            <p:ph type="subTitle" idx="1"/>
          </p:nvPr>
        </p:nvSpPr>
        <p:spPr>
          <a:xfrm>
            <a:off x="775100" y="3046159"/>
            <a:ext cx="4326679" cy="1046323"/>
          </a:xfrm>
        </p:spPr>
        <p:txBody>
          <a:bodyPr/>
          <a:lstStyle>
            <a:lvl1pPr marL="0" indent="0" algn="l">
              <a:spcAft>
                <a:spcPts val="1199"/>
              </a:spcAft>
              <a:buNone/>
              <a:defRPr sz="1999">
                <a:solidFill>
                  <a:schemeClr val="bg1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599" b="1">
                <a:solidFill>
                  <a:srgbClr val="404040"/>
                </a:solidFill>
              </a:defRPr>
            </a:lvl2pPr>
            <a:lvl3pPr marL="913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9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8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8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7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subtitle style</a:t>
            </a:r>
            <a:endParaRPr lang="en-GB" dirty="0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F93BD223-2224-476C-AB5C-300C248C1618}"/>
              </a:ext>
            </a:extLst>
          </p:cNvPr>
          <p:cNvCxnSpPr>
            <a:cxnSpLocks/>
          </p:cNvCxnSpPr>
          <p:nvPr userDrawn="1"/>
        </p:nvCxnSpPr>
        <p:spPr>
          <a:xfrm>
            <a:off x="1332490" y="5709060"/>
            <a:ext cx="8117873" cy="0"/>
          </a:xfrm>
          <a:prstGeom prst="line">
            <a:avLst/>
          </a:prstGeom>
          <a:ln>
            <a:solidFill>
              <a:srgbClr val="82829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651B4C43-E5F8-400E-A971-58A3766B1BF0}"/>
              </a:ext>
            </a:extLst>
          </p:cNvPr>
          <p:cNvSpPr txBox="1"/>
          <p:nvPr userDrawn="1"/>
        </p:nvSpPr>
        <p:spPr>
          <a:xfrm>
            <a:off x="461744" y="5605201"/>
            <a:ext cx="1044529" cy="197581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r>
              <a:rPr lang="en-GB" sz="1199" dirty="0">
                <a:solidFill>
                  <a:srgbClr val="828290"/>
                </a:solidFill>
                <a:latin typeface="EYInterstate Light" panose="02000506000000020004" pitchFamily="2" charset="0"/>
              </a:rPr>
              <a:t>Written by</a:t>
            </a:r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A9465B6B-DFD4-4E0C-9ACE-E88CA22204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332490" y="6019189"/>
            <a:ext cx="3087667" cy="180000"/>
          </a:xfrm>
        </p:spPr>
        <p:txBody>
          <a:bodyPr/>
          <a:lstStyle>
            <a:lvl1pPr marL="0" indent="0">
              <a:buNone/>
              <a:defRPr sz="1199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16">
            <a:extLst>
              <a:ext uri="{FF2B5EF4-FFF2-40B4-BE49-F238E27FC236}">
                <a16:creationId xmlns:a16="http://schemas.microsoft.com/office/drawing/2014/main" id="{A1F2ED22-5637-4AB8-ABD8-3693A6EA55F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332490" y="6216807"/>
            <a:ext cx="3087667" cy="180000"/>
          </a:xfrm>
        </p:spPr>
        <p:txBody>
          <a:bodyPr/>
          <a:lstStyle>
            <a:lvl1pPr marL="0" indent="0">
              <a:buNone/>
              <a:defRPr sz="1199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Job Title</a:t>
            </a:r>
            <a:endParaRPr lang="en-GB" dirty="0"/>
          </a:p>
        </p:txBody>
      </p:sp>
      <p:sp>
        <p:nvSpPr>
          <p:cNvPr id="14" name="Picture Placeholder 19">
            <a:extLst>
              <a:ext uri="{FF2B5EF4-FFF2-40B4-BE49-F238E27FC236}">
                <a16:creationId xmlns:a16="http://schemas.microsoft.com/office/drawing/2014/main" id="{29A5E1BC-8F6B-43EF-9FF6-8242E7708BD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61743" y="5914642"/>
            <a:ext cx="575700" cy="576000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9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grpSp>
        <p:nvGrpSpPr>
          <p:cNvPr id="2" name="Group 4">
            <a:extLst>
              <a:ext uri="{FF2B5EF4-FFF2-40B4-BE49-F238E27FC236}">
                <a16:creationId xmlns:a16="http://schemas.microsoft.com/office/drawing/2014/main" id="{63F02F42-4916-4588-807F-4BB7367EB0EC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59392" y="4960938"/>
            <a:ext cx="1224912" cy="1435100"/>
            <a:chOff x="6529" y="3125"/>
            <a:chExt cx="772" cy="904"/>
          </a:xfrm>
        </p:grpSpPr>
        <p:sp>
          <p:nvSpPr>
            <p:cNvPr id="4" name="Freeform 5">
              <a:extLst>
                <a:ext uri="{FF2B5EF4-FFF2-40B4-BE49-F238E27FC236}">
                  <a16:creationId xmlns:a16="http://schemas.microsoft.com/office/drawing/2014/main" id="{0BD928C5-1C7D-4599-A7E9-8AB1B188C6A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/>
            </a:p>
          </p:txBody>
        </p:sp>
        <p:sp>
          <p:nvSpPr>
            <p:cNvPr id="5" name="Freeform 6">
              <a:extLst>
                <a:ext uri="{FF2B5EF4-FFF2-40B4-BE49-F238E27FC236}">
                  <a16:creationId xmlns:a16="http://schemas.microsoft.com/office/drawing/2014/main" id="{37C281E8-2924-471F-A849-26C37A059B4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/>
            </a:p>
          </p:txBody>
        </p:sp>
      </p:grpSp>
    </p:spTree>
    <p:extLst>
      <p:ext uri="{BB962C8B-B14F-4D97-AF65-F5344CB8AC3E}">
        <p14:creationId xmlns:p14="http://schemas.microsoft.com/office/powerpoint/2010/main" val="34928968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2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 altern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56">
            <a:extLst>
              <a:ext uri="{FF2B5EF4-FFF2-40B4-BE49-F238E27FC236}">
                <a16:creationId xmlns:a16="http://schemas.microsoft.com/office/drawing/2014/main" id="{13A7AC18-CF42-4EC5-8D40-441EAE30A06C}"/>
              </a:ext>
            </a:extLst>
          </p:cNvPr>
          <p:cNvSpPr/>
          <p:nvPr userDrawn="1"/>
        </p:nvSpPr>
        <p:spPr>
          <a:xfrm>
            <a:off x="497856" y="795662"/>
            <a:ext cx="4927845" cy="3581484"/>
          </a:xfrm>
          <a:custGeom>
            <a:avLst/>
            <a:gdLst>
              <a:gd name="connsiteX0" fmla="*/ 4238387 w 4257675"/>
              <a:gd name="connsiteY0" fmla="*/ 0 h 3092804"/>
              <a:gd name="connsiteX1" fmla="*/ 4257675 w 4257675"/>
              <a:gd name="connsiteY1" fmla="*/ 0 h 3092804"/>
              <a:gd name="connsiteX2" fmla="*/ 4257675 w 4257675"/>
              <a:gd name="connsiteY2" fmla="*/ 3092804 h 3092804"/>
              <a:gd name="connsiteX3" fmla="*/ 0 w 4257675"/>
              <a:gd name="connsiteY3" fmla="*/ 3092804 h 3092804"/>
              <a:gd name="connsiteX4" fmla="*/ 0 w 4257675"/>
              <a:gd name="connsiteY4" fmla="*/ 747342 h 30928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7675" h="3092804">
                <a:moveTo>
                  <a:pt x="4238387" y="0"/>
                </a:moveTo>
                <a:lnTo>
                  <a:pt x="4257675" y="0"/>
                </a:lnTo>
                <a:lnTo>
                  <a:pt x="4257675" y="3092804"/>
                </a:lnTo>
                <a:lnTo>
                  <a:pt x="0" y="3092804"/>
                </a:lnTo>
                <a:lnTo>
                  <a:pt x="0" y="747342"/>
                </a:lnTo>
                <a:close/>
              </a:path>
            </a:pathLst>
          </a:custGeom>
          <a:solidFill>
            <a:srgbClr val="FFE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 dirty="0"/>
          </a:p>
        </p:txBody>
      </p:sp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775100" y="1954221"/>
            <a:ext cx="4326679" cy="979702"/>
          </a:xfrm>
        </p:spPr>
        <p:txBody>
          <a:bodyPr/>
          <a:lstStyle>
            <a:lvl1pPr>
              <a:defRPr sz="2999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2" name="Subtitle 2"/>
          <p:cNvSpPr>
            <a:spLocks noGrp="1"/>
          </p:cNvSpPr>
          <p:nvPr>
            <p:ph type="subTitle" idx="1"/>
          </p:nvPr>
        </p:nvSpPr>
        <p:spPr>
          <a:xfrm>
            <a:off x="775100" y="3046159"/>
            <a:ext cx="4326679" cy="1046323"/>
          </a:xfrm>
        </p:spPr>
        <p:txBody>
          <a:bodyPr/>
          <a:lstStyle>
            <a:lvl1pPr marL="0" indent="0" algn="l">
              <a:spcAft>
                <a:spcPts val="1199"/>
              </a:spcAft>
              <a:buNone/>
              <a:defRPr sz="1999">
                <a:solidFill>
                  <a:schemeClr val="bg1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599" b="1">
                <a:solidFill>
                  <a:srgbClr val="404040"/>
                </a:solidFill>
              </a:defRPr>
            </a:lvl2pPr>
            <a:lvl3pPr marL="913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9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8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8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7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subtitle style</a:t>
            </a:r>
            <a:endParaRPr lang="en-GB" dirty="0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F93BD223-2224-476C-AB5C-300C248C1618}"/>
              </a:ext>
            </a:extLst>
          </p:cNvPr>
          <p:cNvCxnSpPr>
            <a:cxnSpLocks/>
          </p:cNvCxnSpPr>
          <p:nvPr userDrawn="1"/>
        </p:nvCxnSpPr>
        <p:spPr>
          <a:xfrm>
            <a:off x="1332490" y="5709060"/>
            <a:ext cx="8117873" cy="0"/>
          </a:xfrm>
          <a:prstGeom prst="line">
            <a:avLst/>
          </a:prstGeom>
          <a:ln>
            <a:solidFill>
              <a:srgbClr val="82829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651B4C43-E5F8-400E-A971-58A3766B1BF0}"/>
              </a:ext>
            </a:extLst>
          </p:cNvPr>
          <p:cNvSpPr txBox="1"/>
          <p:nvPr userDrawn="1"/>
        </p:nvSpPr>
        <p:spPr>
          <a:xfrm>
            <a:off x="461744" y="5605201"/>
            <a:ext cx="1044529" cy="197581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r>
              <a:rPr lang="en-GB" sz="1199" dirty="0">
                <a:solidFill>
                  <a:srgbClr val="828290"/>
                </a:solidFill>
                <a:latin typeface="EYInterstate Light" panose="02000506000000020004" pitchFamily="2" charset="0"/>
              </a:rPr>
              <a:t>Written by</a:t>
            </a:r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A9465B6B-DFD4-4E0C-9ACE-E88CA22204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61744" y="6019189"/>
            <a:ext cx="3087667" cy="180000"/>
          </a:xfrm>
        </p:spPr>
        <p:txBody>
          <a:bodyPr/>
          <a:lstStyle>
            <a:lvl1pPr marL="0" indent="0">
              <a:buNone/>
              <a:defRPr sz="1199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16">
            <a:extLst>
              <a:ext uri="{FF2B5EF4-FFF2-40B4-BE49-F238E27FC236}">
                <a16:creationId xmlns:a16="http://schemas.microsoft.com/office/drawing/2014/main" id="{A1F2ED22-5637-4AB8-ABD8-3693A6EA55F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61744" y="6216807"/>
            <a:ext cx="3087667" cy="180000"/>
          </a:xfrm>
        </p:spPr>
        <p:txBody>
          <a:bodyPr/>
          <a:lstStyle>
            <a:lvl1pPr marL="0" indent="0">
              <a:buNone/>
              <a:defRPr sz="1199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Job Title</a:t>
            </a:r>
            <a:endParaRPr lang="en-GB" dirty="0"/>
          </a:p>
        </p:txBody>
      </p:sp>
      <p:grpSp>
        <p:nvGrpSpPr>
          <p:cNvPr id="14" name="Group 4">
            <a:extLst>
              <a:ext uri="{FF2B5EF4-FFF2-40B4-BE49-F238E27FC236}">
                <a16:creationId xmlns:a16="http://schemas.microsoft.com/office/drawing/2014/main" id="{5CE71800-5B4B-4F94-8DA1-A2C05D9E8750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59392" y="4960938"/>
            <a:ext cx="1224912" cy="1435100"/>
            <a:chOff x="6529" y="3125"/>
            <a:chExt cx="772" cy="904"/>
          </a:xfrm>
        </p:grpSpPr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58FB548F-77B7-4F42-8CF1-C53943386AA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/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40005A69-42DA-4C6D-A41C-62C78DAFEFB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/>
            </a:p>
          </p:txBody>
        </p:sp>
      </p:grpSp>
    </p:spTree>
    <p:extLst>
      <p:ext uri="{BB962C8B-B14F-4D97-AF65-F5344CB8AC3E}">
        <p14:creationId xmlns:p14="http://schemas.microsoft.com/office/powerpoint/2010/main" val="42414732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2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pproved question w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5" name="Group 234">
            <a:extLst>
              <a:ext uri="{FF2B5EF4-FFF2-40B4-BE49-F238E27FC236}">
                <a16:creationId xmlns:a16="http://schemas.microsoft.com/office/drawing/2014/main" id="{5342E118-6F1D-4C46-956E-4CCCBCAA7952}"/>
              </a:ext>
            </a:extLst>
          </p:cNvPr>
          <p:cNvGrpSpPr/>
          <p:nvPr userDrawn="1"/>
        </p:nvGrpSpPr>
        <p:grpSpPr>
          <a:xfrm>
            <a:off x="497856" y="5826613"/>
            <a:ext cx="3876004" cy="570195"/>
            <a:chOff x="498115" y="5951018"/>
            <a:chExt cx="3878023" cy="570195"/>
          </a:xfrm>
        </p:grpSpPr>
        <p:sp>
          <p:nvSpPr>
            <p:cNvPr id="168" name="Rectangle 167">
              <a:extLst>
                <a:ext uri="{FF2B5EF4-FFF2-40B4-BE49-F238E27FC236}">
                  <a16:creationId xmlns:a16="http://schemas.microsoft.com/office/drawing/2014/main" id="{A22049CA-64AE-409F-988D-A7317F8AD13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98115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/>
            </a:p>
          </p:txBody>
        </p:sp>
        <p:sp>
          <p:nvSpPr>
            <p:cNvPr id="169" name="Rectangle 6">
              <a:extLst>
                <a:ext uri="{FF2B5EF4-FFF2-40B4-BE49-F238E27FC236}">
                  <a16:creationId xmlns:a16="http://schemas.microsoft.com/office/drawing/2014/main" id="{E37A0A05-0A78-44A7-8873-0A1A20C8717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9341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/>
            </a:p>
          </p:txBody>
        </p:sp>
        <p:sp>
          <p:nvSpPr>
            <p:cNvPr id="170" name="Rectangle 7">
              <a:extLst>
                <a:ext uri="{FF2B5EF4-FFF2-40B4-BE49-F238E27FC236}">
                  <a16:creationId xmlns:a16="http://schemas.microsoft.com/office/drawing/2014/main" id="{0DEA0CBE-8527-4287-BF98-DA48947875F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9045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/>
            </a:p>
          </p:txBody>
        </p:sp>
        <p:sp>
          <p:nvSpPr>
            <p:cNvPr id="171" name="Freeform 8">
              <a:extLst>
                <a:ext uri="{FF2B5EF4-FFF2-40B4-BE49-F238E27FC236}">
                  <a16:creationId xmlns:a16="http://schemas.microsoft.com/office/drawing/2014/main" id="{444058C6-612A-446E-8F68-0E5CC4CFF36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181188"/>
              <a:ext cx="94161" cy="130778"/>
            </a:xfrm>
            <a:custGeom>
              <a:avLst/>
              <a:gdLst>
                <a:gd name="T0" fmla="*/ 32 w 54"/>
                <a:gd name="T1" fmla="*/ 11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1 h 75"/>
                <a:gd name="T8" fmla="*/ 0 w 54"/>
                <a:gd name="T9" fmla="*/ 11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1 h 75"/>
                <a:gd name="T16" fmla="*/ 32 w 54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1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1"/>
                  </a:lnTo>
                  <a:lnTo>
                    <a:pt x="32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72" name="Freeform 9">
              <a:extLst>
                <a:ext uri="{FF2B5EF4-FFF2-40B4-BE49-F238E27FC236}">
                  <a16:creationId xmlns:a16="http://schemas.microsoft.com/office/drawing/2014/main" id="{1011EC31-E0C3-404F-93B3-EFD3DADC11C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174213"/>
              <a:ext cx="78468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73" name="Freeform 10">
              <a:extLst>
                <a:ext uri="{FF2B5EF4-FFF2-40B4-BE49-F238E27FC236}">
                  <a16:creationId xmlns:a16="http://schemas.microsoft.com/office/drawing/2014/main" id="{3C9D076B-D88C-4089-8D58-9A31CFCDB02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74" name="Freeform 11">
              <a:extLst>
                <a:ext uri="{FF2B5EF4-FFF2-40B4-BE49-F238E27FC236}">
                  <a16:creationId xmlns:a16="http://schemas.microsoft.com/office/drawing/2014/main" id="{29DB43AC-B765-4ECB-B483-562473BD4A3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174213"/>
              <a:ext cx="83698" cy="139497"/>
            </a:xfrm>
            <a:custGeom>
              <a:avLst/>
              <a:gdLst>
                <a:gd name="T0" fmla="*/ 33 w 33"/>
                <a:gd name="T1" fmla="*/ 35 h 55"/>
                <a:gd name="T2" fmla="*/ 31 w 33"/>
                <a:gd name="T3" fmla="*/ 44 h 55"/>
                <a:gd name="T4" fmla="*/ 28 w 33"/>
                <a:gd name="T5" fmla="*/ 50 h 55"/>
                <a:gd name="T6" fmla="*/ 23 w 33"/>
                <a:gd name="T7" fmla="*/ 53 h 55"/>
                <a:gd name="T8" fmla="*/ 17 w 33"/>
                <a:gd name="T9" fmla="*/ 55 h 55"/>
                <a:gd name="T10" fmla="*/ 12 w 33"/>
                <a:gd name="T11" fmla="*/ 53 h 55"/>
                <a:gd name="T12" fmla="*/ 8 w 33"/>
                <a:gd name="T13" fmla="*/ 50 h 55"/>
                <a:gd name="T14" fmla="*/ 8 w 33"/>
                <a:gd name="T15" fmla="*/ 54 h 55"/>
                <a:gd name="T16" fmla="*/ 0 w 33"/>
                <a:gd name="T17" fmla="*/ 54 h 55"/>
                <a:gd name="T18" fmla="*/ 0 w 33"/>
                <a:gd name="T19" fmla="*/ 4 h 55"/>
                <a:gd name="T20" fmla="*/ 8 w 33"/>
                <a:gd name="T21" fmla="*/ 0 h 55"/>
                <a:gd name="T22" fmla="*/ 8 w 33"/>
                <a:gd name="T23" fmla="*/ 19 h 55"/>
                <a:gd name="T24" fmla="*/ 10 w 33"/>
                <a:gd name="T25" fmla="*/ 17 h 55"/>
                <a:gd name="T26" fmla="*/ 12 w 33"/>
                <a:gd name="T27" fmla="*/ 16 h 55"/>
                <a:gd name="T28" fmla="*/ 14 w 33"/>
                <a:gd name="T29" fmla="*/ 15 h 55"/>
                <a:gd name="T30" fmla="*/ 18 w 33"/>
                <a:gd name="T31" fmla="*/ 15 h 55"/>
                <a:gd name="T32" fmla="*/ 24 w 33"/>
                <a:gd name="T33" fmla="*/ 16 h 55"/>
                <a:gd name="T34" fmla="*/ 28 w 33"/>
                <a:gd name="T35" fmla="*/ 19 h 55"/>
                <a:gd name="T36" fmla="*/ 31 w 33"/>
                <a:gd name="T37" fmla="*/ 26 h 55"/>
                <a:gd name="T38" fmla="*/ 33 w 33"/>
                <a:gd name="T39" fmla="*/ 35 h 55"/>
                <a:gd name="T40" fmla="*/ 25 w 33"/>
                <a:gd name="T41" fmla="*/ 35 h 55"/>
                <a:gd name="T42" fmla="*/ 23 w 33"/>
                <a:gd name="T43" fmla="*/ 25 h 55"/>
                <a:gd name="T44" fmla="*/ 16 w 33"/>
                <a:gd name="T45" fmla="*/ 22 h 55"/>
                <a:gd name="T46" fmla="*/ 14 w 33"/>
                <a:gd name="T47" fmla="*/ 22 h 55"/>
                <a:gd name="T48" fmla="*/ 11 w 33"/>
                <a:gd name="T49" fmla="*/ 23 h 55"/>
                <a:gd name="T50" fmla="*/ 9 w 33"/>
                <a:gd name="T51" fmla="*/ 25 h 55"/>
                <a:gd name="T52" fmla="*/ 8 w 33"/>
                <a:gd name="T53" fmla="*/ 26 h 55"/>
                <a:gd name="T54" fmla="*/ 8 w 33"/>
                <a:gd name="T55" fmla="*/ 43 h 55"/>
                <a:gd name="T56" fmla="*/ 9 w 33"/>
                <a:gd name="T57" fmla="*/ 44 h 55"/>
                <a:gd name="T58" fmla="*/ 11 w 33"/>
                <a:gd name="T59" fmla="*/ 46 h 55"/>
                <a:gd name="T60" fmla="*/ 14 w 33"/>
                <a:gd name="T61" fmla="*/ 47 h 55"/>
                <a:gd name="T62" fmla="*/ 17 w 33"/>
                <a:gd name="T63" fmla="*/ 48 h 55"/>
                <a:gd name="T64" fmla="*/ 23 w 33"/>
                <a:gd name="T65" fmla="*/ 45 h 55"/>
                <a:gd name="T66" fmla="*/ 25 w 33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5">
                  <a:moveTo>
                    <a:pt x="33" y="35"/>
                  </a:moveTo>
                  <a:cubicBezTo>
                    <a:pt x="33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7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6" y="55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8"/>
                    <a:pt x="10" y="17"/>
                  </a:cubicBezTo>
                  <a:cubicBezTo>
                    <a:pt x="11" y="17"/>
                    <a:pt x="11" y="16"/>
                    <a:pt x="12" y="16"/>
                  </a:cubicBezTo>
                  <a:cubicBezTo>
                    <a:pt x="13" y="16"/>
                    <a:pt x="13" y="15"/>
                    <a:pt x="14" y="15"/>
                  </a:cubicBezTo>
                  <a:cubicBezTo>
                    <a:pt x="15" y="15"/>
                    <a:pt x="16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30" y="21"/>
                    <a:pt x="31" y="23"/>
                    <a:pt x="31" y="26"/>
                  </a:cubicBezTo>
                  <a:cubicBezTo>
                    <a:pt x="32" y="28"/>
                    <a:pt x="33" y="32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5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1" y="23"/>
                    <a:pt x="10" y="24"/>
                    <a:pt x="9" y="25"/>
                  </a:cubicBezTo>
                  <a:cubicBezTo>
                    <a:pt x="9" y="25"/>
                    <a:pt x="8" y="26"/>
                    <a:pt x="8" y="26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8" y="43"/>
                    <a:pt x="9" y="44"/>
                    <a:pt x="9" y="44"/>
                  </a:cubicBezTo>
                  <a:cubicBezTo>
                    <a:pt x="10" y="45"/>
                    <a:pt x="11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6" y="48"/>
                    <a:pt x="17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75" name="Freeform 12">
              <a:extLst>
                <a:ext uri="{FF2B5EF4-FFF2-40B4-BE49-F238E27FC236}">
                  <a16:creationId xmlns:a16="http://schemas.microsoft.com/office/drawing/2014/main" id="{AF1DE1B8-EA4B-4A98-A97D-BA5EEA42B19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76" name="Freeform 13">
              <a:extLst>
                <a:ext uri="{FF2B5EF4-FFF2-40B4-BE49-F238E27FC236}">
                  <a16:creationId xmlns:a16="http://schemas.microsoft.com/office/drawing/2014/main" id="{F8F60B79-7AF5-4C5E-A5EF-126F117D591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1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2" y="54"/>
                    <a:pt x="11" y="54"/>
                  </a:cubicBezTo>
                  <a:cubicBezTo>
                    <a:pt x="10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2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77" name="Freeform 14">
              <a:extLst>
                <a:ext uri="{FF2B5EF4-FFF2-40B4-BE49-F238E27FC236}">
                  <a16:creationId xmlns:a16="http://schemas.microsoft.com/office/drawing/2014/main" id="{0A0438AD-9937-4C25-AB9E-7F8C8CCA23F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78" name="Freeform 15">
              <a:extLst>
                <a:ext uri="{FF2B5EF4-FFF2-40B4-BE49-F238E27FC236}">
                  <a16:creationId xmlns:a16="http://schemas.microsoft.com/office/drawing/2014/main" id="{6FDE2726-7032-4BE4-A420-0ECF49A32A8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0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2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0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3" y="31"/>
                    <a:pt x="24" y="30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0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7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79" name="Freeform 16">
              <a:extLst>
                <a:ext uri="{FF2B5EF4-FFF2-40B4-BE49-F238E27FC236}">
                  <a16:creationId xmlns:a16="http://schemas.microsoft.com/office/drawing/2014/main" id="{50C22C21-F8DB-486D-9042-765D68AE3A7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212575"/>
              <a:ext cx="55799" cy="99391"/>
            </a:xfrm>
            <a:custGeom>
              <a:avLst/>
              <a:gdLst>
                <a:gd name="T0" fmla="*/ 20 w 22"/>
                <a:gd name="T1" fmla="*/ 8 h 39"/>
                <a:gd name="T2" fmla="*/ 18 w 22"/>
                <a:gd name="T3" fmla="*/ 7 h 39"/>
                <a:gd name="T4" fmla="*/ 15 w 22"/>
                <a:gd name="T5" fmla="*/ 7 h 39"/>
                <a:gd name="T6" fmla="*/ 9 w 22"/>
                <a:gd name="T7" fmla="*/ 9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0 h 39"/>
                <a:gd name="T16" fmla="*/ 7 w 22"/>
                <a:gd name="T17" fmla="*/ 0 h 39"/>
                <a:gd name="T18" fmla="*/ 7 w 22"/>
                <a:gd name="T19" fmla="*/ 4 h 39"/>
                <a:gd name="T20" fmla="*/ 9 w 22"/>
                <a:gd name="T21" fmla="*/ 2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0 h 39"/>
                <a:gd name="T30" fmla="*/ 22 w 22"/>
                <a:gd name="T31" fmla="*/ 1 h 39"/>
                <a:gd name="T32" fmla="*/ 20 w 22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2" y="7"/>
                    <a:pt x="10" y="8"/>
                    <a:pt x="9" y="9"/>
                  </a:cubicBezTo>
                  <a:cubicBezTo>
                    <a:pt x="8" y="11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9" y="2"/>
                    <a:pt x="10" y="1"/>
                    <a:pt x="11" y="1"/>
                  </a:cubicBezTo>
                  <a:cubicBezTo>
                    <a:pt x="11" y="0"/>
                    <a:pt x="12" y="0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0"/>
                  </a:cubicBezTo>
                  <a:cubicBezTo>
                    <a:pt x="21" y="0"/>
                    <a:pt x="22" y="1"/>
                    <a:pt x="22" y="1"/>
                  </a:cubicBezTo>
                  <a:lnTo>
                    <a:pt x="20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80" name="Freeform 17">
              <a:extLst>
                <a:ext uri="{FF2B5EF4-FFF2-40B4-BE49-F238E27FC236}">
                  <a16:creationId xmlns:a16="http://schemas.microsoft.com/office/drawing/2014/main" id="{7F763F72-BB8F-482C-9FDA-40EDD6EE5F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81" name="Freeform 18">
              <a:extLst>
                <a:ext uri="{FF2B5EF4-FFF2-40B4-BE49-F238E27FC236}">
                  <a16:creationId xmlns:a16="http://schemas.microsoft.com/office/drawing/2014/main" id="{710F466C-6BEC-4970-9707-40D8002740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2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8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9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82" name="Freeform 19">
              <a:extLst>
                <a:ext uri="{FF2B5EF4-FFF2-40B4-BE49-F238E27FC236}">
                  <a16:creationId xmlns:a16="http://schemas.microsoft.com/office/drawing/2014/main" id="{3332407D-F423-41B2-985F-8A4482C61D9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83" name="Freeform 20">
              <a:extLst>
                <a:ext uri="{FF2B5EF4-FFF2-40B4-BE49-F238E27FC236}">
                  <a16:creationId xmlns:a16="http://schemas.microsoft.com/office/drawing/2014/main" id="{44E3286F-1188-47B1-8B46-3498795DF2D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30922" y="6212575"/>
              <a:ext cx="80211" cy="134265"/>
            </a:xfrm>
            <a:custGeom>
              <a:avLst/>
              <a:gdLst>
                <a:gd name="T0" fmla="*/ 25 w 32"/>
                <a:gd name="T1" fmla="*/ 53 h 53"/>
                <a:gd name="T2" fmla="*/ 25 w 32"/>
                <a:gd name="T3" fmla="*/ 35 h 53"/>
                <a:gd name="T4" fmla="*/ 20 w 32"/>
                <a:gd name="T5" fmla="*/ 38 h 53"/>
                <a:gd name="T6" fmla="*/ 15 w 32"/>
                <a:gd name="T7" fmla="*/ 40 h 53"/>
                <a:gd name="T8" fmla="*/ 9 w 32"/>
                <a:gd name="T9" fmla="*/ 38 h 53"/>
                <a:gd name="T10" fmla="*/ 4 w 32"/>
                <a:gd name="T11" fmla="*/ 35 h 53"/>
                <a:gd name="T12" fmla="*/ 1 w 32"/>
                <a:gd name="T13" fmla="*/ 28 h 53"/>
                <a:gd name="T14" fmla="*/ 0 w 32"/>
                <a:gd name="T15" fmla="*/ 19 h 53"/>
                <a:gd name="T16" fmla="*/ 1 w 32"/>
                <a:gd name="T17" fmla="*/ 10 h 53"/>
                <a:gd name="T18" fmla="*/ 4 w 32"/>
                <a:gd name="T19" fmla="*/ 4 h 53"/>
                <a:gd name="T20" fmla="*/ 9 w 32"/>
                <a:gd name="T21" fmla="*/ 1 h 53"/>
                <a:gd name="T22" fmla="*/ 15 w 32"/>
                <a:gd name="T23" fmla="*/ 0 h 53"/>
                <a:gd name="T24" fmla="*/ 18 w 32"/>
                <a:gd name="T25" fmla="*/ 0 h 53"/>
                <a:gd name="T26" fmla="*/ 20 w 32"/>
                <a:gd name="T27" fmla="*/ 1 h 53"/>
                <a:gd name="T28" fmla="*/ 23 w 32"/>
                <a:gd name="T29" fmla="*/ 2 h 53"/>
                <a:gd name="T30" fmla="*/ 25 w 32"/>
                <a:gd name="T31" fmla="*/ 4 h 53"/>
                <a:gd name="T32" fmla="*/ 25 w 32"/>
                <a:gd name="T33" fmla="*/ 0 h 53"/>
                <a:gd name="T34" fmla="*/ 32 w 32"/>
                <a:gd name="T35" fmla="*/ 0 h 53"/>
                <a:gd name="T36" fmla="*/ 32 w 32"/>
                <a:gd name="T37" fmla="*/ 49 h 53"/>
                <a:gd name="T38" fmla="*/ 25 w 32"/>
                <a:gd name="T39" fmla="*/ 53 h 53"/>
                <a:gd name="T40" fmla="*/ 25 w 32"/>
                <a:gd name="T41" fmla="*/ 12 h 53"/>
                <a:gd name="T42" fmla="*/ 23 w 32"/>
                <a:gd name="T43" fmla="*/ 10 h 53"/>
                <a:gd name="T44" fmla="*/ 21 w 32"/>
                <a:gd name="T45" fmla="*/ 8 h 53"/>
                <a:gd name="T46" fmla="*/ 18 w 32"/>
                <a:gd name="T47" fmla="*/ 7 h 53"/>
                <a:gd name="T48" fmla="*/ 16 w 32"/>
                <a:gd name="T49" fmla="*/ 7 h 53"/>
                <a:gd name="T50" fmla="*/ 9 w 32"/>
                <a:gd name="T51" fmla="*/ 10 h 53"/>
                <a:gd name="T52" fmla="*/ 7 w 32"/>
                <a:gd name="T53" fmla="*/ 19 h 53"/>
                <a:gd name="T54" fmla="*/ 10 w 32"/>
                <a:gd name="T55" fmla="*/ 29 h 53"/>
                <a:gd name="T56" fmla="*/ 16 w 32"/>
                <a:gd name="T57" fmla="*/ 33 h 53"/>
                <a:gd name="T58" fmla="*/ 21 w 32"/>
                <a:gd name="T59" fmla="*/ 31 h 53"/>
                <a:gd name="T60" fmla="*/ 25 w 32"/>
                <a:gd name="T61" fmla="*/ 28 h 53"/>
                <a:gd name="T62" fmla="*/ 25 w 32"/>
                <a:gd name="T63" fmla="*/ 1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2" h="53">
                  <a:moveTo>
                    <a:pt x="25" y="53"/>
                  </a:moveTo>
                  <a:cubicBezTo>
                    <a:pt x="25" y="35"/>
                    <a:pt x="25" y="35"/>
                    <a:pt x="25" y="35"/>
                  </a:cubicBezTo>
                  <a:cubicBezTo>
                    <a:pt x="23" y="36"/>
                    <a:pt x="22" y="37"/>
                    <a:pt x="20" y="38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3" y="40"/>
                    <a:pt x="11" y="39"/>
                    <a:pt x="9" y="38"/>
                  </a:cubicBezTo>
                  <a:cubicBezTo>
                    <a:pt x="7" y="38"/>
                    <a:pt x="5" y="36"/>
                    <a:pt x="4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0" y="26"/>
                    <a:pt x="0" y="23"/>
                    <a:pt x="0" y="19"/>
                  </a:cubicBezTo>
                  <a:cubicBezTo>
                    <a:pt x="0" y="16"/>
                    <a:pt x="0" y="13"/>
                    <a:pt x="1" y="10"/>
                  </a:cubicBezTo>
                  <a:cubicBezTo>
                    <a:pt x="2" y="8"/>
                    <a:pt x="3" y="6"/>
                    <a:pt x="4" y="4"/>
                  </a:cubicBezTo>
                  <a:cubicBezTo>
                    <a:pt x="6" y="3"/>
                    <a:pt x="7" y="2"/>
                    <a:pt x="9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6" y="0"/>
                    <a:pt x="17" y="0"/>
                    <a:pt x="18" y="0"/>
                  </a:cubicBezTo>
                  <a:cubicBezTo>
                    <a:pt x="19" y="0"/>
                    <a:pt x="20" y="0"/>
                    <a:pt x="20" y="1"/>
                  </a:cubicBezTo>
                  <a:cubicBezTo>
                    <a:pt x="21" y="1"/>
                    <a:pt x="22" y="2"/>
                    <a:pt x="23" y="2"/>
                  </a:cubicBezTo>
                  <a:cubicBezTo>
                    <a:pt x="23" y="3"/>
                    <a:pt x="24" y="3"/>
                    <a:pt x="25" y="4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49"/>
                    <a:pt x="32" y="49"/>
                    <a:pt x="32" y="49"/>
                  </a:cubicBezTo>
                  <a:lnTo>
                    <a:pt x="25" y="53"/>
                  </a:lnTo>
                  <a:close/>
                  <a:moveTo>
                    <a:pt x="25" y="12"/>
                  </a:moveTo>
                  <a:cubicBezTo>
                    <a:pt x="24" y="11"/>
                    <a:pt x="24" y="10"/>
                    <a:pt x="23" y="10"/>
                  </a:cubicBezTo>
                  <a:cubicBezTo>
                    <a:pt x="23" y="9"/>
                    <a:pt x="22" y="9"/>
                    <a:pt x="21" y="8"/>
                  </a:cubicBezTo>
                  <a:cubicBezTo>
                    <a:pt x="20" y="8"/>
                    <a:pt x="19" y="7"/>
                    <a:pt x="18" y="7"/>
                  </a:cubicBezTo>
                  <a:cubicBezTo>
                    <a:pt x="18" y="7"/>
                    <a:pt x="17" y="7"/>
                    <a:pt x="16" y="7"/>
                  </a:cubicBezTo>
                  <a:cubicBezTo>
                    <a:pt x="13" y="7"/>
                    <a:pt x="11" y="8"/>
                    <a:pt x="9" y="10"/>
                  </a:cubicBezTo>
                  <a:cubicBezTo>
                    <a:pt x="8" y="12"/>
                    <a:pt x="7" y="15"/>
                    <a:pt x="7" y="19"/>
                  </a:cubicBezTo>
                  <a:cubicBezTo>
                    <a:pt x="7" y="23"/>
                    <a:pt x="8" y="27"/>
                    <a:pt x="10" y="29"/>
                  </a:cubicBezTo>
                  <a:cubicBezTo>
                    <a:pt x="11" y="31"/>
                    <a:pt x="13" y="33"/>
                    <a:pt x="16" y="33"/>
                  </a:cubicBezTo>
                  <a:cubicBezTo>
                    <a:pt x="18" y="33"/>
                    <a:pt x="19" y="32"/>
                    <a:pt x="21" y="31"/>
                  </a:cubicBezTo>
                  <a:cubicBezTo>
                    <a:pt x="22" y="30"/>
                    <a:pt x="24" y="29"/>
                    <a:pt x="25" y="28"/>
                  </a:cubicBezTo>
                  <a:lnTo>
                    <a:pt x="25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84" name="Freeform 21">
              <a:extLst>
                <a:ext uri="{FF2B5EF4-FFF2-40B4-BE49-F238E27FC236}">
                  <a16:creationId xmlns:a16="http://schemas.microsoft.com/office/drawing/2014/main" id="{E7BD9E0B-920A-4409-95E7-40A47107B3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35545" y="6212575"/>
              <a:ext cx="78468" cy="101135"/>
            </a:xfrm>
            <a:custGeom>
              <a:avLst/>
              <a:gdLst>
                <a:gd name="T0" fmla="*/ 24 w 31"/>
                <a:gd name="T1" fmla="*/ 39 h 40"/>
                <a:gd name="T2" fmla="*/ 24 w 31"/>
                <a:gd name="T3" fmla="*/ 35 h 40"/>
                <a:gd name="T4" fmla="*/ 20 w 31"/>
                <a:gd name="T5" fmla="*/ 38 h 40"/>
                <a:gd name="T6" fmla="*/ 14 w 31"/>
                <a:gd name="T7" fmla="*/ 40 h 40"/>
                <a:gd name="T8" fmla="*/ 4 w 31"/>
                <a:gd name="T9" fmla="*/ 35 h 40"/>
                <a:gd name="T10" fmla="*/ 0 w 31"/>
                <a:gd name="T11" fmla="*/ 22 h 40"/>
                <a:gd name="T12" fmla="*/ 0 w 31"/>
                <a:gd name="T13" fmla="*/ 0 h 40"/>
                <a:gd name="T14" fmla="*/ 8 w 31"/>
                <a:gd name="T15" fmla="*/ 0 h 40"/>
                <a:gd name="T16" fmla="*/ 8 w 31"/>
                <a:gd name="T17" fmla="*/ 22 h 40"/>
                <a:gd name="T18" fmla="*/ 10 w 31"/>
                <a:gd name="T19" fmla="*/ 30 h 40"/>
                <a:gd name="T20" fmla="*/ 16 w 31"/>
                <a:gd name="T21" fmla="*/ 33 h 40"/>
                <a:gd name="T22" fmla="*/ 22 w 31"/>
                <a:gd name="T23" fmla="*/ 30 h 40"/>
                <a:gd name="T24" fmla="*/ 24 w 31"/>
                <a:gd name="T25" fmla="*/ 23 h 40"/>
                <a:gd name="T26" fmla="*/ 24 w 31"/>
                <a:gd name="T27" fmla="*/ 0 h 40"/>
                <a:gd name="T28" fmla="*/ 31 w 31"/>
                <a:gd name="T29" fmla="*/ 0 h 40"/>
                <a:gd name="T30" fmla="*/ 31 w 31"/>
                <a:gd name="T31" fmla="*/ 39 h 40"/>
                <a:gd name="T32" fmla="*/ 24 w 31"/>
                <a:gd name="T33" fmla="*/ 39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1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2" y="38"/>
                    <a:pt x="20" y="38"/>
                  </a:cubicBezTo>
                  <a:cubicBezTo>
                    <a:pt x="18" y="39"/>
                    <a:pt x="16" y="40"/>
                    <a:pt x="14" y="40"/>
                  </a:cubicBezTo>
                  <a:cubicBezTo>
                    <a:pt x="10" y="40"/>
                    <a:pt x="6" y="38"/>
                    <a:pt x="4" y="35"/>
                  </a:cubicBezTo>
                  <a:cubicBezTo>
                    <a:pt x="2" y="32"/>
                    <a:pt x="0" y="28"/>
                    <a:pt x="0" y="2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6"/>
                    <a:pt x="9" y="28"/>
                    <a:pt x="10" y="30"/>
                  </a:cubicBezTo>
                  <a:cubicBezTo>
                    <a:pt x="11" y="32"/>
                    <a:pt x="13" y="33"/>
                    <a:pt x="16" y="33"/>
                  </a:cubicBezTo>
                  <a:cubicBezTo>
                    <a:pt x="18" y="33"/>
                    <a:pt x="20" y="32"/>
                    <a:pt x="22" y="30"/>
                  </a:cubicBezTo>
                  <a:cubicBezTo>
                    <a:pt x="23" y="28"/>
                    <a:pt x="24" y="26"/>
                    <a:pt x="24" y="23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4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85" name="Freeform 22">
              <a:extLst>
                <a:ext uri="{FF2B5EF4-FFF2-40B4-BE49-F238E27FC236}">
                  <a16:creationId xmlns:a16="http://schemas.microsoft.com/office/drawing/2014/main" id="{9D2625B8-0A5B-46EF-8302-77353AB0D3A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93493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1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2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86" name="Freeform 23">
              <a:extLst>
                <a:ext uri="{FF2B5EF4-FFF2-40B4-BE49-F238E27FC236}">
                  <a16:creationId xmlns:a16="http://schemas.microsoft.com/office/drawing/2014/main" id="{DE6C9E0E-C49B-4FBE-97F3-BB6DFAC5742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30841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1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4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7 w 29"/>
                <a:gd name="T55" fmla="*/ 24 h 40"/>
                <a:gd name="T56" fmla="*/ 13 w 29"/>
                <a:gd name="T57" fmla="*/ 22 h 40"/>
                <a:gd name="T58" fmla="*/ 8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2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3" y="6"/>
                    <a:pt x="11" y="7"/>
                    <a:pt x="10" y="7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1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9" y="25"/>
                    <a:pt x="18" y="24"/>
                    <a:pt x="17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8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3" y="15"/>
                    <a:pt x="2" y="14"/>
                  </a:cubicBezTo>
                  <a:cubicBezTo>
                    <a:pt x="2" y="13"/>
                    <a:pt x="2" y="12"/>
                    <a:pt x="2" y="10"/>
                  </a:cubicBezTo>
                  <a:cubicBezTo>
                    <a:pt x="2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87" name="Freeform 24">
              <a:extLst>
                <a:ext uri="{FF2B5EF4-FFF2-40B4-BE49-F238E27FC236}">
                  <a16:creationId xmlns:a16="http://schemas.microsoft.com/office/drawing/2014/main" id="{580801ED-9260-41DB-A0B7-5AF24B32272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1802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88" name="Freeform 25">
              <a:extLst>
                <a:ext uri="{FF2B5EF4-FFF2-40B4-BE49-F238E27FC236}">
                  <a16:creationId xmlns:a16="http://schemas.microsoft.com/office/drawing/2014/main" id="{3A9842FB-6E95-4D11-B5B9-58C4CB82C2F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194750" y="6175958"/>
              <a:ext cx="24412" cy="136010"/>
            </a:xfrm>
            <a:custGeom>
              <a:avLst/>
              <a:gdLst>
                <a:gd name="T0" fmla="*/ 10 w 10"/>
                <a:gd name="T1" fmla="*/ 5 h 53"/>
                <a:gd name="T2" fmla="*/ 9 w 10"/>
                <a:gd name="T3" fmla="*/ 6 h 53"/>
                <a:gd name="T4" fmla="*/ 8 w 10"/>
                <a:gd name="T5" fmla="*/ 8 h 53"/>
                <a:gd name="T6" fmla="*/ 7 w 10"/>
                <a:gd name="T7" fmla="*/ 9 h 53"/>
                <a:gd name="T8" fmla="*/ 5 w 10"/>
                <a:gd name="T9" fmla="*/ 9 h 53"/>
                <a:gd name="T10" fmla="*/ 3 w 10"/>
                <a:gd name="T11" fmla="*/ 9 h 53"/>
                <a:gd name="T12" fmla="*/ 1 w 10"/>
                <a:gd name="T13" fmla="*/ 8 h 53"/>
                <a:gd name="T14" fmla="*/ 0 w 10"/>
                <a:gd name="T15" fmla="*/ 6 h 53"/>
                <a:gd name="T16" fmla="*/ 0 w 10"/>
                <a:gd name="T17" fmla="*/ 5 h 53"/>
                <a:gd name="T18" fmla="*/ 0 w 10"/>
                <a:gd name="T19" fmla="*/ 3 h 53"/>
                <a:gd name="T20" fmla="*/ 1 w 10"/>
                <a:gd name="T21" fmla="*/ 1 h 53"/>
                <a:gd name="T22" fmla="*/ 3 w 10"/>
                <a:gd name="T23" fmla="*/ 0 h 53"/>
                <a:gd name="T24" fmla="*/ 5 w 10"/>
                <a:gd name="T25" fmla="*/ 0 h 53"/>
                <a:gd name="T26" fmla="*/ 7 w 10"/>
                <a:gd name="T27" fmla="*/ 0 h 53"/>
                <a:gd name="T28" fmla="*/ 8 w 10"/>
                <a:gd name="T29" fmla="*/ 1 h 53"/>
                <a:gd name="T30" fmla="*/ 9 w 10"/>
                <a:gd name="T31" fmla="*/ 3 h 53"/>
                <a:gd name="T32" fmla="*/ 10 w 10"/>
                <a:gd name="T33" fmla="*/ 5 h 53"/>
                <a:gd name="T34" fmla="*/ 1 w 10"/>
                <a:gd name="T35" fmla="*/ 53 h 53"/>
                <a:gd name="T36" fmla="*/ 1 w 10"/>
                <a:gd name="T37" fmla="*/ 14 h 53"/>
                <a:gd name="T38" fmla="*/ 9 w 10"/>
                <a:gd name="T39" fmla="*/ 14 h 53"/>
                <a:gd name="T40" fmla="*/ 9 w 10"/>
                <a:gd name="T41" fmla="*/ 53 h 53"/>
                <a:gd name="T42" fmla="*/ 1 w 10"/>
                <a:gd name="T43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" h="53">
                  <a:moveTo>
                    <a:pt x="10" y="5"/>
                  </a:moveTo>
                  <a:cubicBezTo>
                    <a:pt x="10" y="5"/>
                    <a:pt x="10" y="6"/>
                    <a:pt x="9" y="6"/>
                  </a:cubicBezTo>
                  <a:cubicBezTo>
                    <a:pt x="9" y="7"/>
                    <a:pt x="9" y="8"/>
                    <a:pt x="8" y="8"/>
                  </a:cubicBezTo>
                  <a:cubicBezTo>
                    <a:pt x="8" y="8"/>
                    <a:pt x="7" y="9"/>
                    <a:pt x="7" y="9"/>
                  </a:cubicBezTo>
                  <a:cubicBezTo>
                    <a:pt x="6" y="9"/>
                    <a:pt x="6" y="9"/>
                    <a:pt x="5" y="9"/>
                  </a:cubicBezTo>
                  <a:cubicBezTo>
                    <a:pt x="4" y="9"/>
                    <a:pt x="4" y="9"/>
                    <a:pt x="3" y="9"/>
                  </a:cubicBezTo>
                  <a:cubicBezTo>
                    <a:pt x="2" y="9"/>
                    <a:pt x="2" y="8"/>
                    <a:pt x="1" y="8"/>
                  </a:cubicBezTo>
                  <a:cubicBezTo>
                    <a:pt x="1" y="8"/>
                    <a:pt x="1" y="7"/>
                    <a:pt x="0" y="6"/>
                  </a:cubicBezTo>
                  <a:cubicBezTo>
                    <a:pt x="0" y="6"/>
                    <a:pt x="0" y="5"/>
                    <a:pt x="0" y="5"/>
                  </a:cubicBezTo>
                  <a:cubicBezTo>
                    <a:pt x="0" y="4"/>
                    <a:pt x="0" y="3"/>
                    <a:pt x="0" y="3"/>
                  </a:cubicBezTo>
                  <a:cubicBezTo>
                    <a:pt x="1" y="2"/>
                    <a:pt x="1" y="2"/>
                    <a:pt x="1" y="1"/>
                  </a:cubicBezTo>
                  <a:cubicBezTo>
                    <a:pt x="2" y="1"/>
                    <a:pt x="2" y="0"/>
                    <a:pt x="3" y="0"/>
                  </a:cubicBezTo>
                  <a:cubicBezTo>
                    <a:pt x="4" y="0"/>
                    <a:pt x="4" y="0"/>
                    <a:pt x="5" y="0"/>
                  </a:cubicBezTo>
                  <a:cubicBezTo>
                    <a:pt x="6" y="0"/>
                    <a:pt x="6" y="0"/>
                    <a:pt x="7" y="0"/>
                  </a:cubicBezTo>
                  <a:cubicBezTo>
                    <a:pt x="7" y="0"/>
                    <a:pt x="8" y="1"/>
                    <a:pt x="8" y="1"/>
                  </a:cubicBezTo>
                  <a:cubicBezTo>
                    <a:pt x="9" y="2"/>
                    <a:pt x="9" y="2"/>
                    <a:pt x="9" y="3"/>
                  </a:cubicBezTo>
                  <a:cubicBezTo>
                    <a:pt x="10" y="3"/>
                    <a:pt x="10" y="4"/>
                    <a:pt x="10" y="5"/>
                  </a:cubicBezTo>
                  <a:close/>
                  <a:moveTo>
                    <a:pt x="1" y="53"/>
                  </a:moveTo>
                  <a:cubicBezTo>
                    <a:pt x="1" y="14"/>
                    <a:pt x="1" y="14"/>
                    <a:pt x="1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53"/>
                    <a:pt x="9" y="53"/>
                    <a:pt x="9" y="53"/>
                  </a:cubicBezTo>
                  <a:lnTo>
                    <a:pt x="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89" name="Freeform 26">
              <a:extLst>
                <a:ext uri="{FF2B5EF4-FFF2-40B4-BE49-F238E27FC236}">
                  <a16:creationId xmlns:a16="http://schemas.microsoft.com/office/drawing/2014/main" id="{076538BB-C266-42BE-916B-458AF9EFB22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236599" y="6212575"/>
              <a:ext cx="87186" cy="101135"/>
            </a:xfrm>
            <a:custGeom>
              <a:avLst/>
              <a:gdLst>
                <a:gd name="T0" fmla="*/ 34 w 34"/>
                <a:gd name="T1" fmla="*/ 19 h 40"/>
                <a:gd name="T2" fmla="*/ 33 w 34"/>
                <a:gd name="T3" fmla="*/ 28 h 40"/>
                <a:gd name="T4" fmla="*/ 29 w 34"/>
                <a:gd name="T5" fmla="*/ 34 h 40"/>
                <a:gd name="T6" fmla="*/ 24 w 34"/>
                <a:gd name="T7" fmla="*/ 38 h 40"/>
                <a:gd name="T8" fmla="*/ 17 w 34"/>
                <a:gd name="T9" fmla="*/ 40 h 40"/>
                <a:gd name="T10" fmla="*/ 10 w 34"/>
                <a:gd name="T11" fmla="*/ 38 h 40"/>
                <a:gd name="T12" fmla="*/ 5 w 34"/>
                <a:gd name="T13" fmla="*/ 34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1 h 40"/>
                <a:gd name="T20" fmla="*/ 5 w 34"/>
                <a:gd name="T21" fmla="*/ 5 h 40"/>
                <a:gd name="T22" fmla="*/ 10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1 h 40"/>
                <a:gd name="T32" fmla="*/ 34 w 34"/>
                <a:gd name="T33" fmla="*/ 19 h 40"/>
                <a:gd name="T34" fmla="*/ 26 w 34"/>
                <a:gd name="T35" fmla="*/ 20 h 40"/>
                <a:gd name="T36" fmla="*/ 26 w 34"/>
                <a:gd name="T37" fmla="*/ 14 h 40"/>
                <a:gd name="T38" fmla="*/ 24 w 34"/>
                <a:gd name="T39" fmla="*/ 10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0 h 40"/>
                <a:gd name="T48" fmla="*/ 8 w 34"/>
                <a:gd name="T49" fmla="*/ 14 h 40"/>
                <a:gd name="T50" fmla="*/ 7 w 34"/>
                <a:gd name="T51" fmla="*/ 19 h 40"/>
                <a:gd name="T52" fmla="*/ 8 w 34"/>
                <a:gd name="T53" fmla="*/ 25 h 40"/>
                <a:gd name="T54" fmla="*/ 10 w 34"/>
                <a:gd name="T55" fmla="*/ 29 h 40"/>
                <a:gd name="T56" fmla="*/ 13 w 34"/>
                <a:gd name="T57" fmla="*/ 32 h 40"/>
                <a:gd name="T58" fmla="*/ 17 w 34"/>
                <a:gd name="T59" fmla="*/ 32 h 40"/>
                <a:gd name="T60" fmla="*/ 21 w 34"/>
                <a:gd name="T61" fmla="*/ 31 h 40"/>
                <a:gd name="T62" fmla="*/ 24 w 34"/>
                <a:gd name="T63" fmla="*/ 29 h 40"/>
                <a:gd name="T64" fmla="*/ 26 w 34"/>
                <a:gd name="T65" fmla="*/ 25 h 40"/>
                <a:gd name="T66" fmla="*/ 26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19"/>
                  </a:moveTo>
                  <a:cubicBezTo>
                    <a:pt x="34" y="23"/>
                    <a:pt x="34" y="25"/>
                    <a:pt x="33" y="28"/>
                  </a:cubicBezTo>
                  <a:cubicBezTo>
                    <a:pt x="32" y="30"/>
                    <a:pt x="31" y="33"/>
                    <a:pt x="29" y="34"/>
                  </a:cubicBezTo>
                  <a:cubicBezTo>
                    <a:pt x="28" y="36"/>
                    <a:pt x="26" y="37"/>
                    <a:pt x="24" y="38"/>
                  </a:cubicBezTo>
                  <a:cubicBezTo>
                    <a:pt x="21" y="39"/>
                    <a:pt x="19" y="40"/>
                    <a:pt x="17" y="40"/>
                  </a:cubicBezTo>
                  <a:cubicBezTo>
                    <a:pt x="14" y="40"/>
                    <a:pt x="12" y="39"/>
                    <a:pt x="10" y="38"/>
                  </a:cubicBezTo>
                  <a:cubicBezTo>
                    <a:pt x="8" y="37"/>
                    <a:pt x="6" y="36"/>
                    <a:pt x="5" y="34"/>
                  </a:cubicBezTo>
                  <a:cubicBezTo>
                    <a:pt x="3" y="32"/>
                    <a:pt x="2" y="30"/>
                    <a:pt x="1" y="28"/>
                  </a:cubicBezTo>
                  <a:cubicBezTo>
                    <a:pt x="0" y="25"/>
                    <a:pt x="0" y="23"/>
                    <a:pt x="0" y="20"/>
                  </a:cubicBezTo>
                  <a:cubicBezTo>
                    <a:pt x="0" y="16"/>
                    <a:pt x="0" y="14"/>
                    <a:pt x="1" y="11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8" y="3"/>
                    <a:pt x="29" y="5"/>
                  </a:cubicBezTo>
                  <a:cubicBezTo>
                    <a:pt x="31" y="7"/>
                    <a:pt x="32" y="9"/>
                    <a:pt x="33" y="11"/>
                  </a:cubicBezTo>
                  <a:cubicBezTo>
                    <a:pt x="34" y="14"/>
                    <a:pt x="34" y="16"/>
                    <a:pt x="34" y="19"/>
                  </a:cubicBezTo>
                  <a:close/>
                  <a:moveTo>
                    <a:pt x="26" y="20"/>
                  </a:moveTo>
                  <a:cubicBezTo>
                    <a:pt x="26" y="18"/>
                    <a:pt x="26" y="16"/>
                    <a:pt x="26" y="14"/>
                  </a:cubicBezTo>
                  <a:cubicBezTo>
                    <a:pt x="25" y="13"/>
                    <a:pt x="25" y="11"/>
                    <a:pt x="24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19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11"/>
                    <a:pt x="8" y="13"/>
                    <a:pt x="8" y="14"/>
                  </a:cubicBezTo>
                  <a:cubicBezTo>
                    <a:pt x="8" y="16"/>
                    <a:pt x="7" y="17"/>
                    <a:pt x="7" y="19"/>
                  </a:cubicBezTo>
                  <a:cubicBezTo>
                    <a:pt x="7" y="21"/>
                    <a:pt x="8" y="23"/>
                    <a:pt x="8" y="25"/>
                  </a:cubicBezTo>
                  <a:cubicBezTo>
                    <a:pt x="9" y="27"/>
                    <a:pt x="9" y="28"/>
                    <a:pt x="10" y="29"/>
                  </a:cubicBezTo>
                  <a:cubicBezTo>
                    <a:pt x="11" y="30"/>
                    <a:pt x="12" y="31"/>
                    <a:pt x="13" y="32"/>
                  </a:cubicBezTo>
                  <a:cubicBezTo>
                    <a:pt x="14" y="32"/>
                    <a:pt x="16" y="32"/>
                    <a:pt x="17" y="32"/>
                  </a:cubicBezTo>
                  <a:cubicBezTo>
                    <a:pt x="18" y="32"/>
                    <a:pt x="20" y="32"/>
                    <a:pt x="21" y="31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7"/>
                    <a:pt x="25" y="26"/>
                    <a:pt x="26" y="25"/>
                  </a:cubicBezTo>
                  <a:cubicBezTo>
                    <a:pt x="26" y="23"/>
                    <a:pt x="26" y="21"/>
                    <a:pt x="26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90" name="Freeform 27">
              <a:extLst>
                <a:ext uri="{FF2B5EF4-FFF2-40B4-BE49-F238E27FC236}">
                  <a16:creationId xmlns:a16="http://schemas.microsoft.com/office/drawing/2014/main" id="{A7C95C0F-A1E9-46B5-B9DB-284F35C7280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44710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1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9 w 31"/>
                <a:gd name="T11" fmla="*/ 9 h 39"/>
                <a:gd name="T12" fmla="*/ 8 w 31"/>
                <a:gd name="T13" fmla="*/ 12 h 39"/>
                <a:gd name="T14" fmla="*/ 7 w 31"/>
                <a:gd name="T15" fmla="*/ 16 h 39"/>
                <a:gd name="T16" fmla="*/ 7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7 w 31"/>
                <a:gd name="T23" fmla="*/ 0 h 39"/>
                <a:gd name="T24" fmla="*/ 7 w 31"/>
                <a:gd name="T25" fmla="*/ 4 h 39"/>
                <a:gd name="T26" fmla="*/ 9 w 31"/>
                <a:gd name="T27" fmla="*/ 2 h 39"/>
                <a:gd name="T28" fmla="*/ 11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7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1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9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7" y="15"/>
                    <a:pt x="7" y="16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9" y="0"/>
                    <a:pt x="21" y="0"/>
                    <a:pt x="23" y="1"/>
                  </a:cubicBezTo>
                  <a:cubicBezTo>
                    <a:pt x="25" y="1"/>
                    <a:pt x="26" y="2"/>
                    <a:pt x="27" y="4"/>
                  </a:cubicBezTo>
                  <a:cubicBezTo>
                    <a:pt x="28" y="5"/>
                    <a:pt x="29" y="7"/>
                    <a:pt x="30" y="9"/>
                  </a:cubicBezTo>
                  <a:cubicBezTo>
                    <a:pt x="30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91" name="Freeform 28">
              <a:extLst>
                <a:ext uri="{FF2B5EF4-FFF2-40B4-BE49-F238E27FC236}">
                  <a16:creationId xmlns:a16="http://schemas.microsoft.com/office/drawing/2014/main" id="{BEEA6186-B2B9-4E5E-9631-B6332C7FDB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45845" y="6284068"/>
              <a:ext cx="31387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4 w 12"/>
                <a:gd name="T11" fmla="*/ 11 h 12"/>
                <a:gd name="T12" fmla="*/ 2 w 12"/>
                <a:gd name="T13" fmla="*/ 10 h 12"/>
                <a:gd name="T14" fmla="*/ 1 w 12"/>
                <a:gd name="T15" fmla="*/ 8 h 12"/>
                <a:gd name="T16" fmla="*/ 0 w 12"/>
                <a:gd name="T17" fmla="*/ 6 h 12"/>
                <a:gd name="T18" fmla="*/ 1 w 12"/>
                <a:gd name="T19" fmla="*/ 4 h 12"/>
                <a:gd name="T20" fmla="*/ 2 w 12"/>
                <a:gd name="T21" fmla="*/ 2 h 12"/>
                <a:gd name="T22" fmla="*/ 4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4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1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1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4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92" name="Freeform 29">
              <a:extLst>
                <a:ext uri="{FF2B5EF4-FFF2-40B4-BE49-F238E27FC236}">
                  <a16:creationId xmlns:a16="http://schemas.microsoft.com/office/drawing/2014/main" id="{E9B00A5D-BE04-4D7D-B4A2-204E2D0E04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0006" y="6181188"/>
              <a:ext cx="97648" cy="130778"/>
            </a:xfrm>
            <a:custGeom>
              <a:avLst/>
              <a:gdLst>
                <a:gd name="T0" fmla="*/ 34 w 56"/>
                <a:gd name="T1" fmla="*/ 11 h 75"/>
                <a:gd name="T2" fmla="*/ 34 w 56"/>
                <a:gd name="T3" fmla="*/ 75 h 75"/>
                <a:gd name="T4" fmla="*/ 22 w 56"/>
                <a:gd name="T5" fmla="*/ 75 h 75"/>
                <a:gd name="T6" fmla="*/ 22 w 56"/>
                <a:gd name="T7" fmla="*/ 11 h 75"/>
                <a:gd name="T8" fmla="*/ 0 w 56"/>
                <a:gd name="T9" fmla="*/ 11 h 75"/>
                <a:gd name="T10" fmla="*/ 0 w 56"/>
                <a:gd name="T11" fmla="*/ 0 h 75"/>
                <a:gd name="T12" fmla="*/ 56 w 56"/>
                <a:gd name="T13" fmla="*/ 0 h 75"/>
                <a:gd name="T14" fmla="*/ 56 w 56"/>
                <a:gd name="T15" fmla="*/ 11 h 75"/>
                <a:gd name="T16" fmla="*/ 34 w 56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6" h="75">
                  <a:moveTo>
                    <a:pt x="34" y="11"/>
                  </a:moveTo>
                  <a:lnTo>
                    <a:pt x="34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6" y="0"/>
                  </a:lnTo>
                  <a:lnTo>
                    <a:pt x="56" y="11"/>
                  </a:lnTo>
                  <a:lnTo>
                    <a:pt x="34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93" name="Freeform 30">
              <a:extLst>
                <a:ext uri="{FF2B5EF4-FFF2-40B4-BE49-F238E27FC236}">
                  <a16:creationId xmlns:a16="http://schemas.microsoft.com/office/drawing/2014/main" id="{72C85502-C007-49A3-A8AB-2BCC8C53945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51603" y="6174213"/>
              <a:ext cx="80211" cy="137753"/>
            </a:xfrm>
            <a:custGeom>
              <a:avLst/>
              <a:gdLst>
                <a:gd name="T0" fmla="*/ 24 w 31"/>
                <a:gd name="T1" fmla="*/ 54 h 54"/>
                <a:gd name="T2" fmla="*/ 24 w 31"/>
                <a:gd name="T3" fmla="*/ 32 h 54"/>
                <a:gd name="T4" fmla="*/ 22 w 31"/>
                <a:gd name="T5" fmla="*/ 24 h 54"/>
                <a:gd name="T6" fmla="*/ 16 w 31"/>
                <a:gd name="T7" fmla="*/ 22 h 54"/>
                <a:gd name="T8" fmla="*/ 13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8 w 31"/>
                <a:gd name="T15" fmla="*/ 31 h 54"/>
                <a:gd name="T16" fmla="*/ 8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8 w 31"/>
                <a:gd name="T23" fmla="*/ 0 h 54"/>
                <a:gd name="T24" fmla="*/ 8 w 31"/>
                <a:gd name="T25" fmla="*/ 19 h 54"/>
                <a:gd name="T26" fmla="*/ 10 w 31"/>
                <a:gd name="T27" fmla="*/ 17 h 54"/>
                <a:gd name="T28" fmla="*/ 12 w 31"/>
                <a:gd name="T29" fmla="*/ 16 h 54"/>
                <a:gd name="T30" fmla="*/ 15 w 31"/>
                <a:gd name="T31" fmla="*/ 15 h 54"/>
                <a:gd name="T32" fmla="*/ 18 w 31"/>
                <a:gd name="T33" fmla="*/ 15 h 54"/>
                <a:gd name="T34" fmla="*/ 24 w 31"/>
                <a:gd name="T35" fmla="*/ 16 h 54"/>
                <a:gd name="T36" fmla="*/ 28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4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4" y="54"/>
                  </a:moveTo>
                  <a:cubicBezTo>
                    <a:pt x="24" y="32"/>
                    <a:pt x="24" y="32"/>
                    <a:pt x="24" y="32"/>
                  </a:cubicBezTo>
                  <a:cubicBezTo>
                    <a:pt x="24" y="28"/>
                    <a:pt x="23" y="26"/>
                    <a:pt x="22" y="24"/>
                  </a:cubicBezTo>
                  <a:cubicBezTo>
                    <a:pt x="21" y="22"/>
                    <a:pt x="19" y="22"/>
                    <a:pt x="16" y="22"/>
                  </a:cubicBezTo>
                  <a:cubicBezTo>
                    <a:pt x="15" y="22"/>
                    <a:pt x="14" y="22"/>
                    <a:pt x="13" y="22"/>
                  </a:cubicBezTo>
                  <a:cubicBezTo>
                    <a:pt x="12" y="22"/>
                    <a:pt x="11" y="23"/>
                    <a:pt x="10" y="24"/>
                  </a:cubicBezTo>
                  <a:cubicBezTo>
                    <a:pt x="9" y="25"/>
                    <a:pt x="9" y="26"/>
                    <a:pt x="8" y="27"/>
                  </a:cubicBezTo>
                  <a:cubicBezTo>
                    <a:pt x="8" y="28"/>
                    <a:pt x="8" y="30"/>
                    <a:pt x="8" y="31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3" y="15"/>
                    <a:pt x="14" y="15"/>
                    <a:pt x="15" y="15"/>
                  </a:cubicBezTo>
                  <a:cubicBezTo>
                    <a:pt x="16" y="15"/>
                    <a:pt x="17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29" y="20"/>
                    <a:pt x="30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4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94" name="Freeform 31">
              <a:extLst>
                <a:ext uri="{FF2B5EF4-FFF2-40B4-BE49-F238E27FC236}">
                  <a16:creationId xmlns:a16="http://schemas.microsoft.com/office/drawing/2014/main" id="{9A42586B-B388-4323-82EB-ED3423EDC5D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50996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1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95" name="Freeform 32">
              <a:extLst>
                <a:ext uri="{FF2B5EF4-FFF2-40B4-BE49-F238E27FC236}">
                  <a16:creationId xmlns:a16="http://schemas.microsoft.com/office/drawing/2014/main" id="{558D2F0C-3796-492F-9EBD-4BB822191F3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02698" y="6174213"/>
              <a:ext cx="80211" cy="139497"/>
            </a:xfrm>
            <a:custGeom>
              <a:avLst/>
              <a:gdLst>
                <a:gd name="T0" fmla="*/ 32 w 32"/>
                <a:gd name="T1" fmla="*/ 35 h 55"/>
                <a:gd name="T2" fmla="*/ 31 w 32"/>
                <a:gd name="T3" fmla="*/ 44 h 55"/>
                <a:gd name="T4" fmla="*/ 28 w 32"/>
                <a:gd name="T5" fmla="*/ 50 h 55"/>
                <a:gd name="T6" fmla="*/ 23 w 32"/>
                <a:gd name="T7" fmla="*/ 53 h 55"/>
                <a:gd name="T8" fmla="*/ 17 w 32"/>
                <a:gd name="T9" fmla="*/ 55 h 55"/>
                <a:gd name="T10" fmla="*/ 12 w 32"/>
                <a:gd name="T11" fmla="*/ 53 h 55"/>
                <a:gd name="T12" fmla="*/ 7 w 32"/>
                <a:gd name="T13" fmla="*/ 50 h 55"/>
                <a:gd name="T14" fmla="*/ 7 w 32"/>
                <a:gd name="T15" fmla="*/ 54 h 55"/>
                <a:gd name="T16" fmla="*/ 0 w 32"/>
                <a:gd name="T17" fmla="*/ 54 h 55"/>
                <a:gd name="T18" fmla="*/ 0 w 32"/>
                <a:gd name="T19" fmla="*/ 4 h 55"/>
                <a:gd name="T20" fmla="*/ 7 w 32"/>
                <a:gd name="T21" fmla="*/ 0 h 55"/>
                <a:gd name="T22" fmla="*/ 7 w 32"/>
                <a:gd name="T23" fmla="*/ 19 h 55"/>
                <a:gd name="T24" fmla="*/ 10 w 32"/>
                <a:gd name="T25" fmla="*/ 17 h 55"/>
                <a:gd name="T26" fmla="*/ 12 w 32"/>
                <a:gd name="T27" fmla="*/ 16 h 55"/>
                <a:gd name="T28" fmla="*/ 14 w 32"/>
                <a:gd name="T29" fmla="*/ 15 h 55"/>
                <a:gd name="T30" fmla="*/ 17 w 32"/>
                <a:gd name="T31" fmla="*/ 15 h 55"/>
                <a:gd name="T32" fmla="*/ 23 w 32"/>
                <a:gd name="T33" fmla="*/ 16 h 55"/>
                <a:gd name="T34" fmla="*/ 28 w 32"/>
                <a:gd name="T35" fmla="*/ 19 h 55"/>
                <a:gd name="T36" fmla="*/ 31 w 32"/>
                <a:gd name="T37" fmla="*/ 26 h 55"/>
                <a:gd name="T38" fmla="*/ 32 w 32"/>
                <a:gd name="T39" fmla="*/ 35 h 55"/>
                <a:gd name="T40" fmla="*/ 25 w 32"/>
                <a:gd name="T41" fmla="*/ 35 h 55"/>
                <a:gd name="T42" fmla="*/ 23 w 32"/>
                <a:gd name="T43" fmla="*/ 25 h 55"/>
                <a:gd name="T44" fmla="*/ 16 w 32"/>
                <a:gd name="T45" fmla="*/ 22 h 55"/>
                <a:gd name="T46" fmla="*/ 14 w 32"/>
                <a:gd name="T47" fmla="*/ 22 h 55"/>
                <a:gd name="T48" fmla="*/ 11 w 32"/>
                <a:gd name="T49" fmla="*/ 23 h 55"/>
                <a:gd name="T50" fmla="*/ 9 w 32"/>
                <a:gd name="T51" fmla="*/ 25 h 55"/>
                <a:gd name="T52" fmla="*/ 7 w 32"/>
                <a:gd name="T53" fmla="*/ 26 h 55"/>
                <a:gd name="T54" fmla="*/ 7 w 32"/>
                <a:gd name="T55" fmla="*/ 43 h 55"/>
                <a:gd name="T56" fmla="*/ 9 w 32"/>
                <a:gd name="T57" fmla="*/ 44 h 55"/>
                <a:gd name="T58" fmla="*/ 11 w 32"/>
                <a:gd name="T59" fmla="*/ 46 h 55"/>
                <a:gd name="T60" fmla="*/ 14 w 32"/>
                <a:gd name="T61" fmla="*/ 47 h 55"/>
                <a:gd name="T62" fmla="*/ 16 w 32"/>
                <a:gd name="T63" fmla="*/ 48 h 55"/>
                <a:gd name="T64" fmla="*/ 23 w 32"/>
                <a:gd name="T65" fmla="*/ 45 h 55"/>
                <a:gd name="T66" fmla="*/ 25 w 32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2" h="55">
                  <a:moveTo>
                    <a:pt x="32" y="35"/>
                  </a:moveTo>
                  <a:cubicBezTo>
                    <a:pt x="32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6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5" y="55"/>
                    <a:pt x="13" y="54"/>
                    <a:pt x="12" y="53"/>
                  </a:cubicBezTo>
                  <a:cubicBezTo>
                    <a:pt x="10" y="52"/>
                    <a:pt x="9" y="51"/>
                    <a:pt x="7" y="50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6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20" y="15"/>
                    <a:pt x="21" y="15"/>
                    <a:pt x="23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29" y="21"/>
                    <a:pt x="30" y="23"/>
                    <a:pt x="31" y="26"/>
                  </a:cubicBezTo>
                  <a:cubicBezTo>
                    <a:pt x="32" y="28"/>
                    <a:pt x="32" y="32"/>
                    <a:pt x="32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4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0" y="23"/>
                    <a:pt x="10" y="24"/>
                    <a:pt x="9" y="25"/>
                  </a:cubicBezTo>
                  <a:cubicBezTo>
                    <a:pt x="8" y="25"/>
                    <a:pt x="8" y="26"/>
                    <a:pt x="7" y="26"/>
                  </a:cubicBezTo>
                  <a:cubicBezTo>
                    <a:pt x="7" y="43"/>
                    <a:pt x="7" y="43"/>
                    <a:pt x="7" y="43"/>
                  </a:cubicBezTo>
                  <a:cubicBezTo>
                    <a:pt x="8" y="43"/>
                    <a:pt x="8" y="44"/>
                    <a:pt x="9" y="44"/>
                  </a:cubicBezTo>
                  <a:cubicBezTo>
                    <a:pt x="10" y="45"/>
                    <a:pt x="10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5" y="48"/>
                    <a:pt x="16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96" name="Freeform 33">
              <a:extLst>
                <a:ext uri="{FF2B5EF4-FFF2-40B4-BE49-F238E27FC236}">
                  <a16:creationId xmlns:a16="http://schemas.microsoft.com/office/drawing/2014/main" id="{DE4E3633-17EF-414F-A86D-0B6A9F2F098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9860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8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8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3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7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97" name="Freeform 34">
              <a:extLst>
                <a:ext uri="{FF2B5EF4-FFF2-40B4-BE49-F238E27FC236}">
                  <a16:creationId xmlns:a16="http://schemas.microsoft.com/office/drawing/2014/main" id="{2572AE39-9386-47FC-B6AF-FBCF804BEB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625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3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98" name="Freeform 35">
              <a:extLst>
                <a:ext uri="{FF2B5EF4-FFF2-40B4-BE49-F238E27FC236}">
                  <a16:creationId xmlns:a16="http://schemas.microsoft.com/office/drawing/2014/main" id="{7096AEC6-B8C0-4212-842F-89677AE7D80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64256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7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6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7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99" name="Freeform 36">
              <a:extLst>
                <a:ext uri="{FF2B5EF4-FFF2-40B4-BE49-F238E27FC236}">
                  <a16:creationId xmlns:a16="http://schemas.microsoft.com/office/drawing/2014/main" id="{406AD873-E434-40CF-BFBD-6D1D1CA7CB8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2340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00" name="Freeform 37">
              <a:extLst>
                <a:ext uri="{FF2B5EF4-FFF2-40B4-BE49-F238E27FC236}">
                  <a16:creationId xmlns:a16="http://schemas.microsoft.com/office/drawing/2014/main" id="{74857EE2-44CC-4E8F-B1BB-355509B3EFE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36884" y="6212575"/>
              <a:ext cx="59286" cy="99391"/>
            </a:xfrm>
            <a:custGeom>
              <a:avLst/>
              <a:gdLst>
                <a:gd name="T0" fmla="*/ 21 w 23"/>
                <a:gd name="T1" fmla="*/ 8 h 39"/>
                <a:gd name="T2" fmla="*/ 19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9" y="7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01" name="Freeform 38">
              <a:extLst>
                <a:ext uri="{FF2B5EF4-FFF2-40B4-BE49-F238E27FC236}">
                  <a16:creationId xmlns:a16="http://schemas.microsoft.com/office/drawing/2014/main" id="{D39EC8B1-952E-4BF5-9735-6A38584161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51969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02" name="Freeform 39">
              <a:extLst>
                <a:ext uri="{FF2B5EF4-FFF2-40B4-BE49-F238E27FC236}">
                  <a16:creationId xmlns:a16="http://schemas.microsoft.com/office/drawing/2014/main" id="{EA37D3DF-3401-44BD-97F4-F423BFC87A1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30436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03" name="Freeform 40">
              <a:extLst>
                <a:ext uri="{FF2B5EF4-FFF2-40B4-BE49-F238E27FC236}">
                  <a16:creationId xmlns:a16="http://schemas.microsoft.com/office/drawing/2014/main" id="{7DFA4B46-95EA-4D4D-800F-4D2DB7BB66E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62808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04" name="Freeform 41">
              <a:extLst>
                <a:ext uri="{FF2B5EF4-FFF2-40B4-BE49-F238E27FC236}">
                  <a16:creationId xmlns:a16="http://schemas.microsoft.com/office/drawing/2014/main" id="{EF5012BA-3255-4BEF-8F4F-9117A6BEF32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772813" y="6212575"/>
              <a:ext cx="81955" cy="101135"/>
            </a:xfrm>
            <a:custGeom>
              <a:avLst/>
              <a:gdLst>
                <a:gd name="T0" fmla="*/ 24 w 32"/>
                <a:gd name="T1" fmla="*/ 39 h 40"/>
                <a:gd name="T2" fmla="*/ 24 w 32"/>
                <a:gd name="T3" fmla="*/ 35 h 40"/>
                <a:gd name="T4" fmla="*/ 22 w 32"/>
                <a:gd name="T5" fmla="*/ 37 h 40"/>
                <a:gd name="T6" fmla="*/ 20 w 32"/>
                <a:gd name="T7" fmla="*/ 38 h 40"/>
                <a:gd name="T8" fmla="*/ 17 w 32"/>
                <a:gd name="T9" fmla="*/ 39 h 40"/>
                <a:gd name="T10" fmla="*/ 14 w 32"/>
                <a:gd name="T11" fmla="*/ 40 h 40"/>
                <a:gd name="T12" fmla="*/ 9 w 32"/>
                <a:gd name="T13" fmla="*/ 39 h 40"/>
                <a:gd name="T14" fmla="*/ 5 w 32"/>
                <a:gd name="T15" fmla="*/ 37 h 40"/>
                <a:gd name="T16" fmla="*/ 2 w 32"/>
                <a:gd name="T17" fmla="*/ 33 h 40"/>
                <a:gd name="T18" fmla="*/ 0 w 32"/>
                <a:gd name="T19" fmla="*/ 27 h 40"/>
                <a:gd name="T20" fmla="*/ 2 w 32"/>
                <a:gd name="T21" fmla="*/ 21 h 40"/>
                <a:gd name="T22" fmla="*/ 5 w 32"/>
                <a:gd name="T23" fmla="*/ 17 h 40"/>
                <a:gd name="T24" fmla="*/ 10 w 32"/>
                <a:gd name="T25" fmla="*/ 15 h 40"/>
                <a:gd name="T26" fmla="*/ 16 w 32"/>
                <a:gd name="T27" fmla="*/ 14 h 40"/>
                <a:gd name="T28" fmla="*/ 21 w 32"/>
                <a:gd name="T29" fmla="*/ 15 h 40"/>
                <a:gd name="T30" fmla="*/ 24 w 32"/>
                <a:gd name="T31" fmla="*/ 16 h 40"/>
                <a:gd name="T32" fmla="*/ 24 w 32"/>
                <a:gd name="T33" fmla="*/ 13 h 40"/>
                <a:gd name="T34" fmla="*/ 22 w 32"/>
                <a:gd name="T35" fmla="*/ 8 h 40"/>
                <a:gd name="T36" fmla="*/ 17 w 32"/>
                <a:gd name="T37" fmla="*/ 6 h 40"/>
                <a:gd name="T38" fmla="*/ 12 w 32"/>
                <a:gd name="T39" fmla="*/ 7 h 40"/>
                <a:gd name="T40" fmla="*/ 7 w 32"/>
                <a:gd name="T41" fmla="*/ 9 h 40"/>
                <a:gd name="T42" fmla="*/ 4 w 32"/>
                <a:gd name="T43" fmla="*/ 3 h 40"/>
                <a:gd name="T44" fmla="*/ 10 w 32"/>
                <a:gd name="T45" fmla="*/ 0 h 40"/>
                <a:gd name="T46" fmla="*/ 17 w 32"/>
                <a:gd name="T47" fmla="*/ 0 h 40"/>
                <a:gd name="T48" fmla="*/ 23 w 32"/>
                <a:gd name="T49" fmla="*/ 0 h 40"/>
                <a:gd name="T50" fmla="*/ 28 w 32"/>
                <a:gd name="T51" fmla="*/ 3 h 40"/>
                <a:gd name="T52" fmla="*/ 31 w 32"/>
                <a:gd name="T53" fmla="*/ 7 h 40"/>
                <a:gd name="T54" fmla="*/ 32 w 32"/>
                <a:gd name="T55" fmla="*/ 12 h 40"/>
                <a:gd name="T56" fmla="*/ 32 w 32"/>
                <a:gd name="T57" fmla="*/ 39 h 40"/>
                <a:gd name="T58" fmla="*/ 24 w 32"/>
                <a:gd name="T59" fmla="*/ 39 h 40"/>
                <a:gd name="T60" fmla="*/ 24 w 32"/>
                <a:gd name="T61" fmla="*/ 22 h 40"/>
                <a:gd name="T62" fmla="*/ 22 w 32"/>
                <a:gd name="T63" fmla="*/ 22 h 40"/>
                <a:gd name="T64" fmla="*/ 21 w 32"/>
                <a:gd name="T65" fmla="*/ 21 h 40"/>
                <a:gd name="T66" fmla="*/ 18 w 32"/>
                <a:gd name="T67" fmla="*/ 21 h 40"/>
                <a:gd name="T68" fmla="*/ 16 w 32"/>
                <a:gd name="T69" fmla="*/ 21 h 40"/>
                <a:gd name="T70" fmla="*/ 10 w 32"/>
                <a:gd name="T71" fmla="*/ 22 h 40"/>
                <a:gd name="T72" fmla="*/ 8 w 32"/>
                <a:gd name="T73" fmla="*/ 26 h 40"/>
                <a:gd name="T74" fmla="*/ 8 w 32"/>
                <a:gd name="T75" fmla="*/ 29 h 40"/>
                <a:gd name="T76" fmla="*/ 10 w 32"/>
                <a:gd name="T77" fmla="*/ 31 h 40"/>
                <a:gd name="T78" fmla="*/ 12 w 32"/>
                <a:gd name="T79" fmla="*/ 32 h 40"/>
                <a:gd name="T80" fmla="*/ 15 w 32"/>
                <a:gd name="T81" fmla="*/ 33 h 40"/>
                <a:gd name="T82" fmla="*/ 18 w 32"/>
                <a:gd name="T83" fmla="*/ 32 h 40"/>
                <a:gd name="T84" fmla="*/ 21 w 32"/>
                <a:gd name="T85" fmla="*/ 31 h 40"/>
                <a:gd name="T86" fmla="*/ 23 w 32"/>
                <a:gd name="T87" fmla="*/ 30 h 40"/>
                <a:gd name="T88" fmla="*/ 24 w 32"/>
                <a:gd name="T89" fmla="*/ 28 h 40"/>
                <a:gd name="T90" fmla="*/ 24 w 32"/>
                <a:gd name="T91" fmla="*/ 2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2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3" y="37"/>
                    <a:pt x="22" y="37"/>
                  </a:cubicBezTo>
                  <a:cubicBezTo>
                    <a:pt x="21" y="37"/>
                    <a:pt x="21" y="38"/>
                    <a:pt x="20" y="38"/>
                  </a:cubicBezTo>
                  <a:cubicBezTo>
                    <a:pt x="19" y="39"/>
                    <a:pt x="18" y="39"/>
                    <a:pt x="17" y="39"/>
                  </a:cubicBezTo>
                  <a:cubicBezTo>
                    <a:pt x="16" y="39"/>
                    <a:pt x="15" y="40"/>
                    <a:pt x="14" y="40"/>
                  </a:cubicBezTo>
                  <a:cubicBezTo>
                    <a:pt x="12" y="40"/>
                    <a:pt x="11" y="39"/>
                    <a:pt x="9" y="39"/>
                  </a:cubicBezTo>
                  <a:cubicBezTo>
                    <a:pt x="7" y="38"/>
                    <a:pt x="6" y="38"/>
                    <a:pt x="5" y="37"/>
                  </a:cubicBezTo>
                  <a:cubicBezTo>
                    <a:pt x="3" y="36"/>
                    <a:pt x="2" y="34"/>
                    <a:pt x="2" y="33"/>
                  </a:cubicBezTo>
                  <a:cubicBezTo>
                    <a:pt x="1" y="31"/>
                    <a:pt x="0" y="29"/>
                    <a:pt x="0" y="27"/>
                  </a:cubicBezTo>
                  <a:cubicBezTo>
                    <a:pt x="0" y="24"/>
                    <a:pt x="1" y="23"/>
                    <a:pt x="2" y="21"/>
                  </a:cubicBezTo>
                  <a:cubicBezTo>
                    <a:pt x="2" y="20"/>
                    <a:pt x="3" y="18"/>
                    <a:pt x="5" y="17"/>
                  </a:cubicBezTo>
                  <a:cubicBezTo>
                    <a:pt x="6" y="16"/>
                    <a:pt x="8" y="15"/>
                    <a:pt x="10" y="15"/>
                  </a:cubicBezTo>
                  <a:cubicBezTo>
                    <a:pt x="12" y="14"/>
                    <a:pt x="14" y="14"/>
                    <a:pt x="16" y="14"/>
                  </a:cubicBezTo>
                  <a:cubicBezTo>
                    <a:pt x="18" y="14"/>
                    <a:pt x="19" y="14"/>
                    <a:pt x="21" y="15"/>
                  </a:cubicBezTo>
                  <a:cubicBezTo>
                    <a:pt x="22" y="15"/>
                    <a:pt x="23" y="15"/>
                    <a:pt x="24" y="16"/>
                  </a:cubicBezTo>
                  <a:cubicBezTo>
                    <a:pt x="24" y="13"/>
                    <a:pt x="24" y="13"/>
                    <a:pt x="24" y="13"/>
                  </a:cubicBezTo>
                  <a:cubicBezTo>
                    <a:pt x="24" y="11"/>
                    <a:pt x="24" y="9"/>
                    <a:pt x="22" y="8"/>
                  </a:cubicBezTo>
                  <a:cubicBezTo>
                    <a:pt x="21" y="7"/>
                    <a:pt x="19" y="6"/>
                    <a:pt x="17" y="6"/>
                  </a:cubicBezTo>
                  <a:cubicBezTo>
                    <a:pt x="15" y="6"/>
                    <a:pt x="13" y="6"/>
                    <a:pt x="12" y="7"/>
                  </a:cubicBezTo>
                  <a:cubicBezTo>
                    <a:pt x="10" y="7"/>
                    <a:pt x="9" y="8"/>
                    <a:pt x="7" y="9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6" y="2"/>
                    <a:pt x="8" y="1"/>
                    <a:pt x="10" y="0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19" y="0"/>
                    <a:pt x="21" y="0"/>
                    <a:pt x="23" y="0"/>
                  </a:cubicBezTo>
                  <a:cubicBezTo>
                    <a:pt x="25" y="1"/>
                    <a:pt x="26" y="2"/>
                    <a:pt x="28" y="3"/>
                  </a:cubicBezTo>
                  <a:cubicBezTo>
                    <a:pt x="29" y="4"/>
                    <a:pt x="30" y="5"/>
                    <a:pt x="31" y="7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2" y="39"/>
                    <a:pt x="32" y="39"/>
                    <a:pt x="32" y="39"/>
                  </a:cubicBezTo>
                  <a:lnTo>
                    <a:pt x="24" y="39"/>
                  </a:lnTo>
                  <a:close/>
                  <a:moveTo>
                    <a:pt x="24" y="22"/>
                  </a:moveTo>
                  <a:cubicBezTo>
                    <a:pt x="24" y="22"/>
                    <a:pt x="23" y="22"/>
                    <a:pt x="22" y="22"/>
                  </a:cubicBezTo>
                  <a:cubicBezTo>
                    <a:pt x="22" y="21"/>
                    <a:pt x="21" y="21"/>
                    <a:pt x="21" y="21"/>
                  </a:cubicBezTo>
                  <a:cubicBezTo>
                    <a:pt x="20" y="21"/>
                    <a:pt x="19" y="21"/>
                    <a:pt x="18" y="21"/>
                  </a:cubicBezTo>
                  <a:cubicBezTo>
                    <a:pt x="17" y="21"/>
                    <a:pt x="17" y="21"/>
                    <a:pt x="16" y="21"/>
                  </a:cubicBezTo>
                  <a:cubicBezTo>
                    <a:pt x="13" y="21"/>
                    <a:pt x="11" y="21"/>
                    <a:pt x="10" y="22"/>
                  </a:cubicBezTo>
                  <a:cubicBezTo>
                    <a:pt x="8" y="23"/>
                    <a:pt x="8" y="25"/>
                    <a:pt x="8" y="26"/>
                  </a:cubicBezTo>
                  <a:cubicBezTo>
                    <a:pt x="8" y="28"/>
                    <a:pt x="8" y="29"/>
                    <a:pt x="8" y="29"/>
                  </a:cubicBezTo>
                  <a:cubicBezTo>
                    <a:pt x="9" y="30"/>
                    <a:pt x="9" y="31"/>
                    <a:pt x="10" y="31"/>
                  </a:cubicBezTo>
                  <a:cubicBezTo>
                    <a:pt x="10" y="32"/>
                    <a:pt x="11" y="32"/>
                    <a:pt x="12" y="32"/>
                  </a:cubicBezTo>
                  <a:cubicBezTo>
                    <a:pt x="13" y="33"/>
                    <a:pt x="14" y="33"/>
                    <a:pt x="15" y="33"/>
                  </a:cubicBezTo>
                  <a:cubicBezTo>
                    <a:pt x="16" y="33"/>
                    <a:pt x="17" y="33"/>
                    <a:pt x="18" y="32"/>
                  </a:cubicBezTo>
                  <a:cubicBezTo>
                    <a:pt x="19" y="32"/>
                    <a:pt x="20" y="32"/>
                    <a:pt x="21" y="31"/>
                  </a:cubicBezTo>
                  <a:cubicBezTo>
                    <a:pt x="21" y="31"/>
                    <a:pt x="22" y="30"/>
                    <a:pt x="23" y="30"/>
                  </a:cubicBezTo>
                  <a:cubicBezTo>
                    <a:pt x="23" y="29"/>
                    <a:pt x="24" y="28"/>
                    <a:pt x="24" y="28"/>
                  </a:cubicBezTo>
                  <a:lnTo>
                    <a:pt x="24" y="2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05" name="Freeform 42">
              <a:extLst>
                <a:ext uri="{FF2B5EF4-FFF2-40B4-BE49-F238E27FC236}">
                  <a16:creationId xmlns:a16="http://schemas.microsoft.com/office/drawing/2014/main" id="{223989A0-E246-4806-AF7E-9D6C2B1DD48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77436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2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10 w 31"/>
                <a:gd name="T11" fmla="*/ 9 h 39"/>
                <a:gd name="T12" fmla="*/ 8 w 31"/>
                <a:gd name="T13" fmla="*/ 12 h 39"/>
                <a:gd name="T14" fmla="*/ 8 w 31"/>
                <a:gd name="T15" fmla="*/ 16 h 39"/>
                <a:gd name="T16" fmla="*/ 8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8 w 31"/>
                <a:gd name="T23" fmla="*/ 0 h 39"/>
                <a:gd name="T24" fmla="*/ 8 w 31"/>
                <a:gd name="T25" fmla="*/ 4 h 39"/>
                <a:gd name="T26" fmla="*/ 9 w 31"/>
                <a:gd name="T27" fmla="*/ 2 h 39"/>
                <a:gd name="T28" fmla="*/ 12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8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2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10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8" y="15"/>
                    <a:pt x="8" y="16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2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20" y="0"/>
                    <a:pt x="22" y="0"/>
                    <a:pt x="23" y="1"/>
                  </a:cubicBezTo>
                  <a:cubicBezTo>
                    <a:pt x="25" y="1"/>
                    <a:pt x="26" y="2"/>
                    <a:pt x="28" y="4"/>
                  </a:cubicBezTo>
                  <a:cubicBezTo>
                    <a:pt x="29" y="5"/>
                    <a:pt x="29" y="7"/>
                    <a:pt x="30" y="9"/>
                  </a:cubicBezTo>
                  <a:cubicBezTo>
                    <a:pt x="31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06" name="Freeform 43">
              <a:extLst>
                <a:ext uri="{FF2B5EF4-FFF2-40B4-BE49-F238E27FC236}">
                  <a16:creationId xmlns:a16="http://schemas.microsoft.com/office/drawing/2014/main" id="{5FED967A-F1ED-4489-A689-A9A49A2780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75084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0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3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6 w 29"/>
                <a:gd name="T55" fmla="*/ 24 h 40"/>
                <a:gd name="T56" fmla="*/ 13 w 29"/>
                <a:gd name="T57" fmla="*/ 22 h 40"/>
                <a:gd name="T58" fmla="*/ 7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1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2" y="6"/>
                    <a:pt x="11" y="7"/>
                    <a:pt x="10" y="7"/>
                  </a:cubicBezTo>
                  <a:cubicBezTo>
                    <a:pt x="9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1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8" y="25"/>
                    <a:pt x="18" y="24"/>
                    <a:pt x="16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7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2" y="15"/>
                    <a:pt x="2" y="14"/>
                  </a:cubicBezTo>
                  <a:cubicBezTo>
                    <a:pt x="2" y="13"/>
                    <a:pt x="1" y="12"/>
                    <a:pt x="1" y="10"/>
                  </a:cubicBezTo>
                  <a:cubicBezTo>
                    <a:pt x="1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07" name="Freeform 44">
              <a:extLst>
                <a:ext uri="{FF2B5EF4-FFF2-40B4-BE49-F238E27FC236}">
                  <a16:creationId xmlns:a16="http://schemas.microsoft.com/office/drawing/2014/main" id="{DA362954-FE74-40B7-AB98-CC8AC60FFC8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58782" y="6212575"/>
              <a:ext cx="122060" cy="99391"/>
            </a:xfrm>
            <a:custGeom>
              <a:avLst/>
              <a:gdLst>
                <a:gd name="T0" fmla="*/ 55 w 70"/>
                <a:gd name="T1" fmla="*/ 57 h 57"/>
                <a:gd name="T2" fmla="*/ 45 w 70"/>
                <a:gd name="T3" fmla="*/ 57 h 57"/>
                <a:gd name="T4" fmla="*/ 35 w 70"/>
                <a:gd name="T5" fmla="*/ 17 h 57"/>
                <a:gd name="T6" fmla="*/ 25 w 70"/>
                <a:gd name="T7" fmla="*/ 57 h 57"/>
                <a:gd name="T8" fmla="*/ 14 w 70"/>
                <a:gd name="T9" fmla="*/ 57 h 57"/>
                <a:gd name="T10" fmla="*/ 0 w 70"/>
                <a:gd name="T11" fmla="*/ 0 h 57"/>
                <a:gd name="T12" fmla="*/ 10 w 70"/>
                <a:gd name="T13" fmla="*/ 0 h 57"/>
                <a:gd name="T14" fmla="*/ 20 w 70"/>
                <a:gd name="T15" fmla="*/ 39 h 57"/>
                <a:gd name="T16" fmla="*/ 30 w 70"/>
                <a:gd name="T17" fmla="*/ 0 h 57"/>
                <a:gd name="T18" fmla="*/ 39 w 70"/>
                <a:gd name="T19" fmla="*/ 0 h 57"/>
                <a:gd name="T20" fmla="*/ 49 w 70"/>
                <a:gd name="T21" fmla="*/ 39 h 57"/>
                <a:gd name="T22" fmla="*/ 60 w 70"/>
                <a:gd name="T23" fmla="*/ 0 h 57"/>
                <a:gd name="T24" fmla="*/ 70 w 70"/>
                <a:gd name="T25" fmla="*/ 0 h 57"/>
                <a:gd name="T26" fmla="*/ 55 w 70"/>
                <a:gd name="T27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7">
                  <a:moveTo>
                    <a:pt x="55" y="57"/>
                  </a:moveTo>
                  <a:lnTo>
                    <a:pt x="45" y="57"/>
                  </a:lnTo>
                  <a:lnTo>
                    <a:pt x="35" y="17"/>
                  </a:lnTo>
                  <a:lnTo>
                    <a:pt x="25" y="57"/>
                  </a:lnTo>
                  <a:lnTo>
                    <a:pt x="14" y="57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0" y="39"/>
                  </a:lnTo>
                  <a:lnTo>
                    <a:pt x="30" y="0"/>
                  </a:lnTo>
                  <a:lnTo>
                    <a:pt x="39" y="0"/>
                  </a:lnTo>
                  <a:lnTo>
                    <a:pt x="49" y="39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08" name="Freeform 45">
              <a:extLst>
                <a:ext uri="{FF2B5EF4-FFF2-40B4-BE49-F238E27FC236}">
                  <a16:creationId xmlns:a16="http://schemas.microsoft.com/office/drawing/2014/main" id="{C1C7EF3F-CB28-4C69-901C-8F9F09C5B59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1913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09" name="Freeform 46">
              <a:extLst>
                <a:ext uri="{FF2B5EF4-FFF2-40B4-BE49-F238E27FC236}">
                  <a16:creationId xmlns:a16="http://schemas.microsoft.com/office/drawing/2014/main" id="{80D5AA14-D31C-42E8-B89F-2FCABF20400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95927" y="6212575"/>
              <a:ext cx="57543" cy="99391"/>
            </a:xfrm>
            <a:custGeom>
              <a:avLst/>
              <a:gdLst>
                <a:gd name="T0" fmla="*/ 21 w 23"/>
                <a:gd name="T1" fmla="*/ 8 h 39"/>
                <a:gd name="T2" fmla="*/ 18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6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0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10" name="Freeform 47">
              <a:extLst>
                <a:ext uri="{FF2B5EF4-FFF2-40B4-BE49-F238E27FC236}">
                  <a16:creationId xmlns:a16="http://schemas.microsoft.com/office/drawing/2014/main" id="{3894EB82-A456-47F8-BB06-FE894AF4B86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6494" y="6284068"/>
              <a:ext cx="29644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3 w 12"/>
                <a:gd name="T11" fmla="*/ 11 h 12"/>
                <a:gd name="T12" fmla="*/ 2 w 12"/>
                <a:gd name="T13" fmla="*/ 10 h 12"/>
                <a:gd name="T14" fmla="*/ 0 w 12"/>
                <a:gd name="T15" fmla="*/ 8 h 12"/>
                <a:gd name="T16" fmla="*/ 0 w 12"/>
                <a:gd name="T17" fmla="*/ 6 h 12"/>
                <a:gd name="T18" fmla="*/ 0 w 12"/>
                <a:gd name="T19" fmla="*/ 4 h 12"/>
                <a:gd name="T20" fmla="*/ 2 w 12"/>
                <a:gd name="T21" fmla="*/ 2 h 12"/>
                <a:gd name="T22" fmla="*/ 3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3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0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3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11" name="Freeform 48">
              <a:extLst>
                <a:ext uri="{FF2B5EF4-FFF2-40B4-BE49-F238E27FC236}">
                  <a16:creationId xmlns:a16="http://schemas.microsoft.com/office/drawing/2014/main" id="{A88F5C3F-FAE1-4A50-86D3-E9A1CAA89A9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388691"/>
              <a:ext cx="94161" cy="130778"/>
            </a:xfrm>
            <a:custGeom>
              <a:avLst/>
              <a:gdLst>
                <a:gd name="T0" fmla="*/ 32 w 54"/>
                <a:gd name="T1" fmla="*/ 12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2 h 75"/>
                <a:gd name="T8" fmla="*/ 0 w 54"/>
                <a:gd name="T9" fmla="*/ 12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2 h 75"/>
                <a:gd name="T16" fmla="*/ 32 w 54"/>
                <a:gd name="T17" fmla="*/ 12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2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2"/>
                  </a:lnTo>
                  <a:lnTo>
                    <a:pt x="0" y="12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2"/>
                  </a:lnTo>
                  <a:lnTo>
                    <a:pt x="32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12" name="Freeform 49">
              <a:extLst>
                <a:ext uri="{FF2B5EF4-FFF2-40B4-BE49-F238E27FC236}">
                  <a16:creationId xmlns:a16="http://schemas.microsoft.com/office/drawing/2014/main" id="{1EFCBDA7-FA42-4391-9872-95EB6DDEA68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383459"/>
              <a:ext cx="78468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9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1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7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7"/>
                    <a:pt x="9" y="17"/>
                  </a:cubicBezTo>
                  <a:cubicBezTo>
                    <a:pt x="10" y="16"/>
                    <a:pt x="10" y="16"/>
                    <a:pt x="11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13" name="Freeform 50">
              <a:extLst>
                <a:ext uri="{FF2B5EF4-FFF2-40B4-BE49-F238E27FC236}">
                  <a16:creationId xmlns:a16="http://schemas.microsoft.com/office/drawing/2014/main" id="{721D8C30-DB23-4A0B-8A74-BC467086477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418333"/>
              <a:ext cx="85443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7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3 w 33"/>
                <a:gd name="T73" fmla="*/ 8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9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2" y="32"/>
                    <a:pt x="23" y="32"/>
                    <a:pt x="23" y="32"/>
                  </a:cubicBezTo>
                  <a:cubicBezTo>
                    <a:pt x="24" y="31"/>
                    <a:pt x="25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1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5" y="13"/>
                  </a:cubicBezTo>
                  <a:cubicBezTo>
                    <a:pt x="24" y="12"/>
                    <a:pt x="24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14" name="Freeform 51">
              <a:extLst>
                <a:ext uri="{FF2B5EF4-FFF2-40B4-BE49-F238E27FC236}">
                  <a16:creationId xmlns:a16="http://schemas.microsoft.com/office/drawing/2014/main" id="{01AD00CA-8BC7-4B62-AC64-03851855A7A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383459"/>
              <a:ext cx="83698" cy="137753"/>
            </a:xfrm>
            <a:custGeom>
              <a:avLst/>
              <a:gdLst>
                <a:gd name="T0" fmla="*/ 33 w 33"/>
                <a:gd name="T1" fmla="*/ 35 h 54"/>
                <a:gd name="T2" fmla="*/ 31 w 33"/>
                <a:gd name="T3" fmla="*/ 43 h 54"/>
                <a:gd name="T4" fmla="*/ 28 w 33"/>
                <a:gd name="T5" fmla="*/ 49 h 54"/>
                <a:gd name="T6" fmla="*/ 23 w 33"/>
                <a:gd name="T7" fmla="*/ 53 h 54"/>
                <a:gd name="T8" fmla="*/ 17 w 33"/>
                <a:gd name="T9" fmla="*/ 54 h 54"/>
                <a:gd name="T10" fmla="*/ 12 w 33"/>
                <a:gd name="T11" fmla="*/ 53 h 54"/>
                <a:gd name="T12" fmla="*/ 8 w 33"/>
                <a:gd name="T13" fmla="*/ 50 h 54"/>
                <a:gd name="T14" fmla="*/ 8 w 33"/>
                <a:gd name="T15" fmla="*/ 53 h 54"/>
                <a:gd name="T16" fmla="*/ 0 w 33"/>
                <a:gd name="T17" fmla="*/ 53 h 54"/>
                <a:gd name="T18" fmla="*/ 0 w 33"/>
                <a:gd name="T19" fmla="*/ 4 h 54"/>
                <a:gd name="T20" fmla="*/ 8 w 33"/>
                <a:gd name="T21" fmla="*/ 0 h 54"/>
                <a:gd name="T22" fmla="*/ 8 w 33"/>
                <a:gd name="T23" fmla="*/ 19 h 54"/>
                <a:gd name="T24" fmla="*/ 10 w 33"/>
                <a:gd name="T25" fmla="*/ 17 h 54"/>
                <a:gd name="T26" fmla="*/ 12 w 33"/>
                <a:gd name="T27" fmla="*/ 16 h 54"/>
                <a:gd name="T28" fmla="*/ 14 w 33"/>
                <a:gd name="T29" fmla="*/ 14 h 54"/>
                <a:gd name="T30" fmla="*/ 18 w 33"/>
                <a:gd name="T31" fmla="*/ 14 h 54"/>
                <a:gd name="T32" fmla="*/ 24 w 33"/>
                <a:gd name="T33" fmla="*/ 15 h 54"/>
                <a:gd name="T34" fmla="*/ 28 w 33"/>
                <a:gd name="T35" fmla="*/ 19 h 54"/>
                <a:gd name="T36" fmla="*/ 31 w 33"/>
                <a:gd name="T37" fmla="*/ 25 h 54"/>
                <a:gd name="T38" fmla="*/ 33 w 33"/>
                <a:gd name="T39" fmla="*/ 35 h 54"/>
                <a:gd name="T40" fmla="*/ 25 w 33"/>
                <a:gd name="T41" fmla="*/ 35 h 54"/>
                <a:gd name="T42" fmla="*/ 23 w 33"/>
                <a:gd name="T43" fmla="*/ 24 h 54"/>
                <a:gd name="T44" fmla="*/ 16 w 33"/>
                <a:gd name="T45" fmla="*/ 21 h 54"/>
                <a:gd name="T46" fmla="*/ 14 w 33"/>
                <a:gd name="T47" fmla="*/ 21 h 54"/>
                <a:gd name="T48" fmla="*/ 11 w 33"/>
                <a:gd name="T49" fmla="*/ 23 h 54"/>
                <a:gd name="T50" fmla="*/ 9 w 33"/>
                <a:gd name="T51" fmla="*/ 24 h 54"/>
                <a:gd name="T52" fmla="*/ 8 w 33"/>
                <a:gd name="T53" fmla="*/ 26 h 54"/>
                <a:gd name="T54" fmla="*/ 8 w 33"/>
                <a:gd name="T55" fmla="*/ 42 h 54"/>
                <a:gd name="T56" fmla="*/ 9 w 33"/>
                <a:gd name="T57" fmla="*/ 44 h 54"/>
                <a:gd name="T58" fmla="*/ 11 w 33"/>
                <a:gd name="T59" fmla="*/ 45 h 54"/>
                <a:gd name="T60" fmla="*/ 14 w 33"/>
                <a:gd name="T61" fmla="*/ 47 h 54"/>
                <a:gd name="T62" fmla="*/ 17 w 33"/>
                <a:gd name="T63" fmla="*/ 47 h 54"/>
                <a:gd name="T64" fmla="*/ 23 w 33"/>
                <a:gd name="T65" fmla="*/ 44 h 54"/>
                <a:gd name="T66" fmla="*/ 25 w 33"/>
                <a:gd name="T67" fmla="*/ 35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4">
                  <a:moveTo>
                    <a:pt x="33" y="35"/>
                  </a:moveTo>
                  <a:cubicBezTo>
                    <a:pt x="33" y="38"/>
                    <a:pt x="32" y="41"/>
                    <a:pt x="31" y="43"/>
                  </a:cubicBezTo>
                  <a:cubicBezTo>
                    <a:pt x="30" y="46"/>
                    <a:pt x="29" y="48"/>
                    <a:pt x="28" y="49"/>
                  </a:cubicBezTo>
                  <a:cubicBezTo>
                    <a:pt x="27" y="51"/>
                    <a:pt x="25" y="52"/>
                    <a:pt x="23" y="53"/>
                  </a:cubicBezTo>
                  <a:cubicBezTo>
                    <a:pt x="21" y="54"/>
                    <a:pt x="19" y="54"/>
                    <a:pt x="17" y="54"/>
                  </a:cubicBezTo>
                  <a:cubicBezTo>
                    <a:pt x="16" y="54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7"/>
                    <a:pt x="10" y="17"/>
                  </a:cubicBezTo>
                  <a:cubicBezTo>
                    <a:pt x="11" y="16"/>
                    <a:pt x="11" y="16"/>
                    <a:pt x="12" y="16"/>
                  </a:cubicBezTo>
                  <a:cubicBezTo>
                    <a:pt x="13" y="15"/>
                    <a:pt x="13" y="15"/>
                    <a:pt x="14" y="14"/>
                  </a:cubicBezTo>
                  <a:cubicBezTo>
                    <a:pt x="15" y="14"/>
                    <a:pt x="16" y="14"/>
                    <a:pt x="18" y="14"/>
                  </a:cubicBezTo>
                  <a:cubicBezTo>
                    <a:pt x="20" y="14"/>
                    <a:pt x="22" y="14"/>
                    <a:pt x="24" y="15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30" y="21"/>
                    <a:pt x="31" y="23"/>
                    <a:pt x="31" y="25"/>
                  </a:cubicBezTo>
                  <a:cubicBezTo>
                    <a:pt x="32" y="28"/>
                    <a:pt x="33" y="31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0"/>
                    <a:pt x="24" y="27"/>
                    <a:pt x="23" y="24"/>
                  </a:cubicBezTo>
                  <a:cubicBezTo>
                    <a:pt x="21" y="22"/>
                    <a:pt x="19" y="21"/>
                    <a:pt x="16" y="21"/>
                  </a:cubicBezTo>
                  <a:cubicBezTo>
                    <a:pt x="15" y="21"/>
                    <a:pt x="15" y="21"/>
                    <a:pt x="14" y="21"/>
                  </a:cubicBezTo>
                  <a:cubicBezTo>
                    <a:pt x="13" y="22"/>
                    <a:pt x="12" y="22"/>
                    <a:pt x="11" y="23"/>
                  </a:cubicBezTo>
                  <a:cubicBezTo>
                    <a:pt x="11" y="23"/>
                    <a:pt x="10" y="24"/>
                    <a:pt x="9" y="24"/>
                  </a:cubicBezTo>
                  <a:cubicBezTo>
                    <a:pt x="9" y="25"/>
                    <a:pt x="8" y="25"/>
                    <a:pt x="8" y="26"/>
                  </a:cubicBezTo>
                  <a:cubicBezTo>
                    <a:pt x="8" y="42"/>
                    <a:pt x="8" y="42"/>
                    <a:pt x="8" y="42"/>
                  </a:cubicBezTo>
                  <a:cubicBezTo>
                    <a:pt x="8" y="43"/>
                    <a:pt x="9" y="43"/>
                    <a:pt x="9" y="44"/>
                  </a:cubicBezTo>
                  <a:cubicBezTo>
                    <a:pt x="10" y="44"/>
                    <a:pt x="11" y="45"/>
                    <a:pt x="11" y="45"/>
                  </a:cubicBezTo>
                  <a:cubicBezTo>
                    <a:pt x="12" y="46"/>
                    <a:pt x="13" y="46"/>
                    <a:pt x="14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9" y="47"/>
                    <a:pt x="21" y="46"/>
                    <a:pt x="23" y="44"/>
                  </a:cubicBezTo>
                  <a:cubicBezTo>
                    <a:pt x="24" y="42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15" name="Freeform 52">
              <a:extLst>
                <a:ext uri="{FF2B5EF4-FFF2-40B4-BE49-F238E27FC236}">
                  <a16:creationId xmlns:a16="http://schemas.microsoft.com/office/drawing/2014/main" id="{BC957590-E3D7-48BF-A1DF-73DCD767385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1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4" y="31"/>
                    <a:pt x="24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16" name="Freeform 53">
              <a:extLst>
                <a:ext uri="{FF2B5EF4-FFF2-40B4-BE49-F238E27FC236}">
                  <a16:creationId xmlns:a16="http://schemas.microsoft.com/office/drawing/2014/main" id="{9BC2125B-AF0E-4411-AFA7-3F79B873BFB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1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2" y="54"/>
                    <a:pt x="11" y="54"/>
                  </a:cubicBezTo>
                  <a:cubicBezTo>
                    <a:pt x="10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2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17" name="Freeform 54">
              <a:extLst>
                <a:ext uri="{FF2B5EF4-FFF2-40B4-BE49-F238E27FC236}">
                  <a16:creationId xmlns:a16="http://schemas.microsoft.com/office/drawing/2014/main" id="{1E5BE33C-9675-423A-802C-0A789DB1851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18" name="Freeform 55">
              <a:extLst>
                <a:ext uri="{FF2B5EF4-FFF2-40B4-BE49-F238E27FC236}">
                  <a16:creationId xmlns:a16="http://schemas.microsoft.com/office/drawing/2014/main" id="{FB04A8AC-9DA2-4FB3-985A-DD8E6439135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0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2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0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3" y="31"/>
                    <a:pt x="24" y="31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0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7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19" name="Freeform 56">
              <a:extLst>
                <a:ext uri="{FF2B5EF4-FFF2-40B4-BE49-F238E27FC236}">
                  <a16:creationId xmlns:a16="http://schemas.microsoft.com/office/drawing/2014/main" id="{F365BB87-C861-4F40-A844-477BAA1EAA5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418333"/>
              <a:ext cx="55799" cy="101135"/>
            </a:xfrm>
            <a:custGeom>
              <a:avLst/>
              <a:gdLst>
                <a:gd name="T0" fmla="*/ 20 w 22"/>
                <a:gd name="T1" fmla="*/ 9 h 39"/>
                <a:gd name="T2" fmla="*/ 18 w 22"/>
                <a:gd name="T3" fmla="*/ 8 h 39"/>
                <a:gd name="T4" fmla="*/ 15 w 22"/>
                <a:gd name="T5" fmla="*/ 7 h 39"/>
                <a:gd name="T6" fmla="*/ 9 w 22"/>
                <a:gd name="T7" fmla="*/ 10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1 h 39"/>
                <a:gd name="T16" fmla="*/ 7 w 22"/>
                <a:gd name="T17" fmla="*/ 1 h 39"/>
                <a:gd name="T18" fmla="*/ 7 w 22"/>
                <a:gd name="T19" fmla="*/ 5 h 39"/>
                <a:gd name="T20" fmla="*/ 9 w 22"/>
                <a:gd name="T21" fmla="*/ 3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1 h 39"/>
                <a:gd name="T30" fmla="*/ 22 w 22"/>
                <a:gd name="T31" fmla="*/ 2 h 39"/>
                <a:gd name="T32" fmla="*/ 20 w 22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7" y="8"/>
                    <a:pt x="16" y="7"/>
                    <a:pt x="15" y="7"/>
                  </a:cubicBezTo>
                  <a:cubicBezTo>
                    <a:pt x="12" y="7"/>
                    <a:pt x="10" y="8"/>
                    <a:pt x="9" y="10"/>
                  </a:cubicBezTo>
                  <a:cubicBezTo>
                    <a:pt x="8" y="12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8" y="4"/>
                    <a:pt x="8" y="3"/>
                    <a:pt x="9" y="3"/>
                  </a:cubicBezTo>
                  <a:cubicBezTo>
                    <a:pt x="9" y="2"/>
                    <a:pt x="10" y="2"/>
                    <a:pt x="11" y="1"/>
                  </a:cubicBezTo>
                  <a:cubicBezTo>
                    <a:pt x="11" y="1"/>
                    <a:pt x="12" y="1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1"/>
                  </a:cubicBezTo>
                  <a:cubicBezTo>
                    <a:pt x="21" y="1"/>
                    <a:pt x="22" y="1"/>
                    <a:pt x="22" y="2"/>
                  </a:cubicBezTo>
                  <a:lnTo>
                    <a:pt x="20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20" name="Freeform 57">
              <a:extLst>
                <a:ext uri="{FF2B5EF4-FFF2-40B4-BE49-F238E27FC236}">
                  <a16:creationId xmlns:a16="http://schemas.microsoft.com/office/drawing/2014/main" id="{8B7E2806-AAFA-45B5-B801-55C79A92779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21" name="Freeform 58">
              <a:extLst>
                <a:ext uri="{FF2B5EF4-FFF2-40B4-BE49-F238E27FC236}">
                  <a16:creationId xmlns:a16="http://schemas.microsoft.com/office/drawing/2014/main" id="{7A49B80F-B4C0-4F31-9238-8123D3E20D1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383459"/>
              <a:ext cx="80211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10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2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8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7"/>
                    <a:pt x="9" y="17"/>
                  </a:cubicBezTo>
                  <a:cubicBezTo>
                    <a:pt x="10" y="16"/>
                    <a:pt x="11" y="16"/>
                    <a:pt x="12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22" name="Freeform 59">
              <a:extLst>
                <a:ext uri="{FF2B5EF4-FFF2-40B4-BE49-F238E27FC236}">
                  <a16:creationId xmlns:a16="http://schemas.microsoft.com/office/drawing/2014/main" id="{9C60C45F-865F-4118-A4B0-174C696B472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8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2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6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1 w 33"/>
                <a:gd name="T69" fmla="*/ 8 h 40"/>
                <a:gd name="T70" fmla="*/ 17 w 33"/>
                <a:gd name="T71" fmla="*/ 7 h 40"/>
                <a:gd name="T72" fmla="*/ 13 w 33"/>
                <a:gd name="T73" fmla="*/ 8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6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10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3" y="32"/>
                    <a:pt x="23" y="32"/>
                    <a:pt x="24" y="32"/>
                  </a:cubicBezTo>
                  <a:cubicBezTo>
                    <a:pt x="24" y="31"/>
                    <a:pt x="25" y="31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7" y="38"/>
                    <a:pt x="26" y="38"/>
                    <a:pt x="25" y="39"/>
                  </a:cubicBezTo>
                  <a:cubicBezTo>
                    <a:pt x="24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4" y="40"/>
                    <a:pt x="12" y="39"/>
                  </a:cubicBezTo>
                  <a:cubicBezTo>
                    <a:pt x="11" y="39"/>
                    <a:pt x="10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4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5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6" y="17"/>
                  </a:moveTo>
                  <a:cubicBezTo>
                    <a:pt x="26" y="15"/>
                    <a:pt x="25" y="14"/>
                    <a:pt x="25" y="13"/>
                  </a:cubicBezTo>
                  <a:cubicBezTo>
                    <a:pt x="25" y="12"/>
                    <a:pt x="24" y="11"/>
                    <a:pt x="23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20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6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23" name="Freeform 60">
              <a:extLst>
                <a:ext uri="{FF2B5EF4-FFF2-40B4-BE49-F238E27FC236}">
                  <a16:creationId xmlns:a16="http://schemas.microsoft.com/office/drawing/2014/main" id="{15FBF980-B96C-472B-A46B-A731CA164E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7435" y="6421821"/>
              <a:ext cx="122060" cy="97648"/>
            </a:xfrm>
            <a:custGeom>
              <a:avLst/>
              <a:gdLst>
                <a:gd name="T0" fmla="*/ 56 w 70"/>
                <a:gd name="T1" fmla="*/ 56 h 56"/>
                <a:gd name="T2" fmla="*/ 46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5 w 70"/>
                <a:gd name="T9" fmla="*/ 56 h 56"/>
                <a:gd name="T10" fmla="*/ 0 w 70"/>
                <a:gd name="T11" fmla="*/ 0 h 56"/>
                <a:gd name="T12" fmla="*/ 10 w 70"/>
                <a:gd name="T13" fmla="*/ 0 h 56"/>
                <a:gd name="T14" fmla="*/ 21 w 70"/>
                <a:gd name="T15" fmla="*/ 38 h 56"/>
                <a:gd name="T16" fmla="*/ 31 w 70"/>
                <a:gd name="T17" fmla="*/ 0 h 56"/>
                <a:gd name="T18" fmla="*/ 40 w 70"/>
                <a:gd name="T19" fmla="*/ 0 h 56"/>
                <a:gd name="T20" fmla="*/ 50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6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6" y="56"/>
                  </a:moveTo>
                  <a:lnTo>
                    <a:pt x="46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5" y="56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1" y="38"/>
                  </a:lnTo>
                  <a:lnTo>
                    <a:pt x="31" y="0"/>
                  </a:lnTo>
                  <a:lnTo>
                    <a:pt x="40" y="0"/>
                  </a:lnTo>
                  <a:lnTo>
                    <a:pt x="50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6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24" name="Freeform 61">
              <a:extLst>
                <a:ext uri="{FF2B5EF4-FFF2-40B4-BE49-F238E27FC236}">
                  <a16:creationId xmlns:a16="http://schemas.microsoft.com/office/drawing/2014/main" id="{64F1DD18-05EE-4F9F-9E6B-E03C4C500F2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859957" y="6418333"/>
              <a:ext cx="87186" cy="102879"/>
            </a:xfrm>
            <a:custGeom>
              <a:avLst/>
              <a:gdLst>
                <a:gd name="T0" fmla="*/ 34 w 34"/>
                <a:gd name="T1" fmla="*/ 20 h 40"/>
                <a:gd name="T2" fmla="*/ 33 w 34"/>
                <a:gd name="T3" fmla="*/ 28 h 40"/>
                <a:gd name="T4" fmla="*/ 29 w 34"/>
                <a:gd name="T5" fmla="*/ 35 h 40"/>
                <a:gd name="T6" fmla="*/ 24 w 34"/>
                <a:gd name="T7" fmla="*/ 39 h 40"/>
                <a:gd name="T8" fmla="*/ 17 w 34"/>
                <a:gd name="T9" fmla="*/ 40 h 40"/>
                <a:gd name="T10" fmla="*/ 10 w 34"/>
                <a:gd name="T11" fmla="*/ 39 h 40"/>
                <a:gd name="T12" fmla="*/ 5 w 34"/>
                <a:gd name="T13" fmla="*/ 35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2 h 40"/>
                <a:gd name="T20" fmla="*/ 5 w 34"/>
                <a:gd name="T21" fmla="*/ 5 h 40"/>
                <a:gd name="T22" fmla="*/ 11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2 h 40"/>
                <a:gd name="T32" fmla="*/ 34 w 34"/>
                <a:gd name="T33" fmla="*/ 20 h 40"/>
                <a:gd name="T34" fmla="*/ 27 w 34"/>
                <a:gd name="T35" fmla="*/ 20 h 40"/>
                <a:gd name="T36" fmla="*/ 26 w 34"/>
                <a:gd name="T37" fmla="*/ 15 h 40"/>
                <a:gd name="T38" fmla="*/ 24 w 34"/>
                <a:gd name="T39" fmla="*/ 11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1 h 40"/>
                <a:gd name="T48" fmla="*/ 8 w 34"/>
                <a:gd name="T49" fmla="*/ 15 h 40"/>
                <a:gd name="T50" fmla="*/ 8 w 34"/>
                <a:gd name="T51" fmla="*/ 20 h 40"/>
                <a:gd name="T52" fmla="*/ 8 w 34"/>
                <a:gd name="T53" fmla="*/ 26 h 40"/>
                <a:gd name="T54" fmla="*/ 10 w 34"/>
                <a:gd name="T55" fmla="*/ 30 h 40"/>
                <a:gd name="T56" fmla="*/ 13 w 34"/>
                <a:gd name="T57" fmla="*/ 32 h 40"/>
                <a:gd name="T58" fmla="*/ 17 w 34"/>
                <a:gd name="T59" fmla="*/ 33 h 40"/>
                <a:gd name="T60" fmla="*/ 21 w 34"/>
                <a:gd name="T61" fmla="*/ 32 h 40"/>
                <a:gd name="T62" fmla="*/ 24 w 34"/>
                <a:gd name="T63" fmla="*/ 29 h 40"/>
                <a:gd name="T64" fmla="*/ 26 w 34"/>
                <a:gd name="T65" fmla="*/ 25 h 40"/>
                <a:gd name="T66" fmla="*/ 27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20"/>
                  </a:moveTo>
                  <a:cubicBezTo>
                    <a:pt x="34" y="23"/>
                    <a:pt x="34" y="26"/>
                    <a:pt x="33" y="28"/>
                  </a:cubicBezTo>
                  <a:cubicBezTo>
                    <a:pt x="32" y="31"/>
                    <a:pt x="31" y="33"/>
                    <a:pt x="29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2" y="40"/>
                    <a:pt x="10" y="39"/>
                  </a:cubicBezTo>
                  <a:cubicBezTo>
                    <a:pt x="8" y="38"/>
                    <a:pt x="6" y="36"/>
                    <a:pt x="5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1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7" y="4"/>
                    <a:pt x="8" y="2"/>
                    <a:pt x="11" y="1"/>
                  </a:cubicBezTo>
                  <a:cubicBezTo>
                    <a:pt x="13" y="1"/>
                    <a:pt x="15" y="0"/>
                    <a:pt x="17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4" y="17"/>
                    <a:pt x="34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3" y="10"/>
                    <a:pt x="22" y="9"/>
                    <a:pt x="21" y="8"/>
                  </a:cubicBezTo>
                  <a:cubicBezTo>
                    <a:pt x="20" y="8"/>
                    <a:pt x="18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9" y="12"/>
                    <a:pt x="9" y="13"/>
                    <a:pt x="8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8" y="26"/>
                  </a:cubicBezTo>
                  <a:cubicBezTo>
                    <a:pt x="9" y="27"/>
                    <a:pt x="10" y="28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25" name="Freeform 62">
              <a:extLst>
                <a:ext uri="{FF2B5EF4-FFF2-40B4-BE49-F238E27FC236}">
                  <a16:creationId xmlns:a16="http://schemas.microsoft.com/office/drawing/2014/main" id="{6051CC00-BFF2-4334-9855-62AD588546F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8067" y="6418333"/>
              <a:ext cx="57543" cy="101135"/>
            </a:xfrm>
            <a:custGeom>
              <a:avLst/>
              <a:gdLst>
                <a:gd name="T0" fmla="*/ 21 w 23"/>
                <a:gd name="T1" fmla="*/ 9 h 39"/>
                <a:gd name="T2" fmla="*/ 18 w 23"/>
                <a:gd name="T3" fmla="*/ 8 h 39"/>
                <a:gd name="T4" fmla="*/ 15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9 w 23"/>
                <a:gd name="T21" fmla="*/ 3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8" y="8"/>
                    <a:pt x="17" y="7"/>
                    <a:pt x="15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8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9" y="3"/>
                  </a:cubicBezTo>
                  <a:cubicBezTo>
                    <a:pt x="10" y="2"/>
                    <a:pt x="11" y="2"/>
                    <a:pt x="11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1"/>
                  </a:cubicBezTo>
                  <a:cubicBezTo>
                    <a:pt x="21" y="1"/>
                    <a:pt x="22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26" name="Freeform 63">
              <a:extLst>
                <a:ext uri="{FF2B5EF4-FFF2-40B4-BE49-F238E27FC236}">
                  <a16:creationId xmlns:a16="http://schemas.microsoft.com/office/drawing/2014/main" id="{905DD261-B224-46ED-8CEE-E8D180BA4B7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3046" y="6383459"/>
              <a:ext cx="19181" cy="136010"/>
            </a:xfrm>
            <a:custGeom>
              <a:avLst/>
              <a:gdLst>
                <a:gd name="T0" fmla="*/ 0 w 11"/>
                <a:gd name="T1" fmla="*/ 78 h 78"/>
                <a:gd name="T2" fmla="*/ 0 w 11"/>
                <a:gd name="T3" fmla="*/ 6 h 78"/>
                <a:gd name="T4" fmla="*/ 11 w 11"/>
                <a:gd name="T5" fmla="*/ 0 h 78"/>
                <a:gd name="T6" fmla="*/ 11 w 11"/>
                <a:gd name="T7" fmla="*/ 78 h 78"/>
                <a:gd name="T8" fmla="*/ 0 w 11"/>
                <a:gd name="T9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78">
                  <a:moveTo>
                    <a:pt x="0" y="78"/>
                  </a:moveTo>
                  <a:lnTo>
                    <a:pt x="0" y="6"/>
                  </a:lnTo>
                  <a:lnTo>
                    <a:pt x="11" y="0"/>
                  </a:lnTo>
                  <a:lnTo>
                    <a:pt x="11" y="78"/>
                  </a:lnTo>
                  <a:lnTo>
                    <a:pt x="0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27" name="Freeform 64">
              <a:extLst>
                <a:ext uri="{FF2B5EF4-FFF2-40B4-BE49-F238E27FC236}">
                  <a16:creationId xmlns:a16="http://schemas.microsoft.com/office/drawing/2014/main" id="{A23129DF-0296-4CA9-9723-124682F0A70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084896" y="6383459"/>
              <a:ext cx="80211" cy="137753"/>
            </a:xfrm>
            <a:custGeom>
              <a:avLst/>
              <a:gdLst>
                <a:gd name="T0" fmla="*/ 24 w 32"/>
                <a:gd name="T1" fmla="*/ 53 h 54"/>
                <a:gd name="T2" fmla="*/ 24 w 32"/>
                <a:gd name="T3" fmla="*/ 50 h 54"/>
                <a:gd name="T4" fmla="*/ 22 w 32"/>
                <a:gd name="T5" fmla="*/ 51 h 54"/>
                <a:gd name="T6" fmla="*/ 20 w 32"/>
                <a:gd name="T7" fmla="*/ 53 h 54"/>
                <a:gd name="T8" fmla="*/ 17 w 32"/>
                <a:gd name="T9" fmla="*/ 54 h 54"/>
                <a:gd name="T10" fmla="*/ 14 w 32"/>
                <a:gd name="T11" fmla="*/ 54 h 54"/>
                <a:gd name="T12" fmla="*/ 9 w 32"/>
                <a:gd name="T13" fmla="*/ 53 h 54"/>
                <a:gd name="T14" fmla="*/ 4 w 32"/>
                <a:gd name="T15" fmla="*/ 49 h 54"/>
                <a:gd name="T16" fmla="*/ 1 w 32"/>
                <a:gd name="T17" fmla="*/ 43 h 54"/>
                <a:gd name="T18" fmla="*/ 0 w 32"/>
                <a:gd name="T19" fmla="*/ 33 h 54"/>
                <a:gd name="T20" fmla="*/ 1 w 32"/>
                <a:gd name="T21" fmla="*/ 25 h 54"/>
                <a:gd name="T22" fmla="*/ 4 w 32"/>
                <a:gd name="T23" fmla="*/ 19 h 54"/>
                <a:gd name="T24" fmla="*/ 9 w 32"/>
                <a:gd name="T25" fmla="*/ 15 h 54"/>
                <a:gd name="T26" fmla="*/ 15 w 32"/>
                <a:gd name="T27" fmla="*/ 14 h 54"/>
                <a:gd name="T28" fmla="*/ 18 w 32"/>
                <a:gd name="T29" fmla="*/ 14 h 54"/>
                <a:gd name="T30" fmla="*/ 20 w 32"/>
                <a:gd name="T31" fmla="*/ 15 h 54"/>
                <a:gd name="T32" fmla="*/ 22 w 32"/>
                <a:gd name="T33" fmla="*/ 17 h 54"/>
                <a:gd name="T34" fmla="*/ 24 w 32"/>
                <a:gd name="T35" fmla="*/ 18 h 54"/>
                <a:gd name="T36" fmla="*/ 24 w 32"/>
                <a:gd name="T37" fmla="*/ 4 h 54"/>
                <a:gd name="T38" fmla="*/ 32 w 32"/>
                <a:gd name="T39" fmla="*/ 0 h 54"/>
                <a:gd name="T40" fmla="*/ 32 w 32"/>
                <a:gd name="T41" fmla="*/ 53 h 54"/>
                <a:gd name="T42" fmla="*/ 24 w 32"/>
                <a:gd name="T43" fmla="*/ 53 h 54"/>
                <a:gd name="T44" fmla="*/ 24 w 32"/>
                <a:gd name="T45" fmla="*/ 26 h 54"/>
                <a:gd name="T46" fmla="*/ 23 w 32"/>
                <a:gd name="T47" fmla="*/ 24 h 54"/>
                <a:gd name="T48" fmla="*/ 21 w 32"/>
                <a:gd name="T49" fmla="*/ 23 h 54"/>
                <a:gd name="T50" fmla="*/ 18 w 32"/>
                <a:gd name="T51" fmla="*/ 22 h 54"/>
                <a:gd name="T52" fmla="*/ 15 w 32"/>
                <a:gd name="T53" fmla="*/ 21 h 54"/>
                <a:gd name="T54" fmla="*/ 9 w 32"/>
                <a:gd name="T55" fmla="*/ 24 h 54"/>
                <a:gd name="T56" fmla="*/ 7 w 32"/>
                <a:gd name="T57" fmla="*/ 33 h 54"/>
                <a:gd name="T58" fmla="*/ 8 w 32"/>
                <a:gd name="T59" fmla="*/ 39 h 54"/>
                <a:gd name="T60" fmla="*/ 9 w 32"/>
                <a:gd name="T61" fmla="*/ 44 h 54"/>
                <a:gd name="T62" fmla="*/ 12 w 32"/>
                <a:gd name="T63" fmla="*/ 46 h 54"/>
                <a:gd name="T64" fmla="*/ 16 w 32"/>
                <a:gd name="T65" fmla="*/ 47 h 54"/>
                <a:gd name="T66" fmla="*/ 18 w 32"/>
                <a:gd name="T67" fmla="*/ 47 h 54"/>
                <a:gd name="T68" fmla="*/ 21 w 32"/>
                <a:gd name="T69" fmla="*/ 46 h 54"/>
                <a:gd name="T70" fmla="*/ 23 w 32"/>
                <a:gd name="T71" fmla="*/ 44 h 54"/>
                <a:gd name="T72" fmla="*/ 24 w 32"/>
                <a:gd name="T73" fmla="*/ 42 h 54"/>
                <a:gd name="T74" fmla="*/ 24 w 32"/>
                <a:gd name="T75" fmla="*/ 2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2" h="54">
                  <a:moveTo>
                    <a:pt x="24" y="53"/>
                  </a:moveTo>
                  <a:cubicBezTo>
                    <a:pt x="24" y="50"/>
                    <a:pt x="24" y="50"/>
                    <a:pt x="24" y="50"/>
                  </a:cubicBezTo>
                  <a:cubicBezTo>
                    <a:pt x="24" y="50"/>
                    <a:pt x="23" y="51"/>
                    <a:pt x="22" y="51"/>
                  </a:cubicBezTo>
                  <a:cubicBezTo>
                    <a:pt x="21" y="52"/>
                    <a:pt x="21" y="52"/>
                    <a:pt x="20" y="53"/>
                  </a:cubicBezTo>
                  <a:cubicBezTo>
                    <a:pt x="19" y="53"/>
                    <a:pt x="18" y="54"/>
                    <a:pt x="17" y="54"/>
                  </a:cubicBezTo>
                  <a:cubicBezTo>
                    <a:pt x="16" y="54"/>
                    <a:pt x="15" y="54"/>
                    <a:pt x="14" y="54"/>
                  </a:cubicBezTo>
                  <a:cubicBezTo>
                    <a:pt x="12" y="54"/>
                    <a:pt x="10" y="54"/>
                    <a:pt x="9" y="53"/>
                  </a:cubicBezTo>
                  <a:cubicBezTo>
                    <a:pt x="7" y="52"/>
                    <a:pt x="5" y="51"/>
                    <a:pt x="4" y="49"/>
                  </a:cubicBezTo>
                  <a:cubicBezTo>
                    <a:pt x="3" y="48"/>
                    <a:pt x="1" y="45"/>
                    <a:pt x="1" y="43"/>
                  </a:cubicBezTo>
                  <a:cubicBezTo>
                    <a:pt x="0" y="40"/>
                    <a:pt x="0" y="37"/>
                    <a:pt x="0" y="33"/>
                  </a:cubicBezTo>
                  <a:cubicBezTo>
                    <a:pt x="0" y="30"/>
                    <a:pt x="0" y="27"/>
                    <a:pt x="1" y="25"/>
                  </a:cubicBezTo>
                  <a:cubicBezTo>
                    <a:pt x="2" y="22"/>
                    <a:pt x="3" y="20"/>
                    <a:pt x="4" y="19"/>
                  </a:cubicBezTo>
                  <a:cubicBezTo>
                    <a:pt x="6" y="17"/>
                    <a:pt x="7" y="16"/>
                    <a:pt x="9" y="15"/>
                  </a:cubicBezTo>
                  <a:cubicBezTo>
                    <a:pt x="11" y="14"/>
                    <a:pt x="13" y="14"/>
                    <a:pt x="15" y="14"/>
                  </a:cubicBezTo>
                  <a:cubicBezTo>
                    <a:pt x="16" y="14"/>
                    <a:pt x="17" y="14"/>
                    <a:pt x="18" y="14"/>
                  </a:cubicBezTo>
                  <a:cubicBezTo>
                    <a:pt x="18" y="15"/>
                    <a:pt x="19" y="15"/>
                    <a:pt x="20" y="15"/>
                  </a:cubicBezTo>
                  <a:cubicBezTo>
                    <a:pt x="21" y="16"/>
                    <a:pt x="22" y="16"/>
                    <a:pt x="22" y="17"/>
                  </a:cubicBezTo>
                  <a:cubicBezTo>
                    <a:pt x="23" y="17"/>
                    <a:pt x="24" y="18"/>
                    <a:pt x="24" y="18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53"/>
                    <a:pt x="32" y="53"/>
                    <a:pt x="32" y="53"/>
                  </a:cubicBezTo>
                  <a:lnTo>
                    <a:pt x="24" y="53"/>
                  </a:lnTo>
                  <a:close/>
                  <a:moveTo>
                    <a:pt x="24" y="26"/>
                  </a:moveTo>
                  <a:cubicBezTo>
                    <a:pt x="24" y="26"/>
                    <a:pt x="23" y="25"/>
                    <a:pt x="23" y="24"/>
                  </a:cubicBezTo>
                  <a:cubicBezTo>
                    <a:pt x="22" y="24"/>
                    <a:pt x="22" y="23"/>
                    <a:pt x="21" y="23"/>
                  </a:cubicBezTo>
                  <a:cubicBezTo>
                    <a:pt x="20" y="22"/>
                    <a:pt x="19" y="22"/>
                    <a:pt x="18" y="22"/>
                  </a:cubicBezTo>
                  <a:cubicBezTo>
                    <a:pt x="17" y="21"/>
                    <a:pt x="16" y="21"/>
                    <a:pt x="15" y="21"/>
                  </a:cubicBezTo>
                  <a:cubicBezTo>
                    <a:pt x="13" y="21"/>
                    <a:pt x="11" y="22"/>
                    <a:pt x="9" y="24"/>
                  </a:cubicBezTo>
                  <a:cubicBezTo>
                    <a:pt x="8" y="26"/>
                    <a:pt x="7" y="29"/>
                    <a:pt x="7" y="33"/>
                  </a:cubicBezTo>
                  <a:cubicBezTo>
                    <a:pt x="7" y="36"/>
                    <a:pt x="7" y="38"/>
                    <a:pt x="8" y="39"/>
                  </a:cubicBezTo>
                  <a:cubicBezTo>
                    <a:pt x="8" y="41"/>
                    <a:pt x="9" y="43"/>
                    <a:pt x="9" y="44"/>
                  </a:cubicBezTo>
                  <a:cubicBezTo>
                    <a:pt x="10" y="45"/>
                    <a:pt x="11" y="46"/>
                    <a:pt x="12" y="46"/>
                  </a:cubicBezTo>
                  <a:cubicBezTo>
                    <a:pt x="13" y="47"/>
                    <a:pt x="14" y="47"/>
                    <a:pt x="16" y="47"/>
                  </a:cubicBezTo>
                  <a:cubicBezTo>
                    <a:pt x="17" y="47"/>
                    <a:pt x="18" y="47"/>
                    <a:pt x="18" y="47"/>
                  </a:cubicBezTo>
                  <a:cubicBezTo>
                    <a:pt x="19" y="46"/>
                    <a:pt x="20" y="46"/>
                    <a:pt x="21" y="46"/>
                  </a:cubicBezTo>
                  <a:cubicBezTo>
                    <a:pt x="21" y="45"/>
                    <a:pt x="22" y="45"/>
                    <a:pt x="23" y="44"/>
                  </a:cubicBezTo>
                  <a:cubicBezTo>
                    <a:pt x="23" y="43"/>
                    <a:pt x="24" y="43"/>
                    <a:pt x="24" y="42"/>
                  </a:cubicBezTo>
                  <a:lnTo>
                    <a:pt x="24" y="2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28" name="Freeform 65">
              <a:extLst>
                <a:ext uri="{FF2B5EF4-FFF2-40B4-BE49-F238E27FC236}">
                  <a16:creationId xmlns:a16="http://schemas.microsoft.com/office/drawing/2014/main" id="{A2A2BF8E-DA3A-4AC0-B7EB-7CAABFC9E69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29624" y="6421821"/>
              <a:ext cx="122060" cy="97648"/>
            </a:xfrm>
            <a:custGeom>
              <a:avLst/>
              <a:gdLst>
                <a:gd name="T0" fmla="*/ 55 w 70"/>
                <a:gd name="T1" fmla="*/ 56 h 56"/>
                <a:gd name="T2" fmla="*/ 45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6 w 70"/>
                <a:gd name="T9" fmla="*/ 56 h 56"/>
                <a:gd name="T10" fmla="*/ 0 w 70"/>
                <a:gd name="T11" fmla="*/ 0 h 56"/>
                <a:gd name="T12" fmla="*/ 12 w 70"/>
                <a:gd name="T13" fmla="*/ 0 h 56"/>
                <a:gd name="T14" fmla="*/ 20 w 70"/>
                <a:gd name="T15" fmla="*/ 38 h 56"/>
                <a:gd name="T16" fmla="*/ 31 w 70"/>
                <a:gd name="T17" fmla="*/ 0 h 56"/>
                <a:gd name="T18" fmla="*/ 39 w 70"/>
                <a:gd name="T19" fmla="*/ 0 h 56"/>
                <a:gd name="T20" fmla="*/ 51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5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5" y="56"/>
                  </a:moveTo>
                  <a:lnTo>
                    <a:pt x="45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6" y="56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0" y="38"/>
                  </a:lnTo>
                  <a:lnTo>
                    <a:pt x="31" y="0"/>
                  </a:lnTo>
                  <a:lnTo>
                    <a:pt x="39" y="0"/>
                  </a:lnTo>
                  <a:lnTo>
                    <a:pt x="51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29" name="Freeform 66">
              <a:extLst>
                <a:ext uri="{FF2B5EF4-FFF2-40B4-BE49-F238E27FC236}">
                  <a16:creationId xmlns:a16="http://schemas.microsoft.com/office/drawing/2014/main" id="{BEBFC1A4-92B9-418F-A0A9-2E210A37BCF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62147" y="6418333"/>
              <a:ext cx="88930" cy="102879"/>
            </a:xfrm>
            <a:custGeom>
              <a:avLst/>
              <a:gdLst>
                <a:gd name="T0" fmla="*/ 35 w 35"/>
                <a:gd name="T1" fmla="*/ 20 h 40"/>
                <a:gd name="T2" fmla="*/ 33 w 35"/>
                <a:gd name="T3" fmla="*/ 28 h 40"/>
                <a:gd name="T4" fmla="*/ 30 w 35"/>
                <a:gd name="T5" fmla="*/ 35 h 40"/>
                <a:gd name="T6" fmla="*/ 24 w 35"/>
                <a:gd name="T7" fmla="*/ 39 h 40"/>
                <a:gd name="T8" fmla="*/ 17 w 35"/>
                <a:gd name="T9" fmla="*/ 40 h 40"/>
                <a:gd name="T10" fmla="*/ 11 w 35"/>
                <a:gd name="T11" fmla="*/ 39 h 40"/>
                <a:gd name="T12" fmla="*/ 5 w 35"/>
                <a:gd name="T13" fmla="*/ 35 h 40"/>
                <a:gd name="T14" fmla="*/ 2 w 35"/>
                <a:gd name="T15" fmla="*/ 28 h 40"/>
                <a:gd name="T16" fmla="*/ 0 w 35"/>
                <a:gd name="T17" fmla="*/ 20 h 40"/>
                <a:gd name="T18" fmla="*/ 2 w 35"/>
                <a:gd name="T19" fmla="*/ 12 h 40"/>
                <a:gd name="T20" fmla="*/ 5 w 35"/>
                <a:gd name="T21" fmla="*/ 5 h 40"/>
                <a:gd name="T22" fmla="*/ 11 w 35"/>
                <a:gd name="T23" fmla="*/ 1 h 40"/>
                <a:gd name="T24" fmla="*/ 18 w 35"/>
                <a:gd name="T25" fmla="*/ 0 h 40"/>
                <a:gd name="T26" fmla="*/ 24 w 35"/>
                <a:gd name="T27" fmla="*/ 1 h 40"/>
                <a:gd name="T28" fmla="*/ 30 w 35"/>
                <a:gd name="T29" fmla="*/ 5 h 40"/>
                <a:gd name="T30" fmla="*/ 33 w 35"/>
                <a:gd name="T31" fmla="*/ 12 h 40"/>
                <a:gd name="T32" fmla="*/ 35 w 35"/>
                <a:gd name="T33" fmla="*/ 20 h 40"/>
                <a:gd name="T34" fmla="*/ 27 w 35"/>
                <a:gd name="T35" fmla="*/ 20 h 40"/>
                <a:gd name="T36" fmla="*/ 26 w 35"/>
                <a:gd name="T37" fmla="*/ 15 h 40"/>
                <a:gd name="T38" fmla="*/ 24 w 35"/>
                <a:gd name="T39" fmla="*/ 11 h 40"/>
                <a:gd name="T40" fmla="*/ 21 w 35"/>
                <a:gd name="T41" fmla="*/ 8 h 40"/>
                <a:gd name="T42" fmla="*/ 17 w 35"/>
                <a:gd name="T43" fmla="*/ 7 h 40"/>
                <a:gd name="T44" fmla="*/ 13 w 35"/>
                <a:gd name="T45" fmla="*/ 8 h 40"/>
                <a:gd name="T46" fmla="*/ 10 w 35"/>
                <a:gd name="T47" fmla="*/ 11 h 40"/>
                <a:gd name="T48" fmla="*/ 9 w 35"/>
                <a:gd name="T49" fmla="*/ 15 h 40"/>
                <a:gd name="T50" fmla="*/ 8 w 35"/>
                <a:gd name="T51" fmla="*/ 20 h 40"/>
                <a:gd name="T52" fmla="*/ 9 w 35"/>
                <a:gd name="T53" fmla="*/ 26 h 40"/>
                <a:gd name="T54" fmla="*/ 11 w 35"/>
                <a:gd name="T55" fmla="*/ 30 h 40"/>
                <a:gd name="T56" fmla="*/ 14 w 35"/>
                <a:gd name="T57" fmla="*/ 32 h 40"/>
                <a:gd name="T58" fmla="*/ 18 w 35"/>
                <a:gd name="T59" fmla="*/ 33 h 40"/>
                <a:gd name="T60" fmla="*/ 21 w 35"/>
                <a:gd name="T61" fmla="*/ 32 h 40"/>
                <a:gd name="T62" fmla="*/ 24 w 35"/>
                <a:gd name="T63" fmla="*/ 29 h 40"/>
                <a:gd name="T64" fmla="*/ 26 w 35"/>
                <a:gd name="T65" fmla="*/ 25 h 40"/>
                <a:gd name="T66" fmla="*/ 27 w 35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5" h="40">
                  <a:moveTo>
                    <a:pt x="35" y="20"/>
                  </a:moveTo>
                  <a:cubicBezTo>
                    <a:pt x="35" y="23"/>
                    <a:pt x="34" y="26"/>
                    <a:pt x="33" y="28"/>
                  </a:cubicBezTo>
                  <a:cubicBezTo>
                    <a:pt x="32" y="31"/>
                    <a:pt x="31" y="33"/>
                    <a:pt x="30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3" y="40"/>
                    <a:pt x="11" y="39"/>
                  </a:cubicBezTo>
                  <a:cubicBezTo>
                    <a:pt x="8" y="38"/>
                    <a:pt x="7" y="36"/>
                    <a:pt x="5" y="35"/>
                  </a:cubicBezTo>
                  <a:cubicBezTo>
                    <a:pt x="4" y="33"/>
                    <a:pt x="2" y="31"/>
                    <a:pt x="2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3" y="9"/>
                    <a:pt x="4" y="7"/>
                    <a:pt x="5" y="5"/>
                  </a:cubicBezTo>
                  <a:cubicBezTo>
                    <a:pt x="7" y="4"/>
                    <a:pt x="9" y="2"/>
                    <a:pt x="11" y="1"/>
                  </a:cubicBezTo>
                  <a:cubicBezTo>
                    <a:pt x="13" y="1"/>
                    <a:pt x="15" y="0"/>
                    <a:pt x="18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30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5" y="17"/>
                    <a:pt x="35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4" y="10"/>
                    <a:pt x="23" y="9"/>
                    <a:pt x="21" y="8"/>
                  </a:cubicBezTo>
                  <a:cubicBezTo>
                    <a:pt x="20" y="8"/>
                    <a:pt x="19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10" y="12"/>
                    <a:pt x="9" y="13"/>
                    <a:pt x="9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9" y="26"/>
                  </a:cubicBezTo>
                  <a:cubicBezTo>
                    <a:pt x="9" y="27"/>
                    <a:pt x="10" y="28"/>
                    <a:pt x="11" y="30"/>
                  </a:cubicBezTo>
                  <a:cubicBezTo>
                    <a:pt x="11" y="31"/>
                    <a:pt x="12" y="32"/>
                    <a:pt x="14" y="32"/>
                  </a:cubicBezTo>
                  <a:cubicBezTo>
                    <a:pt x="15" y="33"/>
                    <a:pt x="16" y="33"/>
                    <a:pt x="18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3" y="31"/>
                    <a:pt x="24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30" name="Freeform 67">
              <a:extLst>
                <a:ext uri="{FF2B5EF4-FFF2-40B4-BE49-F238E27FC236}">
                  <a16:creationId xmlns:a16="http://schemas.microsoft.com/office/drawing/2014/main" id="{A28B9FD0-8354-4DD6-856A-157C5F8768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68514" y="6418333"/>
              <a:ext cx="59286" cy="101135"/>
            </a:xfrm>
            <a:custGeom>
              <a:avLst/>
              <a:gdLst>
                <a:gd name="T0" fmla="*/ 21 w 23"/>
                <a:gd name="T1" fmla="*/ 9 h 39"/>
                <a:gd name="T2" fmla="*/ 19 w 23"/>
                <a:gd name="T3" fmla="*/ 8 h 39"/>
                <a:gd name="T4" fmla="*/ 16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10 w 23"/>
                <a:gd name="T21" fmla="*/ 3 h 39"/>
                <a:gd name="T22" fmla="*/ 12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1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20" y="8"/>
                    <a:pt x="19" y="8"/>
                  </a:cubicBezTo>
                  <a:cubicBezTo>
                    <a:pt x="18" y="8"/>
                    <a:pt x="17" y="7"/>
                    <a:pt x="16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9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10" y="3"/>
                  </a:cubicBezTo>
                  <a:cubicBezTo>
                    <a:pt x="10" y="2"/>
                    <a:pt x="11" y="2"/>
                    <a:pt x="12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20" y="0"/>
                    <a:pt x="21" y="1"/>
                  </a:cubicBezTo>
                  <a:cubicBezTo>
                    <a:pt x="22" y="1"/>
                    <a:pt x="23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31" name="Freeform 68">
              <a:extLst>
                <a:ext uri="{FF2B5EF4-FFF2-40B4-BE49-F238E27FC236}">
                  <a16:creationId xmlns:a16="http://schemas.microsoft.com/office/drawing/2014/main" id="{83D3DEEE-A610-48BE-BADD-6BA188B5B86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5237" y="6383459"/>
              <a:ext cx="76723" cy="136010"/>
            </a:xfrm>
            <a:custGeom>
              <a:avLst/>
              <a:gdLst>
                <a:gd name="T0" fmla="*/ 31 w 44"/>
                <a:gd name="T1" fmla="*/ 78 h 78"/>
                <a:gd name="T2" fmla="*/ 19 w 44"/>
                <a:gd name="T3" fmla="*/ 50 h 78"/>
                <a:gd name="T4" fmla="*/ 10 w 44"/>
                <a:gd name="T5" fmla="*/ 61 h 78"/>
                <a:gd name="T6" fmla="*/ 10 w 44"/>
                <a:gd name="T7" fmla="*/ 78 h 78"/>
                <a:gd name="T8" fmla="*/ 0 w 44"/>
                <a:gd name="T9" fmla="*/ 78 h 78"/>
                <a:gd name="T10" fmla="*/ 0 w 44"/>
                <a:gd name="T11" fmla="*/ 6 h 78"/>
                <a:gd name="T12" fmla="*/ 10 w 44"/>
                <a:gd name="T13" fmla="*/ 0 h 78"/>
                <a:gd name="T14" fmla="*/ 10 w 44"/>
                <a:gd name="T15" fmla="*/ 47 h 78"/>
                <a:gd name="T16" fmla="*/ 28 w 44"/>
                <a:gd name="T17" fmla="*/ 22 h 78"/>
                <a:gd name="T18" fmla="*/ 41 w 44"/>
                <a:gd name="T19" fmla="*/ 22 h 78"/>
                <a:gd name="T20" fmla="*/ 26 w 44"/>
                <a:gd name="T21" fmla="*/ 41 h 78"/>
                <a:gd name="T22" fmla="*/ 44 w 44"/>
                <a:gd name="T23" fmla="*/ 78 h 78"/>
                <a:gd name="T24" fmla="*/ 31 w 44"/>
                <a:gd name="T25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4" h="78">
                  <a:moveTo>
                    <a:pt x="31" y="78"/>
                  </a:moveTo>
                  <a:lnTo>
                    <a:pt x="19" y="50"/>
                  </a:lnTo>
                  <a:lnTo>
                    <a:pt x="10" y="61"/>
                  </a:lnTo>
                  <a:lnTo>
                    <a:pt x="10" y="78"/>
                  </a:lnTo>
                  <a:lnTo>
                    <a:pt x="0" y="78"/>
                  </a:lnTo>
                  <a:lnTo>
                    <a:pt x="0" y="6"/>
                  </a:lnTo>
                  <a:lnTo>
                    <a:pt x="10" y="0"/>
                  </a:lnTo>
                  <a:lnTo>
                    <a:pt x="10" y="47"/>
                  </a:lnTo>
                  <a:lnTo>
                    <a:pt x="28" y="22"/>
                  </a:lnTo>
                  <a:lnTo>
                    <a:pt x="41" y="22"/>
                  </a:lnTo>
                  <a:lnTo>
                    <a:pt x="26" y="41"/>
                  </a:lnTo>
                  <a:lnTo>
                    <a:pt x="44" y="78"/>
                  </a:lnTo>
                  <a:lnTo>
                    <a:pt x="31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32" name="Freeform 69">
              <a:extLst>
                <a:ext uri="{FF2B5EF4-FFF2-40B4-BE49-F238E27FC236}">
                  <a16:creationId xmlns:a16="http://schemas.microsoft.com/office/drawing/2014/main" id="{463C7ADB-C654-4D24-9055-0B6003A770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28936" y="6418333"/>
              <a:ext cx="74980" cy="102879"/>
            </a:xfrm>
            <a:custGeom>
              <a:avLst/>
              <a:gdLst>
                <a:gd name="T0" fmla="*/ 28 w 29"/>
                <a:gd name="T1" fmla="*/ 4 h 40"/>
                <a:gd name="T2" fmla="*/ 25 w 29"/>
                <a:gd name="T3" fmla="*/ 10 h 40"/>
                <a:gd name="T4" fmla="*/ 20 w 29"/>
                <a:gd name="T5" fmla="*/ 8 h 40"/>
                <a:gd name="T6" fmla="*/ 15 w 29"/>
                <a:gd name="T7" fmla="*/ 7 h 40"/>
                <a:gd name="T8" fmla="*/ 11 w 29"/>
                <a:gd name="T9" fmla="*/ 8 h 40"/>
                <a:gd name="T10" fmla="*/ 9 w 29"/>
                <a:gd name="T11" fmla="*/ 10 h 40"/>
                <a:gd name="T12" fmla="*/ 10 w 29"/>
                <a:gd name="T13" fmla="*/ 12 h 40"/>
                <a:gd name="T14" fmla="*/ 11 w 29"/>
                <a:gd name="T15" fmla="*/ 13 h 40"/>
                <a:gd name="T16" fmla="*/ 13 w 29"/>
                <a:gd name="T17" fmla="*/ 14 h 40"/>
                <a:gd name="T18" fmla="*/ 17 w 29"/>
                <a:gd name="T19" fmla="*/ 16 h 40"/>
                <a:gd name="T20" fmla="*/ 22 w 29"/>
                <a:gd name="T21" fmla="*/ 18 h 40"/>
                <a:gd name="T22" fmla="*/ 26 w 29"/>
                <a:gd name="T23" fmla="*/ 21 h 40"/>
                <a:gd name="T24" fmla="*/ 29 w 29"/>
                <a:gd name="T25" fmla="*/ 24 h 40"/>
                <a:gd name="T26" fmla="*/ 29 w 29"/>
                <a:gd name="T27" fmla="*/ 29 h 40"/>
                <a:gd name="T28" fmla="*/ 28 w 29"/>
                <a:gd name="T29" fmla="*/ 34 h 40"/>
                <a:gd name="T30" fmla="*/ 25 w 29"/>
                <a:gd name="T31" fmla="*/ 38 h 40"/>
                <a:gd name="T32" fmla="*/ 21 w 29"/>
                <a:gd name="T33" fmla="*/ 40 h 40"/>
                <a:gd name="T34" fmla="*/ 15 w 29"/>
                <a:gd name="T35" fmla="*/ 40 h 40"/>
                <a:gd name="T36" fmla="*/ 7 w 29"/>
                <a:gd name="T37" fmla="*/ 39 h 40"/>
                <a:gd name="T38" fmla="*/ 0 w 29"/>
                <a:gd name="T39" fmla="*/ 35 h 40"/>
                <a:gd name="T40" fmla="*/ 4 w 29"/>
                <a:gd name="T41" fmla="*/ 30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20 w 29"/>
                <a:gd name="T53" fmla="*/ 26 h 40"/>
                <a:gd name="T54" fmla="*/ 17 w 29"/>
                <a:gd name="T55" fmla="*/ 24 h 40"/>
                <a:gd name="T56" fmla="*/ 13 w 29"/>
                <a:gd name="T57" fmla="*/ 23 h 40"/>
                <a:gd name="T58" fmla="*/ 8 w 29"/>
                <a:gd name="T59" fmla="*/ 20 h 40"/>
                <a:gd name="T60" fmla="*/ 4 w 29"/>
                <a:gd name="T61" fmla="*/ 18 h 40"/>
                <a:gd name="T62" fmla="*/ 2 w 29"/>
                <a:gd name="T63" fmla="*/ 15 h 40"/>
                <a:gd name="T64" fmla="*/ 2 w 29"/>
                <a:gd name="T65" fmla="*/ 11 h 40"/>
                <a:gd name="T66" fmla="*/ 3 w 29"/>
                <a:gd name="T67" fmla="*/ 6 h 40"/>
                <a:gd name="T68" fmla="*/ 6 w 29"/>
                <a:gd name="T69" fmla="*/ 3 h 40"/>
                <a:gd name="T70" fmla="*/ 10 w 29"/>
                <a:gd name="T71" fmla="*/ 1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5" y="10"/>
                    <a:pt x="25" y="10"/>
                    <a:pt x="25" y="10"/>
                  </a:cubicBezTo>
                  <a:cubicBezTo>
                    <a:pt x="23" y="9"/>
                    <a:pt x="22" y="8"/>
                    <a:pt x="20" y="8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2" y="7"/>
                    <a:pt x="11" y="8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1"/>
                    <a:pt x="10" y="11"/>
                    <a:pt x="10" y="12"/>
                  </a:cubicBezTo>
                  <a:cubicBezTo>
                    <a:pt x="10" y="12"/>
                    <a:pt x="10" y="13"/>
                    <a:pt x="11" y="13"/>
                  </a:cubicBezTo>
                  <a:cubicBezTo>
                    <a:pt x="11" y="13"/>
                    <a:pt x="12" y="14"/>
                    <a:pt x="13" y="14"/>
                  </a:cubicBezTo>
                  <a:cubicBezTo>
                    <a:pt x="14" y="15"/>
                    <a:pt x="15" y="15"/>
                    <a:pt x="17" y="16"/>
                  </a:cubicBezTo>
                  <a:cubicBezTo>
                    <a:pt x="19" y="17"/>
                    <a:pt x="21" y="18"/>
                    <a:pt x="22" y="18"/>
                  </a:cubicBezTo>
                  <a:cubicBezTo>
                    <a:pt x="24" y="19"/>
                    <a:pt x="25" y="20"/>
                    <a:pt x="26" y="21"/>
                  </a:cubicBezTo>
                  <a:cubicBezTo>
                    <a:pt x="27" y="22"/>
                    <a:pt x="28" y="23"/>
                    <a:pt x="29" y="24"/>
                  </a:cubicBezTo>
                  <a:cubicBezTo>
                    <a:pt x="29" y="25"/>
                    <a:pt x="29" y="27"/>
                    <a:pt x="29" y="29"/>
                  </a:cubicBezTo>
                  <a:cubicBezTo>
                    <a:pt x="29" y="31"/>
                    <a:pt x="29" y="33"/>
                    <a:pt x="28" y="34"/>
                  </a:cubicBezTo>
                  <a:cubicBezTo>
                    <a:pt x="28" y="36"/>
                    <a:pt x="26" y="37"/>
                    <a:pt x="25" y="38"/>
                  </a:cubicBezTo>
                  <a:cubicBezTo>
                    <a:pt x="24" y="39"/>
                    <a:pt x="22" y="39"/>
                    <a:pt x="21" y="40"/>
                  </a:cubicBezTo>
                  <a:cubicBezTo>
                    <a:pt x="19" y="40"/>
                    <a:pt x="17" y="40"/>
                    <a:pt x="15" y="40"/>
                  </a:cubicBezTo>
                  <a:cubicBezTo>
                    <a:pt x="13" y="40"/>
                    <a:pt x="10" y="40"/>
                    <a:pt x="7" y="39"/>
                  </a:cubicBezTo>
                  <a:cubicBezTo>
                    <a:pt x="5" y="38"/>
                    <a:pt x="2" y="37"/>
                    <a:pt x="0" y="35"/>
                  </a:cubicBezTo>
                  <a:cubicBezTo>
                    <a:pt x="4" y="30"/>
                    <a:pt x="4" y="30"/>
                    <a:pt x="4" y="30"/>
                  </a:cubicBezTo>
                  <a:cubicBezTo>
                    <a:pt x="6" y="31"/>
                    <a:pt x="7" y="32"/>
                    <a:pt x="9" y="32"/>
                  </a:cubicBezTo>
                  <a:cubicBezTo>
                    <a:pt x="11" y="33"/>
                    <a:pt x="13" y="33"/>
                    <a:pt x="15" y="33"/>
                  </a:cubicBezTo>
                  <a:cubicBezTo>
                    <a:pt x="17" y="33"/>
                    <a:pt x="19" y="33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8"/>
                    <a:pt x="21" y="27"/>
                  </a:cubicBezTo>
                  <a:cubicBezTo>
                    <a:pt x="21" y="27"/>
                    <a:pt x="20" y="26"/>
                    <a:pt x="20" y="26"/>
                  </a:cubicBezTo>
                  <a:cubicBezTo>
                    <a:pt x="19" y="25"/>
                    <a:pt x="18" y="25"/>
                    <a:pt x="17" y="24"/>
                  </a:cubicBezTo>
                  <a:cubicBezTo>
                    <a:pt x="16" y="24"/>
                    <a:pt x="15" y="23"/>
                    <a:pt x="13" y="23"/>
                  </a:cubicBezTo>
                  <a:cubicBezTo>
                    <a:pt x="11" y="22"/>
                    <a:pt x="9" y="21"/>
                    <a:pt x="8" y="20"/>
                  </a:cubicBezTo>
                  <a:cubicBezTo>
                    <a:pt x="6" y="19"/>
                    <a:pt x="5" y="19"/>
                    <a:pt x="4" y="18"/>
                  </a:cubicBezTo>
                  <a:cubicBezTo>
                    <a:pt x="3" y="17"/>
                    <a:pt x="3" y="16"/>
                    <a:pt x="2" y="15"/>
                  </a:cubicBezTo>
                  <a:cubicBezTo>
                    <a:pt x="2" y="13"/>
                    <a:pt x="2" y="12"/>
                    <a:pt x="2" y="11"/>
                  </a:cubicBezTo>
                  <a:cubicBezTo>
                    <a:pt x="2" y="9"/>
                    <a:pt x="2" y="7"/>
                    <a:pt x="3" y="6"/>
                  </a:cubicBezTo>
                  <a:cubicBezTo>
                    <a:pt x="3" y="5"/>
                    <a:pt x="4" y="4"/>
                    <a:pt x="6" y="3"/>
                  </a:cubicBezTo>
                  <a:cubicBezTo>
                    <a:pt x="7" y="2"/>
                    <a:pt x="8" y="1"/>
                    <a:pt x="10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20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33" name="Freeform 70">
              <a:extLst>
                <a:ext uri="{FF2B5EF4-FFF2-40B4-BE49-F238E27FC236}">
                  <a16:creationId xmlns:a16="http://schemas.microsoft.com/office/drawing/2014/main" id="{40CF3793-E792-4DB3-8064-4B43F4706A3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23096" y="6489826"/>
              <a:ext cx="27899" cy="31387"/>
            </a:xfrm>
            <a:custGeom>
              <a:avLst/>
              <a:gdLst>
                <a:gd name="T0" fmla="*/ 11 w 11"/>
                <a:gd name="T1" fmla="*/ 6 h 12"/>
                <a:gd name="T2" fmla="*/ 11 w 11"/>
                <a:gd name="T3" fmla="*/ 9 h 12"/>
                <a:gd name="T4" fmla="*/ 10 w 11"/>
                <a:gd name="T5" fmla="*/ 10 h 12"/>
                <a:gd name="T6" fmla="*/ 8 w 11"/>
                <a:gd name="T7" fmla="*/ 12 h 12"/>
                <a:gd name="T8" fmla="*/ 6 w 11"/>
                <a:gd name="T9" fmla="*/ 12 h 12"/>
                <a:gd name="T10" fmla="*/ 3 w 11"/>
                <a:gd name="T11" fmla="*/ 12 h 12"/>
                <a:gd name="T12" fmla="*/ 1 w 11"/>
                <a:gd name="T13" fmla="*/ 10 h 12"/>
                <a:gd name="T14" fmla="*/ 0 w 11"/>
                <a:gd name="T15" fmla="*/ 9 h 12"/>
                <a:gd name="T16" fmla="*/ 0 w 11"/>
                <a:gd name="T17" fmla="*/ 6 h 12"/>
                <a:gd name="T18" fmla="*/ 0 w 11"/>
                <a:gd name="T19" fmla="*/ 4 h 12"/>
                <a:gd name="T20" fmla="*/ 1 w 11"/>
                <a:gd name="T21" fmla="*/ 2 h 12"/>
                <a:gd name="T22" fmla="*/ 3 w 11"/>
                <a:gd name="T23" fmla="*/ 1 h 12"/>
                <a:gd name="T24" fmla="*/ 6 w 11"/>
                <a:gd name="T25" fmla="*/ 0 h 12"/>
                <a:gd name="T26" fmla="*/ 8 w 11"/>
                <a:gd name="T27" fmla="*/ 1 h 12"/>
                <a:gd name="T28" fmla="*/ 10 w 11"/>
                <a:gd name="T29" fmla="*/ 2 h 12"/>
                <a:gd name="T30" fmla="*/ 11 w 11"/>
                <a:gd name="T31" fmla="*/ 4 h 12"/>
                <a:gd name="T32" fmla="*/ 11 w 11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" h="12">
                  <a:moveTo>
                    <a:pt x="11" y="6"/>
                  </a:moveTo>
                  <a:cubicBezTo>
                    <a:pt x="11" y="7"/>
                    <a:pt x="11" y="8"/>
                    <a:pt x="11" y="9"/>
                  </a:cubicBezTo>
                  <a:cubicBezTo>
                    <a:pt x="11" y="9"/>
                    <a:pt x="10" y="10"/>
                    <a:pt x="10" y="10"/>
                  </a:cubicBezTo>
                  <a:cubicBezTo>
                    <a:pt x="9" y="11"/>
                    <a:pt x="9" y="11"/>
                    <a:pt x="8" y="12"/>
                  </a:cubicBezTo>
                  <a:cubicBezTo>
                    <a:pt x="7" y="12"/>
                    <a:pt x="6" y="12"/>
                    <a:pt x="6" y="12"/>
                  </a:cubicBezTo>
                  <a:cubicBezTo>
                    <a:pt x="5" y="12"/>
                    <a:pt x="4" y="12"/>
                    <a:pt x="3" y="12"/>
                  </a:cubicBezTo>
                  <a:cubicBezTo>
                    <a:pt x="3" y="11"/>
                    <a:pt x="2" y="11"/>
                    <a:pt x="1" y="10"/>
                  </a:cubicBezTo>
                  <a:cubicBezTo>
                    <a:pt x="1" y="10"/>
                    <a:pt x="1" y="9"/>
                    <a:pt x="0" y="9"/>
                  </a:cubicBezTo>
                  <a:cubicBezTo>
                    <a:pt x="0" y="8"/>
                    <a:pt x="0" y="7"/>
                    <a:pt x="0" y="6"/>
                  </a:cubicBezTo>
                  <a:cubicBezTo>
                    <a:pt x="0" y="6"/>
                    <a:pt x="0" y="5"/>
                    <a:pt x="0" y="4"/>
                  </a:cubicBezTo>
                  <a:cubicBezTo>
                    <a:pt x="1" y="3"/>
                    <a:pt x="1" y="3"/>
                    <a:pt x="1" y="2"/>
                  </a:cubicBezTo>
                  <a:cubicBezTo>
                    <a:pt x="2" y="2"/>
                    <a:pt x="3" y="1"/>
                    <a:pt x="3" y="1"/>
                  </a:cubicBezTo>
                  <a:cubicBezTo>
                    <a:pt x="4" y="1"/>
                    <a:pt x="5" y="0"/>
                    <a:pt x="6" y="0"/>
                  </a:cubicBezTo>
                  <a:cubicBezTo>
                    <a:pt x="6" y="0"/>
                    <a:pt x="7" y="1"/>
                    <a:pt x="8" y="1"/>
                  </a:cubicBezTo>
                  <a:cubicBezTo>
                    <a:pt x="9" y="1"/>
                    <a:pt x="9" y="2"/>
                    <a:pt x="10" y="2"/>
                  </a:cubicBezTo>
                  <a:cubicBezTo>
                    <a:pt x="10" y="3"/>
                    <a:pt x="11" y="3"/>
                    <a:pt x="11" y="4"/>
                  </a:cubicBezTo>
                  <a:cubicBezTo>
                    <a:pt x="11" y="5"/>
                    <a:pt x="11" y="6"/>
                    <a:pt x="11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</p:grpSp>
      <p:sp>
        <p:nvSpPr>
          <p:cNvPr id="18" name="Title 1"/>
          <p:cNvSpPr>
            <a:spLocks noGrp="1"/>
          </p:cNvSpPr>
          <p:nvPr userDrawn="1">
            <p:ph type="ctrTitle"/>
          </p:nvPr>
        </p:nvSpPr>
        <p:spPr>
          <a:xfrm>
            <a:off x="944388" y="2158329"/>
            <a:ext cx="4781392" cy="860400"/>
          </a:xfrm>
          <a:prstGeom prst="rect">
            <a:avLst/>
          </a:prstGeom>
        </p:spPr>
        <p:txBody>
          <a:bodyPr/>
          <a:lstStyle>
            <a:lvl1pPr>
              <a:defRPr sz="2999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9" name="Subtitle 2"/>
          <p:cNvSpPr>
            <a:spLocks noGrp="1"/>
          </p:cNvSpPr>
          <p:nvPr userDrawn="1">
            <p:ph type="subTitle" idx="1"/>
          </p:nvPr>
        </p:nvSpPr>
        <p:spPr>
          <a:xfrm>
            <a:off x="944580" y="3200329"/>
            <a:ext cx="4805525" cy="64574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999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  <a:lvl2pPr marL="0" indent="0" algn="l">
              <a:buNone/>
              <a:defRPr sz="1599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913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9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8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8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7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subtitle style</a:t>
            </a:r>
            <a:endParaRPr lang="en-GB" dirty="0"/>
          </a:p>
        </p:txBody>
      </p:sp>
      <p:sp>
        <p:nvSpPr>
          <p:cNvPr id="3" name="Freeform: Shape 2">
            <a:extLst>
              <a:ext uri="{FF2B5EF4-FFF2-40B4-BE49-F238E27FC236}">
                <a16:creationId xmlns:a16="http://schemas.microsoft.com/office/drawing/2014/main" id="{44A731D0-020D-4D8E-955D-2354AF0FE452}"/>
              </a:ext>
            </a:extLst>
          </p:cNvPr>
          <p:cNvSpPr/>
          <p:nvPr userDrawn="1"/>
        </p:nvSpPr>
        <p:spPr>
          <a:xfrm>
            <a:off x="489112" y="723658"/>
            <a:ext cx="5677988" cy="3452894"/>
          </a:xfrm>
          <a:custGeom>
            <a:avLst/>
            <a:gdLst>
              <a:gd name="connsiteX0" fmla="*/ 8749 w 5680945"/>
              <a:gd name="connsiteY0" fmla="*/ 1021520 h 3452894"/>
              <a:gd name="connsiteX1" fmla="*/ 8749 w 5680945"/>
              <a:gd name="connsiteY1" fmla="*/ 3164181 h 3452894"/>
              <a:gd name="connsiteX2" fmla="*/ 151414 w 5680945"/>
              <a:gd name="connsiteY2" fmla="*/ 3164181 h 3452894"/>
              <a:gd name="connsiteX3" fmla="*/ 151414 w 5680945"/>
              <a:gd name="connsiteY3" fmla="*/ 1140155 h 3452894"/>
              <a:gd name="connsiteX4" fmla="*/ 5534897 w 5680945"/>
              <a:gd name="connsiteY4" fmla="*/ 179294 h 3452894"/>
              <a:gd name="connsiteX5" fmla="*/ 5534897 w 5680945"/>
              <a:gd name="connsiteY5" fmla="*/ 3306846 h 3452894"/>
              <a:gd name="connsiteX6" fmla="*/ 864624 w 5680945"/>
              <a:gd name="connsiteY6" fmla="*/ 3306846 h 3452894"/>
              <a:gd name="connsiteX7" fmla="*/ 864624 w 5680945"/>
              <a:gd name="connsiteY7" fmla="*/ 3449395 h 3452894"/>
              <a:gd name="connsiteX8" fmla="*/ 5677562 w 5680945"/>
              <a:gd name="connsiteY8" fmla="*/ 3449395 h 3452894"/>
              <a:gd name="connsiteX9" fmla="*/ 5677562 w 5680945"/>
              <a:gd name="connsiteY9" fmla="*/ 8749 h 3452894"/>
              <a:gd name="connsiteX10" fmla="*/ 8749 w 5680945"/>
              <a:gd name="connsiteY10" fmla="*/ 1021520 h 34528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5680945" h="3452894">
                <a:moveTo>
                  <a:pt x="8749" y="1021520"/>
                </a:moveTo>
                <a:lnTo>
                  <a:pt x="8749" y="3164181"/>
                </a:lnTo>
                <a:lnTo>
                  <a:pt x="151414" y="3164181"/>
                </a:lnTo>
                <a:lnTo>
                  <a:pt x="151414" y="1140155"/>
                </a:lnTo>
                <a:lnTo>
                  <a:pt x="5534897" y="179294"/>
                </a:lnTo>
                <a:lnTo>
                  <a:pt x="5534897" y="3306846"/>
                </a:lnTo>
                <a:lnTo>
                  <a:pt x="864624" y="3306846"/>
                </a:lnTo>
                <a:lnTo>
                  <a:pt x="864624" y="3449395"/>
                </a:lnTo>
                <a:lnTo>
                  <a:pt x="5677562" y="3449395"/>
                </a:lnTo>
                <a:lnTo>
                  <a:pt x="5677562" y="8749"/>
                </a:lnTo>
                <a:lnTo>
                  <a:pt x="8749" y="1021520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 sz="1799" dirty="0"/>
          </a:p>
        </p:txBody>
      </p:sp>
      <p:sp>
        <p:nvSpPr>
          <p:cNvPr id="4" name="Freeform: Shape 3">
            <a:extLst>
              <a:ext uri="{FF2B5EF4-FFF2-40B4-BE49-F238E27FC236}">
                <a16:creationId xmlns:a16="http://schemas.microsoft.com/office/drawing/2014/main" id="{15324C54-B75E-4AC0-90C2-FA558C7716F7}"/>
              </a:ext>
            </a:extLst>
          </p:cNvPr>
          <p:cNvSpPr/>
          <p:nvPr/>
        </p:nvSpPr>
        <p:spPr>
          <a:xfrm>
            <a:off x="489112" y="4021756"/>
            <a:ext cx="151568" cy="151647"/>
          </a:xfrm>
          <a:custGeom>
            <a:avLst/>
            <a:gdLst>
              <a:gd name="connsiteX0" fmla="*/ 8749 w 151647"/>
              <a:gd name="connsiteY0" fmla="*/ 8749 h 151647"/>
              <a:gd name="connsiteX1" fmla="*/ 151414 w 151647"/>
              <a:gd name="connsiteY1" fmla="*/ 8749 h 151647"/>
              <a:gd name="connsiteX2" fmla="*/ 151414 w 151647"/>
              <a:gd name="connsiteY2" fmla="*/ 151414 h 151647"/>
              <a:gd name="connsiteX3" fmla="*/ 8749 w 151647"/>
              <a:gd name="connsiteY3" fmla="*/ 151414 h 151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647" h="151647">
                <a:moveTo>
                  <a:pt x="8749" y="8749"/>
                </a:moveTo>
                <a:lnTo>
                  <a:pt x="151414" y="8749"/>
                </a:lnTo>
                <a:lnTo>
                  <a:pt x="151414" y="151414"/>
                </a:lnTo>
                <a:lnTo>
                  <a:pt x="8749" y="151414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 sz="1799" dirty="0"/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CAA95478-C099-485F-AD95-A617656C6C7C}"/>
              </a:ext>
            </a:extLst>
          </p:cNvPr>
          <p:cNvSpPr/>
          <p:nvPr/>
        </p:nvSpPr>
        <p:spPr>
          <a:xfrm>
            <a:off x="774294" y="4021756"/>
            <a:ext cx="151568" cy="151647"/>
          </a:xfrm>
          <a:custGeom>
            <a:avLst/>
            <a:gdLst>
              <a:gd name="connsiteX0" fmla="*/ 8749 w 151647"/>
              <a:gd name="connsiteY0" fmla="*/ 8749 h 151647"/>
              <a:gd name="connsiteX1" fmla="*/ 151414 w 151647"/>
              <a:gd name="connsiteY1" fmla="*/ 8749 h 151647"/>
              <a:gd name="connsiteX2" fmla="*/ 151414 w 151647"/>
              <a:gd name="connsiteY2" fmla="*/ 151414 h 151647"/>
              <a:gd name="connsiteX3" fmla="*/ 8749 w 151647"/>
              <a:gd name="connsiteY3" fmla="*/ 151414 h 151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647" h="151647">
                <a:moveTo>
                  <a:pt x="8749" y="8749"/>
                </a:moveTo>
                <a:lnTo>
                  <a:pt x="151414" y="8749"/>
                </a:lnTo>
                <a:lnTo>
                  <a:pt x="151414" y="151414"/>
                </a:lnTo>
                <a:lnTo>
                  <a:pt x="8749" y="151414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 sz="1799" dirty="0"/>
          </a:p>
        </p:txBody>
      </p: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D65680A1-86D1-44C2-AA38-0DF5735F1F26}"/>
              </a:ext>
            </a:extLst>
          </p:cNvPr>
          <p:cNvSpPr/>
          <p:nvPr/>
        </p:nvSpPr>
        <p:spPr>
          <a:xfrm>
            <a:off x="1059359" y="4021756"/>
            <a:ext cx="151568" cy="151647"/>
          </a:xfrm>
          <a:custGeom>
            <a:avLst/>
            <a:gdLst>
              <a:gd name="connsiteX0" fmla="*/ 8749 w 151647"/>
              <a:gd name="connsiteY0" fmla="*/ 8749 h 151647"/>
              <a:gd name="connsiteX1" fmla="*/ 151414 w 151647"/>
              <a:gd name="connsiteY1" fmla="*/ 8749 h 151647"/>
              <a:gd name="connsiteX2" fmla="*/ 151414 w 151647"/>
              <a:gd name="connsiteY2" fmla="*/ 151414 h 151647"/>
              <a:gd name="connsiteX3" fmla="*/ 8749 w 151647"/>
              <a:gd name="connsiteY3" fmla="*/ 151414 h 151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647" h="151647">
                <a:moveTo>
                  <a:pt x="8749" y="8749"/>
                </a:moveTo>
                <a:lnTo>
                  <a:pt x="151414" y="8749"/>
                </a:lnTo>
                <a:lnTo>
                  <a:pt x="151414" y="151414"/>
                </a:lnTo>
                <a:lnTo>
                  <a:pt x="8749" y="151414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 sz="1799" dirty="0"/>
          </a:p>
        </p:txBody>
      </p:sp>
      <p:grpSp>
        <p:nvGrpSpPr>
          <p:cNvPr id="76" name="Group 4">
            <a:extLst>
              <a:ext uri="{FF2B5EF4-FFF2-40B4-BE49-F238E27FC236}">
                <a16:creationId xmlns:a16="http://schemas.microsoft.com/office/drawing/2014/main" id="{9D60B6B0-F7ED-4B9F-A77C-632AC4EA661D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59392" y="4960938"/>
            <a:ext cx="1224912" cy="1435100"/>
            <a:chOff x="6529" y="3125"/>
            <a:chExt cx="772" cy="904"/>
          </a:xfrm>
        </p:grpSpPr>
        <p:sp>
          <p:nvSpPr>
            <p:cNvPr id="77" name="Freeform 5">
              <a:extLst>
                <a:ext uri="{FF2B5EF4-FFF2-40B4-BE49-F238E27FC236}">
                  <a16:creationId xmlns:a16="http://schemas.microsoft.com/office/drawing/2014/main" id="{CC1B45B9-64DF-4C5B-9711-FA69AD53707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/>
            </a:p>
          </p:txBody>
        </p:sp>
        <p:sp>
          <p:nvSpPr>
            <p:cNvPr id="78" name="Freeform 6">
              <a:extLst>
                <a:ext uri="{FF2B5EF4-FFF2-40B4-BE49-F238E27FC236}">
                  <a16:creationId xmlns:a16="http://schemas.microsoft.com/office/drawing/2014/main" id="{BA55CB73-EE25-43B6-9720-855E16C4B15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/>
            </a:p>
          </p:txBody>
        </p:sp>
      </p:grpSp>
    </p:spTree>
    <p:extLst>
      <p:ext uri="{BB962C8B-B14F-4D97-AF65-F5344CB8AC3E}">
        <p14:creationId xmlns:p14="http://schemas.microsoft.com/office/powerpoint/2010/main" val="369317319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pproved question ta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6" name="Group 185">
            <a:extLst>
              <a:ext uri="{FF2B5EF4-FFF2-40B4-BE49-F238E27FC236}">
                <a16:creationId xmlns:a16="http://schemas.microsoft.com/office/drawing/2014/main" id="{9CDE954B-B280-441B-9B2D-3DC58AAE3926}"/>
              </a:ext>
            </a:extLst>
          </p:cNvPr>
          <p:cNvGrpSpPr/>
          <p:nvPr userDrawn="1"/>
        </p:nvGrpSpPr>
        <p:grpSpPr>
          <a:xfrm>
            <a:off x="497856" y="5826613"/>
            <a:ext cx="3876004" cy="570195"/>
            <a:chOff x="498115" y="5951018"/>
            <a:chExt cx="3878023" cy="570195"/>
          </a:xfrm>
        </p:grpSpPr>
        <p:sp>
          <p:nvSpPr>
            <p:cNvPr id="187" name="Rectangle 186">
              <a:extLst>
                <a:ext uri="{FF2B5EF4-FFF2-40B4-BE49-F238E27FC236}">
                  <a16:creationId xmlns:a16="http://schemas.microsoft.com/office/drawing/2014/main" id="{93D8FAC8-9530-49D4-8284-D35D1B1509D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98115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/>
            </a:p>
          </p:txBody>
        </p:sp>
        <p:sp>
          <p:nvSpPr>
            <p:cNvPr id="188" name="Rectangle 6">
              <a:extLst>
                <a:ext uri="{FF2B5EF4-FFF2-40B4-BE49-F238E27FC236}">
                  <a16:creationId xmlns:a16="http://schemas.microsoft.com/office/drawing/2014/main" id="{FD924F44-93C1-4254-B594-53DB14FD995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9341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/>
            </a:p>
          </p:txBody>
        </p:sp>
        <p:sp>
          <p:nvSpPr>
            <p:cNvPr id="189" name="Rectangle 7">
              <a:extLst>
                <a:ext uri="{FF2B5EF4-FFF2-40B4-BE49-F238E27FC236}">
                  <a16:creationId xmlns:a16="http://schemas.microsoft.com/office/drawing/2014/main" id="{2A2DA425-7935-45A1-B63F-2D14CF8D5F9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9045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/>
            </a:p>
          </p:txBody>
        </p:sp>
        <p:sp>
          <p:nvSpPr>
            <p:cNvPr id="190" name="Freeform 8">
              <a:extLst>
                <a:ext uri="{FF2B5EF4-FFF2-40B4-BE49-F238E27FC236}">
                  <a16:creationId xmlns:a16="http://schemas.microsoft.com/office/drawing/2014/main" id="{91EFF75E-13E7-4E35-B108-D9FD5E9C802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181188"/>
              <a:ext cx="94161" cy="130778"/>
            </a:xfrm>
            <a:custGeom>
              <a:avLst/>
              <a:gdLst>
                <a:gd name="T0" fmla="*/ 32 w 54"/>
                <a:gd name="T1" fmla="*/ 11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1 h 75"/>
                <a:gd name="T8" fmla="*/ 0 w 54"/>
                <a:gd name="T9" fmla="*/ 11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1 h 75"/>
                <a:gd name="T16" fmla="*/ 32 w 54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1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1"/>
                  </a:lnTo>
                  <a:lnTo>
                    <a:pt x="32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91" name="Freeform 9">
              <a:extLst>
                <a:ext uri="{FF2B5EF4-FFF2-40B4-BE49-F238E27FC236}">
                  <a16:creationId xmlns:a16="http://schemas.microsoft.com/office/drawing/2014/main" id="{4411951F-E009-4FE7-B2EC-47771CA8E17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174213"/>
              <a:ext cx="78468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92" name="Freeform 10">
              <a:extLst>
                <a:ext uri="{FF2B5EF4-FFF2-40B4-BE49-F238E27FC236}">
                  <a16:creationId xmlns:a16="http://schemas.microsoft.com/office/drawing/2014/main" id="{B28EE49C-5F5A-49C6-AEB8-6D12DDF344E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93" name="Freeform 11">
              <a:extLst>
                <a:ext uri="{FF2B5EF4-FFF2-40B4-BE49-F238E27FC236}">
                  <a16:creationId xmlns:a16="http://schemas.microsoft.com/office/drawing/2014/main" id="{6E2B7D76-D660-491F-8B04-169C6F138B0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174213"/>
              <a:ext cx="83698" cy="139497"/>
            </a:xfrm>
            <a:custGeom>
              <a:avLst/>
              <a:gdLst>
                <a:gd name="T0" fmla="*/ 33 w 33"/>
                <a:gd name="T1" fmla="*/ 35 h 55"/>
                <a:gd name="T2" fmla="*/ 31 w 33"/>
                <a:gd name="T3" fmla="*/ 44 h 55"/>
                <a:gd name="T4" fmla="*/ 28 w 33"/>
                <a:gd name="T5" fmla="*/ 50 h 55"/>
                <a:gd name="T6" fmla="*/ 23 w 33"/>
                <a:gd name="T7" fmla="*/ 53 h 55"/>
                <a:gd name="T8" fmla="*/ 17 w 33"/>
                <a:gd name="T9" fmla="*/ 55 h 55"/>
                <a:gd name="T10" fmla="*/ 12 w 33"/>
                <a:gd name="T11" fmla="*/ 53 h 55"/>
                <a:gd name="T12" fmla="*/ 8 w 33"/>
                <a:gd name="T13" fmla="*/ 50 h 55"/>
                <a:gd name="T14" fmla="*/ 8 w 33"/>
                <a:gd name="T15" fmla="*/ 54 h 55"/>
                <a:gd name="T16" fmla="*/ 0 w 33"/>
                <a:gd name="T17" fmla="*/ 54 h 55"/>
                <a:gd name="T18" fmla="*/ 0 w 33"/>
                <a:gd name="T19" fmla="*/ 4 h 55"/>
                <a:gd name="T20" fmla="*/ 8 w 33"/>
                <a:gd name="T21" fmla="*/ 0 h 55"/>
                <a:gd name="T22" fmla="*/ 8 w 33"/>
                <a:gd name="T23" fmla="*/ 19 h 55"/>
                <a:gd name="T24" fmla="*/ 10 w 33"/>
                <a:gd name="T25" fmla="*/ 17 h 55"/>
                <a:gd name="T26" fmla="*/ 12 w 33"/>
                <a:gd name="T27" fmla="*/ 16 h 55"/>
                <a:gd name="T28" fmla="*/ 14 w 33"/>
                <a:gd name="T29" fmla="*/ 15 h 55"/>
                <a:gd name="T30" fmla="*/ 18 w 33"/>
                <a:gd name="T31" fmla="*/ 15 h 55"/>
                <a:gd name="T32" fmla="*/ 24 w 33"/>
                <a:gd name="T33" fmla="*/ 16 h 55"/>
                <a:gd name="T34" fmla="*/ 28 w 33"/>
                <a:gd name="T35" fmla="*/ 19 h 55"/>
                <a:gd name="T36" fmla="*/ 31 w 33"/>
                <a:gd name="T37" fmla="*/ 26 h 55"/>
                <a:gd name="T38" fmla="*/ 33 w 33"/>
                <a:gd name="T39" fmla="*/ 35 h 55"/>
                <a:gd name="T40" fmla="*/ 25 w 33"/>
                <a:gd name="T41" fmla="*/ 35 h 55"/>
                <a:gd name="T42" fmla="*/ 23 w 33"/>
                <a:gd name="T43" fmla="*/ 25 h 55"/>
                <a:gd name="T44" fmla="*/ 16 w 33"/>
                <a:gd name="T45" fmla="*/ 22 h 55"/>
                <a:gd name="T46" fmla="*/ 14 w 33"/>
                <a:gd name="T47" fmla="*/ 22 h 55"/>
                <a:gd name="T48" fmla="*/ 11 w 33"/>
                <a:gd name="T49" fmla="*/ 23 h 55"/>
                <a:gd name="T50" fmla="*/ 9 w 33"/>
                <a:gd name="T51" fmla="*/ 25 h 55"/>
                <a:gd name="T52" fmla="*/ 8 w 33"/>
                <a:gd name="T53" fmla="*/ 26 h 55"/>
                <a:gd name="T54" fmla="*/ 8 w 33"/>
                <a:gd name="T55" fmla="*/ 43 h 55"/>
                <a:gd name="T56" fmla="*/ 9 w 33"/>
                <a:gd name="T57" fmla="*/ 44 h 55"/>
                <a:gd name="T58" fmla="*/ 11 w 33"/>
                <a:gd name="T59" fmla="*/ 46 h 55"/>
                <a:gd name="T60" fmla="*/ 14 w 33"/>
                <a:gd name="T61" fmla="*/ 47 h 55"/>
                <a:gd name="T62" fmla="*/ 17 w 33"/>
                <a:gd name="T63" fmla="*/ 48 h 55"/>
                <a:gd name="T64" fmla="*/ 23 w 33"/>
                <a:gd name="T65" fmla="*/ 45 h 55"/>
                <a:gd name="T66" fmla="*/ 25 w 33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5">
                  <a:moveTo>
                    <a:pt x="33" y="35"/>
                  </a:moveTo>
                  <a:cubicBezTo>
                    <a:pt x="33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7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6" y="55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8"/>
                    <a:pt x="10" y="17"/>
                  </a:cubicBezTo>
                  <a:cubicBezTo>
                    <a:pt x="11" y="17"/>
                    <a:pt x="11" y="16"/>
                    <a:pt x="12" y="16"/>
                  </a:cubicBezTo>
                  <a:cubicBezTo>
                    <a:pt x="13" y="16"/>
                    <a:pt x="13" y="15"/>
                    <a:pt x="14" y="15"/>
                  </a:cubicBezTo>
                  <a:cubicBezTo>
                    <a:pt x="15" y="15"/>
                    <a:pt x="16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30" y="21"/>
                    <a:pt x="31" y="23"/>
                    <a:pt x="31" y="26"/>
                  </a:cubicBezTo>
                  <a:cubicBezTo>
                    <a:pt x="32" y="28"/>
                    <a:pt x="33" y="32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5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1" y="23"/>
                    <a:pt x="10" y="24"/>
                    <a:pt x="9" y="25"/>
                  </a:cubicBezTo>
                  <a:cubicBezTo>
                    <a:pt x="9" y="25"/>
                    <a:pt x="8" y="26"/>
                    <a:pt x="8" y="26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8" y="43"/>
                    <a:pt x="9" y="44"/>
                    <a:pt x="9" y="44"/>
                  </a:cubicBezTo>
                  <a:cubicBezTo>
                    <a:pt x="10" y="45"/>
                    <a:pt x="11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6" y="48"/>
                    <a:pt x="17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94" name="Freeform 12">
              <a:extLst>
                <a:ext uri="{FF2B5EF4-FFF2-40B4-BE49-F238E27FC236}">
                  <a16:creationId xmlns:a16="http://schemas.microsoft.com/office/drawing/2014/main" id="{41BE51DE-402B-48B5-99C8-D8BB9A32DF3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95" name="Freeform 13">
              <a:extLst>
                <a:ext uri="{FF2B5EF4-FFF2-40B4-BE49-F238E27FC236}">
                  <a16:creationId xmlns:a16="http://schemas.microsoft.com/office/drawing/2014/main" id="{8D5E878B-8859-44FA-A69D-DCE630AAB0D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1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2" y="54"/>
                    <a:pt x="11" y="54"/>
                  </a:cubicBezTo>
                  <a:cubicBezTo>
                    <a:pt x="10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2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96" name="Freeform 14">
              <a:extLst>
                <a:ext uri="{FF2B5EF4-FFF2-40B4-BE49-F238E27FC236}">
                  <a16:creationId xmlns:a16="http://schemas.microsoft.com/office/drawing/2014/main" id="{08D55808-ECDC-4E9B-84ED-7301E9E716C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97" name="Freeform 15">
              <a:extLst>
                <a:ext uri="{FF2B5EF4-FFF2-40B4-BE49-F238E27FC236}">
                  <a16:creationId xmlns:a16="http://schemas.microsoft.com/office/drawing/2014/main" id="{3436B310-313E-4A53-A70D-CA0D0D97FE7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0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2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0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3" y="31"/>
                    <a:pt x="24" y="30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0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7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98" name="Freeform 16">
              <a:extLst>
                <a:ext uri="{FF2B5EF4-FFF2-40B4-BE49-F238E27FC236}">
                  <a16:creationId xmlns:a16="http://schemas.microsoft.com/office/drawing/2014/main" id="{F3CE55A9-AE55-4169-A58D-8171D9916EC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212575"/>
              <a:ext cx="55799" cy="99391"/>
            </a:xfrm>
            <a:custGeom>
              <a:avLst/>
              <a:gdLst>
                <a:gd name="T0" fmla="*/ 20 w 22"/>
                <a:gd name="T1" fmla="*/ 8 h 39"/>
                <a:gd name="T2" fmla="*/ 18 w 22"/>
                <a:gd name="T3" fmla="*/ 7 h 39"/>
                <a:gd name="T4" fmla="*/ 15 w 22"/>
                <a:gd name="T5" fmla="*/ 7 h 39"/>
                <a:gd name="T6" fmla="*/ 9 w 22"/>
                <a:gd name="T7" fmla="*/ 9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0 h 39"/>
                <a:gd name="T16" fmla="*/ 7 w 22"/>
                <a:gd name="T17" fmla="*/ 0 h 39"/>
                <a:gd name="T18" fmla="*/ 7 w 22"/>
                <a:gd name="T19" fmla="*/ 4 h 39"/>
                <a:gd name="T20" fmla="*/ 9 w 22"/>
                <a:gd name="T21" fmla="*/ 2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0 h 39"/>
                <a:gd name="T30" fmla="*/ 22 w 22"/>
                <a:gd name="T31" fmla="*/ 1 h 39"/>
                <a:gd name="T32" fmla="*/ 20 w 22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2" y="7"/>
                    <a:pt x="10" y="8"/>
                    <a:pt x="9" y="9"/>
                  </a:cubicBezTo>
                  <a:cubicBezTo>
                    <a:pt x="8" y="11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9" y="2"/>
                    <a:pt x="10" y="1"/>
                    <a:pt x="11" y="1"/>
                  </a:cubicBezTo>
                  <a:cubicBezTo>
                    <a:pt x="11" y="0"/>
                    <a:pt x="12" y="0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0"/>
                  </a:cubicBezTo>
                  <a:cubicBezTo>
                    <a:pt x="21" y="0"/>
                    <a:pt x="22" y="1"/>
                    <a:pt x="22" y="1"/>
                  </a:cubicBezTo>
                  <a:lnTo>
                    <a:pt x="20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99" name="Freeform 17">
              <a:extLst>
                <a:ext uri="{FF2B5EF4-FFF2-40B4-BE49-F238E27FC236}">
                  <a16:creationId xmlns:a16="http://schemas.microsoft.com/office/drawing/2014/main" id="{FA01BC48-4605-46FC-A7AC-192C7DBCA0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00" name="Freeform 18">
              <a:extLst>
                <a:ext uri="{FF2B5EF4-FFF2-40B4-BE49-F238E27FC236}">
                  <a16:creationId xmlns:a16="http://schemas.microsoft.com/office/drawing/2014/main" id="{870190F3-472B-4296-B88D-D6904B9F30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2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8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9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01" name="Freeform 19">
              <a:extLst>
                <a:ext uri="{FF2B5EF4-FFF2-40B4-BE49-F238E27FC236}">
                  <a16:creationId xmlns:a16="http://schemas.microsoft.com/office/drawing/2014/main" id="{6CEA0F2B-4AAB-4A16-B7F1-CFCB0C0DCEE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02" name="Freeform 20">
              <a:extLst>
                <a:ext uri="{FF2B5EF4-FFF2-40B4-BE49-F238E27FC236}">
                  <a16:creationId xmlns:a16="http://schemas.microsoft.com/office/drawing/2014/main" id="{CD64F657-7EE7-4AF2-ADE4-160C87E64D6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30922" y="6212575"/>
              <a:ext cx="80211" cy="134265"/>
            </a:xfrm>
            <a:custGeom>
              <a:avLst/>
              <a:gdLst>
                <a:gd name="T0" fmla="*/ 25 w 32"/>
                <a:gd name="T1" fmla="*/ 53 h 53"/>
                <a:gd name="T2" fmla="*/ 25 w 32"/>
                <a:gd name="T3" fmla="*/ 35 h 53"/>
                <a:gd name="T4" fmla="*/ 20 w 32"/>
                <a:gd name="T5" fmla="*/ 38 h 53"/>
                <a:gd name="T6" fmla="*/ 15 w 32"/>
                <a:gd name="T7" fmla="*/ 40 h 53"/>
                <a:gd name="T8" fmla="*/ 9 w 32"/>
                <a:gd name="T9" fmla="*/ 38 h 53"/>
                <a:gd name="T10" fmla="*/ 4 w 32"/>
                <a:gd name="T11" fmla="*/ 35 h 53"/>
                <a:gd name="T12" fmla="*/ 1 w 32"/>
                <a:gd name="T13" fmla="*/ 28 h 53"/>
                <a:gd name="T14" fmla="*/ 0 w 32"/>
                <a:gd name="T15" fmla="*/ 19 h 53"/>
                <a:gd name="T16" fmla="*/ 1 w 32"/>
                <a:gd name="T17" fmla="*/ 10 h 53"/>
                <a:gd name="T18" fmla="*/ 4 w 32"/>
                <a:gd name="T19" fmla="*/ 4 h 53"/>
                <a:gd name="T20" fmla="*/ 9 w 32"/>
                <a:gd name="T21" fmla="*/ 1 h 53"/>
                <a:gd name="T22" fmla="*/ 15 w 32"/>
                <a:gd name="T23" fmla="*/ 0 h 53"/>
                <a:gd name="T24" fmla="*/ 18 w 32"/>
                <a:gd name="T25" fmla="*/ 0 h 53"/>
                <a:gd name="T26" fmla="*/ 20 w 32"/>
                <a:gd name="T27" fmla="*/ 1 h 53"/>
                <a:gd name="T28" fmla="*/ 23 w 32"/>
                <a:gd name="T29" fmla="*/ 2 h 53"/>
                <a:gd name="T30" fmla="*/ 25 w 32"/>
                <a:gd name="T31" fmla="*/ 4 h 53"/>
                <a:gd name="T32" fmla="*/ 25 w 32"/>
                <a:gd name="T33" fmla="*/ 0 h 53"/>
                <a:gd name="T34" fmla="*/ 32 w 32"/>
                <a:gd name="T35" fmla="*/ 0 h 53"/>
                <a:gd name="T36" fmla="*/ 32 w 32"/>
                <a:gd name="T37" fmla="*/ 49 h 53"/>
                <a:gd name="T38" fmla="*/ 25 w 32"/>
                <a:gd name="T39" fmla="*/ 53 h 53"/>
                <a:gd name="T40" fmla="*/ 25 w 32"/>
                <a:gd name="T41" fmla="*/ 12 h 53"/>
                <a:gd name="T42" fmla="*/ 23 w 32"/>
                <a:gd name="T43" fmla="*/ 10 h 53"/>
                <a:gd name="T44" fmla="*/ 21 w 32"/>
                <a:gd name="T45" fmla="*/ 8 h 53"/>
                <a:gd name="T46" fmla="*/ 18 w 32"/>
                <a:gd name="T47" fmla="*/ 7 h 53"/>
                <a:gd name="T48" fmla="*/ 16 w 32"/>
                <a:gd name="T49" fmla="*/ 7 h 53"/>
                <a:gd name="T50" fmla="*/ 9 w 32"/>
                <a:gd name="T51" fmla="*/ 10 h 53"/>
                <a:gd name="T52" fmla="*/ 7 w 32"/>
                <a:gd name="T53" fmla="*/ 19 h 53"/>
                <a:gd name="T54" fmla="*/ 10 w 32"/>
                <a:gd name="T55" fmla="*/ 29 h 53"/>
                <a:gd name="T56" fmla="*/ 16 w 32"/>
                <a:gd name="T57" fmla="*/ 33 h 53"/>
                <a:gd name="T58" fmla="*/ 21 w 32"/>
                <a:gd name="T59" fmla="*/ 31 h 53"/>
                <a:gd name="T60" fmla="*/ 25 w 32"/>
                <a:gd name="T61" fmla="*/ 28 h 53"/>
                <a:gd name="T62" fmla="*/ 25 w 32"/>
                <a:gd name="T63" fmla="*/ 1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2" h="53">
                  <a:moveTo>
                    <a:pt x="25" y="53"/>
                  </a:moveTo>
                  <a:cubicBezTo>
                    <a:pt x="25" y="35"/>
                    <a:pt x="25" y="35"/>
                    <a:pt x="25" y="35"/>
                  </a:cubicBezTo>
                  <a:cubicBezTo>
                    <a:pt x="23" y="36"/>
                    <a:pt x="22" y="37"/>
                    <a:pt x="20" y="38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3" y="40"/>
                    <a:pt x="11" y="39"/>
                    <a:pt x="9" y="38"/>
                  </a:cubicBezTo>
                  <a:cubicBezTo>
                    <a:pt x="7" y="38"/>
                    <a:pt x="5" y="36"/>
                    <a:pt x="4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0" y="26"/>
                    <a:pt x="0" y="23"/>
                    <a:pt x="0" y="19"/>
                  </a:cubicBezTo>
                  <a:cubicBezTo>
                    <a:pt x="0" y="16"/>
                    <a:pt x="0" y="13"/>
                    <a:pt x="1" y="10"/>
                  </a:cubicBezTo>
                  <a:cubicBezTo>
                    <a:pt x="2" y="8"/>
                    <a:pt x="3" y="6"/>
                    <a:pt x="4" y="4"/>
                  </a:cubicBezTo>
                  <a:cubicBezTo>
                    <a:pt x="6" y="3"/>
                    <a:pt x="7" y="2"/>
                    <a:pt x="9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6" y="0"/>
                    <a:pt x="17" y="0"/>
                    <a:pt x="18" y="0"/>
                  </a:cubicBezTo>
                  <a:cubicBezTo>
                    <a:pt x="19" y="0"/>
                    <a:pt x="20" y="0"/>
                    <a:pt x="20" y="1"/>
                  </a:cubicBezTo>
                  <a:cubicBezTo>
                    <a:pt x="21" y="1"/>
                    <a:pt x="22" y="2"/>
                    <a:pt x="23" y="2"/>
                  </a:cubicBezTo>
                  <a:cubicBezTo>
                    <a:pt x="23" y="3"/>
                    <a:pt x="24" y="3"/>
                    <a:pt x="25" y="4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49"/>
                    <a:pt x="32" y="49"/>
                    <a:pt x="32" y="49"/>
                  </a:cubicBezTo>
                  <a:lnTo>
                    <a:pt x="25" y="53"/>
                  </a:lnTo>
                  <a:close/>
                  <a:moveTo>
                    <a:pt x="25" y="12"/>
                  </a:moveTo>
                  <a:cubicBezTo>
                    <a:pt x="24" y="11"/>
                    <a:pt x="24" y="10"/>
                    <a:pt x="23" y="10"/>
                  </a:cubicBezTo>
                  <a:cubicBezTo>
                    <a:pt x="23" y="9"/>
                    <a:pt x="22" y="9"/>
                    <a:pt x="21" y="8"/>
                  </a:cubicBezTo>
                  <a:cubicBezTo>
                    <a:pt x="20" y="8"/>
                    <a:pt x="19" y="7"/>
                    <a:pt x="18" y="7"/>
                  </a:cubicBezTo>
                  <a:cubicBezTo>
                    <a:pt x="18" y="7"/>
                    <a:pt x="17" y="7"/>
                    <a:pt x="16" y="7"/>
                  </a:cubicBezTo>
                  <a:cubicBezTo>
                    <a:pt x="13" y="7"/>
                    <a:pt x="11" y="8"/>
                    <a:pt x="9" y="10"/>
                  </a:cubicBezTo>
                  <a:cubicBezTo>
                    <a:pt x="8" y="12"/>
                    <a:pt x="7" y="15"/>
                    <a:pt x="7" y="19"/>
                  </a:cubicBezTo>
                  <a:cubicBezTo>
                    <a:pt x="7" y="23"/>
                    <a:pt x="8" y="27"/>
                    <a:pt x="10" y="29"/>
                  </a:cubicBezTo>
                  <a:cubicBezTo>
                    <a:pt x="11" y="31"/>
                    <a:pt x="13" y="33"/>
                    <a:pt x="16" y="33"/>
                  </a:cubicBezTo>
                  <a:cubicBezTo>
                    <a:pt x="18" y="33"/>
                    <a:pt x="19" y="32"/>
                    <a:pt x="21" y="31"/>
                  </a:cubicBezTo>
                  <a:cubicBezTo>
                    <a:pt x="22" y="30"/>
                    <a:pt x="24" y="29"/>
                    <a:pt x="25" y="28"/>
                  </a:cubicBezTo>
                  <a:lnTo>
                    <a:pt x="25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03" name="Freeform 21">
              <a:extLst>
                <a:ext uri="{FF2B5EF4-FFF2-40B4-BE49-F238E27FC236}">
                  <a16:creationId xmlns:a16="http://schemas.microsoft.com/office/drawing/2014/main" id="{FA80A690-9084-4519-8D88-A01963C0236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35545" y="6212575"/>
              <a:ext cx="78468" cy="101135"/>
            </a:xfrm>
            <a:custGeom>
              <a:avLst/>
              <a:gdLst>
                <a:gd name="T0" fmla="*/ 24 w 31"/>
                <a:gd name="T1" fmla="*/ 39 h 40"/>
                <a:gd name="T2" fmla="*/ 24 w 31"/>
                <a:gd name="T3" fmla="*/ 35 h 40"/>
                <a:gd name="T4" fmla="*/ 20 w 31"/>
                <a:gd name="T5" fmla="*/ 38 h 40"/>
                <a:gd name="T6" fmla="*/ 14 w 31"/>
                <a:gd name="T7" fmla="*/ 40 h 40"/>
                <a:gd name="T8" fmla="*/ 4 w 31"/>
                <a:gd name="T9" fmla="*/ 35 h 40"/>
                <a:gd name="T10" fmla="*/ 0 w 31"/>
                <a:gd name="T11" fmla="*/ 22 h 40"/>
                <a:gd name="T12" fmla="*/ 0 w 31"/>
                <a:gd name="T13" fmla="*/ 0 h 40"/>
                <a:gd name="T14" fmla="*/ 8 w 31"/>
                <a:gd name="T15" fmla="*/ 0 h 40"/>
                <a:gd name="T16" fmla="*/ 8 w 31"/>
                <a:gd name="T17" fmla="*/ 22 h 40"/>
                <a:gd name="T18" fmla="*/ 10 w 31"/>
                <a:gd name="T19" fmla="*/ 30 h 40"/>
                <a:gd name="T20" fmla="*/ 16 w 31"/>
                <a:gd name="T21" fmla="*/ 33 h 40"/>
                <a:gd name="T22" fmla="*/ 22 w 31"/>
                <a:gd name="T23" fmla="*/ 30 h 40"/>
                <a:gd name="T24" fmla="*/ 24 w 31"/>
                <a:gd name="T25" fmla="*/ 23 h 40"/>
                <a:gd name="T26" fmla="*/ 24 w 31"/>
                <a:gd name="T27" fmla="*/ 0 h 40"/>
                <a:gd name="T28" fmla="*/ 31 w 31"/>
                <a:gd name="T29" fmla="*/ 0 h 40"/>
                <a:gd name="T30" fmla="*/ 31 w 31"/>
                <a:gd name="T31" fmla="*/ 39 h 40"/>
                <a:gd name="T32" fmla="*/ 24 w 31"/>
                <a:gd name="T33" fmla="*/ 39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1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2" y="38"/>
                    <a:pt x="20" y="38"/>
                  </a:cubicBezTo>
                  <a:cubicBezTo>
                    <a:pt x="18" y="39"/>
                    <a:pt x="16" y="40"/>
                    <a:pt x="14" y="40"/>
                  </a:cubicBezTo>
                  <a:cubicBezTo>
                    <a:pt x="10" y="40"/>
                    <a:pt x="6" y="38"/>
                    <a:pt x="4" y="35"/>
                  </a:cubicBezTo>
                  <a:cubicBezTo>
                    <a:pt x="2" y="32"/>
                    <a:pt x="0" y="28"/>
                    <a:pt x="0" y="2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6"/>
                    <a:pt x="9" y="28"/>
                    <a:pt x="10" y="30"/>
                  </a:cubicBezTo>
                  <a:cubicBezTo>
                    <a:pt x="11" y="32"/>
                    <a:pt x="13" y="33"/>
                    <a:pt x="16" y="33"/>
                  </a:cubicBezTo>
                  <a:cubicBezTo>
                    <a:pt x="18" y="33"/>
                    <a:pt x="20" y="32"/>
                    <a:pt x="22" y="30"/>
                  </a:cubicBezTo>
                  <a:cubicBezTo>
                    <a:pt x="23" y="28"/>
                    <a:pt x="24" y="26"/>
                    <a:pt x="24" y="23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4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04" name="Freeform 22">
              <a:extLst>
                <a:ext uri="{FF2B5EF4-FFF2-40B4-BE49-F238E27FC236}">
                  <a16:creationId xmlns:a16="http://schemas.microsoft.com/office/drawing/2014/main" id="{E847401D-2482-482A-AC12-D2E83C13546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93493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1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2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05" name="Freeform 23">
              <a:extLst>
                <a:ext uri="{FF2B5EF4-FFF2-40B4-BE49-F238E27FC236}">
                  <a16:creationId xmlns:a16="http://schemas.microsoft.com/office/drawing/2014/main" id="{86054F72-4509-4465-B9A8-8DAE3EFD35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30841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1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4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7 w 29"/>
                <a:gd name="T55" fmla="*/ 24 h 40"/>
                <a:gd name="T56" fmla="*/ 13 w 29"/>
                <a:gd name="T57" fmla="*/ 22 h 40"/>
                <a:gd name="T58" fmla="*/ 8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2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3" y="6"/>
                    <a:pt x="11" y="7"/>
                    <a:pt x="10" y="7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1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9" y="25"/>
                    <a:pt x="18" y="24"/>
                    <a:pt x="17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8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3" y="15"/>
                    <a:pt x="2" y="14"/>
                  </a:cubicBezTo>
                  <a:cubicBezTo>
                    <a:pt x="2" y="13"/>
                    <a:pt x="2" y="12"/>
                    <a:pt x="2" y="10"/>
                  </a:cubicBezTo>
                  <a:cubicBezTo>
                    <a:pt x="2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06" name="Freeform 24">
              <a:extLst>
                <a:ext uri="{FF2B5EF4-FFF2-40B4-BE49-F238E27FC236}">
                  <a16:creationId xmlns:a16="http://schemas.microsoft.com/office/drawing/2014/main" id="{813850E4-4B62-4FDA-ABD6-F5A5AA5E7C2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1802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07" name="Freeform 25">
              <a:extLst>
                <a:ext uri="{FF2B5EF4-FFF2-40B4-BE49-F238E27FC236}">
                  <a16:creationId xmlns:a16="http://schemas.microsoft.com/office/drawing/2014/main" id="{1B4F0124-2FAE-4D54-9ECC-E88A8031BBD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194750" y="6175958"/>
              <a:ext cx="24412" cy="136010"/>
            </a:xfrm>
            <a:custGeom>
              <a:avLst/>
              <a:gdLst>
                <a:gd name="T0" fmla="*/ 10 w 10"/>
                <a:gd name="T1" fmla="*/ 5 h 53"/>
                <a:gd name="T2" fmla="*/ 9 w 10"/>
                <a:gd name="T3" fmla="*/ 6 h 53"/>
                <a:gd name="T4" fmla="*/ 8 w 10"/>
                <a:gd name="T5" fmla="*/ 8 h 53"/>
                <a:gd name="T6" fmla="*/ 7 w 10"/>
                <a:gd name="T7" fmla="*/ 9 h 53"/>
                <a:gd name="T8" fmla="*/ 5 w 10"/>
                <a:gd name="T9" fmla="*/ 9 h 53"/>
                <a:gd name="T10" fmla="*/ 3 w 10"/>
                <a:gd name="T11" fmla="*/ 9 h 53"/>
                <a:gd name="T12" fmla="*/ 1 w 10"/>
                <a:gd name="T13" fmla="*/ 8 h 53"/>
                <a:gd name="T14" fmla="*/ 0 w 10"/>
                <a:gd name="T15" fmla="*/ 6 h 53"/>
                <a:gd name="T16" fmla="*/ 0 w 10"/>
                <a:gd name="T17" fmla="*/ 5 h 53"/>
                <a:gd name="T18" fmla="*/ 0 w 10"/>
                <a:gd name="T19" fmla="*/ 3 h 53"/>
                <a:gd name="T20" fmla="*/ 1 w 10"/>
                <a:gd name="T21" fmla="*/ 1 h 53"/>
                <a:gd name="T22" fmla="*/ 3 w 10"/>
                <a:gd name="T23" fmla="*/ 0 h 53"/>
                <a:gd name="T24" fmla="*/ 5 w 10"/>
                <a:gd name="T25" fmla="*/ 0 h 53"/>
                <a:gd name="T26" fmla="*/ 7 w 10"/>
                <a:gd name="T27" fmla="*/ 0 h 53"/>
                <a:gd name="T28" fmla="*/ 8 w 10"/>
                <a:gd name="T29" fmla="*/ 1 h 53"/>
                <a:gd name="T30" fmla="*/ 9 w 10"/>
                <a:gd name="T31" fmla="*/ 3 h 53"/>
                <a:gd name="T32" fmla="*/ 10 w 10"/>
                <a:gd name="T33" fmla="*/ 5 h 53"/>
                <a:gd name="T34" fmla="*/ 1 w 10"/>
                <a:gd name="T35" fmla="*/ 53 h 53"/>
                <a:gd name="T36" fmla="*/ 1 w 10"/>
                <a:gd name="T37" fmla="*/ 14 h 53"/>
                <a:gd name="T38" fmla="*/ 9 w 10"/>
                <a:gd name="T39" fmla="*/ 14 h 53"/>
                <a:gd name="T40" fmla="*/ 9 w 10"/>
                <a:gd name="T41" fmla="*/ 53 h 53"/>
                <a:gd name="T42" fmla="*/ 1 w 10"/>
                <a:gd name="T43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" h="53">
                  <a:moveTo>
                    <a:pt x="10" y="5"/>
                  </a:moveTo>
                  <a:cubicBezTo>
                    <a:pt x="10" y="5"/>
                    <a:pt x="10" y="6"/>
                    <a:pt x="9" y="6"/>
                  </a:cubicBezTo>
                  <a:cubicBezTo>
                    <a:pt x="9" y="7"/>
                    <a:pt x="9" y="8"/>
                    <a:pt x="8" y="8"/>
                  </a:cubicBezTo>
                  <a:cubicBezTo>
                    <a:pt x="8" y="8"/>
                    <a:pt x="7" y="9"/>
                    <a:pt x="7" y="9"/>
                  </a:cubicBezTo>
                  <a:cubicBezTo>
                    <a:pt x="6" y="9"/>
                    <a:pt x="6" y="9"/>
                    <a:pt x="5" y="9"/>
                  </a:cubicBezTo>
                  <a:cubicBezTo>
                    <a:pt x="4" y="9"/>
                    <a:pt x="4" y="9"/>
                    <a:pt x="3" y="9"/>
                  </a:cubicBezTo>
                  <a:cubicBezTo>
                    <a:pt x="2" y="9"/>
                    <a:pt x="2" y="8"/>
                    <a:pt x="1" y="8"/>
                  </a:cubicBezTo>
                  <a:cubicBezTo>
                    <a:pt x="1" y="8"/>
                    <a:pt x="1" y="7"/>
                    <a:pt x="0" y="6"/>
                  </a:cubicBezTo>
                  <a:cubicBezTo>
                    <a:pt x="0" y="6"/>
                    <a:pt x="0" y="5"/>
                    <a:pt x="0" y="5"/>
                  </a:cubicBezTo>
                  <a:cubicBezTo>
                    <a:pt x="0" y="4"/>
                    <a:pt x="0" y="3"/>
                    <a:pt x="0" y="3"/>
                  </a:cubicBezTo>
                  <a:cubicBezTo>
                    <a:pt x="1" y="2"/>
                    <a:pt x="1" y="2"/>
                    <a:pt x="1" y="1"/>
                  </a:cubicBezTo>
                  <a:cubicBezTo>
                    <a:pt x="2" y="1"/>
                    <a:pt x="2" y="0"/>
                    <a:pt x="3" y="0"/>
                  </a:cubicBezTo>
                  <a:cubicBezTo>
                    <a:pt x="4" y="0"/>
                    <a:pt x="4" y="0"/>
                    <a:pt x="5" y="0"/>
                  </a:cubicBezTo>
                  <a:cubicBezTo>
                    <a:pt x="6" y="0"/>
                    <a:pt x="6" y="0"/>
                    <a:pt x="7" y="0"/>
                  </a:cubicBezTo>
                  <a:cubicBezTo>
                    <a:pt x="7" y="0"/>
                    <a:pt x="8" y="1"/>
                    <a:pt x="8" y="1"/>
                  </a:cubicBezTo>
                  <a:cubicBezTo>
                    <a:pt x="9" y="2"/>
                    <a:pt x="9" y="2"/>
                    <a:pt x="9" y="3"/>
                  </a:cubicBezTo>
                  <a:cubicBezTo>
                    <a:pt x="10" y="3"/>
                    <a:pt x="10" y="4"/>
                    <a:pt x="10" y="5"/>
                  </a:cubicBezTo>
                  <a:close/>
                  <a:moveTo>
                    <a:pt x="1" y="53"/>
                  </a:moveTo>
                  <a:cubicBezTo>
                    <a:pt x="1" y="14"/>
                    <a:pt x="1" y="14"/>
                    <a:pt x="1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53"/>
                    <a:pt x="9" y="53"/>
                    <a:pt x="9" y="53"/>
                  </a:cubicBezTo>
                  <a:lnTo>
                    <a:pt x="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08" name="Freeform 26">
              <a:extLst>
                <a:ext uri="{FF2B5EF4-FFF2-40B4-BE49-F238E27FC236}">
                  <a16:creationId xmlns:a16="http://schemas.microsoft.com/office/drawing/2014/main" id="{2A730E5F-DF9C-488E-B4E0-EE9F501529E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236599" y="6212575"/>
              <a:ext cx="87186" cy="101135"/>
            </a:xfrm>
            <a:custGeom>
              <a:avLst/>
              <a:gdLst>
                <a:gd name="T0" fmla="*/ 34 w 34"/>
                <a:gd name="T1" fmla="*/ 19 h 40"/>
                <a:gd name="T2" fmla="*/ 33 w 34"/>
                <a:gd name="T3" fmla="*/ 28 h 40"/>
                <a:gd name="T4" fmla="*/ 29 w 34"/>
                <a:gd name="T5" fmla="*/ 34 h 40"/>
                <a:gd name="T6" fmla="*/ 24 w 34"/>
                <a:gd name="T7" fmla="*/ 38 h 40"/>
                <a:gd name="T8" fmla="*/ 17 w 34"/>
                <a:gd name="T9" fmla="*/ 40 h 40"/>
                <a:gd name="T10" fmla="*/ 10 w 34"/>
                <a:gd name="T11" fmla="*/ 38 h 40"/>
                <a:gd name="T12" fmla="*/ 5 w 34"/>
                <a:gd name="T13" fmla="*/ 34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1 h 40"/>
                <a:gd name="T20" fmla="*/ 5 w 34"/>
                <a:gd name="T21" fmla="*/ 5 h 40"/>
                <a:gd name="T22" fmla="*/ 10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1 h 40"/>
                <a:gd name="T32" fmla="*/ 34 w 34"/>
                <a:gd name="T33" fmla="*/ 19 h 40"/>
                <a:gd name="T34" fmla="*/ 26 w 34"/>
                <a:gd name="T35" fmla="*/ 20 h 40"/>
                <a:gd name="T36" fmla="*/ 26 w 34"/>
                <a:gd name="T37" fmla="*/ 14 h 40"/>
                <a:gd name="T38" fmla="*/ 24 w 34"/>
                <a:gd name="T39" fmla="*/ 10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0 h 40"/>
                <a:gd name="T48" fmla="*/ 8 w 34"/>
                <a:gd name="T49" fmla="*/ 14 h 40"/>
                <a:gd name="T50" fmla="*/ 7 w 34"/>
                <a:gd name="T51" fmla="*/ 19 h 40"/>
                <a:gd name="T52" fmla="*/ 8 w 34"/>
                <a:gd name="T53" fmla="*/ 25 h 40"/>
                <a:gd name="T54" fmla="*/ 10 w 34"/>
                <a:gd name="T55" fmla="*/ 29 h 40"/>
                <a:gd name="T56" fmla="*/ 13 w 34"/>
                <a:gd name="T57" fmla="*/ 32 h 40"/>
                <a:gd name="T58" fmla="*/ 17 w 34"/>
                <a:gd name="T59" fmla="*/ 32 h 40"/>
                <a:gd name="T60" fmla="*/ 21 w 34"/>
                <a:gd name="T61" fmla="*/ 31 h 40"/>
                <a:gd name="T62" fmla="*/ 24 w 34"/>
                <a:gd name="T63" fmla="*/ 29 h 40"/>
                <a:gd name="T64" fmla="*/ 26 w 34"/>
                <a:gd name="T65" fmla="*/ 25 h 40"/>
                <a:gd name="T66" fmla="*/ 26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19"/>
                  </a:moveTo>
                  <a:cubicBezTo>
                    <a:pt x="34" y="23"/>
                    <a:pt x="34" y="25"/>
                    <a:pt x="33" y="28"/>
                  </a:cubicBezTo>
                  <a:cubicBezTo>
                    <a:pt x="32" y="30"/>
                    <a:pt x="31" y="33"/>
                    <a:pt x="29" y="34"/>
                  </a:cubicBezTo>
                  <a:cubicBezTo>
                    <a:pt x="28" y="36"/>
                    <a:pt x="26" y="37"/>
                    <a:pt x="24" y="38"/>
                  </a:cubicBezTo>
                  <a:cubicBezTo>
                    <a:pt x="21" y="39"/>
                    <a:pt x="19" y="40"/>
                    <a:pt x="17" y="40"/>
                  </a:cubicBezTo>
                  <a:cubicBezTo>
                    <a:pt x="14" y="40"/>
                    <a:pt x="12" y="39"/>
                    <a:pt x="10" y="38"/>
                  </a:cubicBezTo>
                  <a:cubicBezTo>
                    <a:pt x="8" y="37"/>
                    <a:pt x="6" y="36"/>
                    <a:pt x="5" y="34"/>
                  </a:cubicBezTo>
                  <a:cubicBezTo>
                    <a:pt x="3" y="32"/>
                    <a:pt x="2" y="30"/>
                    <a:pt x="1" y="28"/>
                  </a:cubicBezTo>
                  <a:cubicBezTo>
                    <a:pt x="0" y="25"/>
                    <a:pt x="0" y="23"/>
                    <a:pt x="0" y="20"/>
                  </a:cubicBezTo>
                  <a:cubicBezTo>
                    <a:pt x="0" y="16"/>
                    <a:pt x="0" y="14"/>
                    <a:pt x="1" y="11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8" y="3"/>
                    <a:pt x="29" y="5"/>
                  </a:cubicBezTo>
                  <a:cubicBezTo>
                    <a:pt x="31" y="7"/>
                    <a:pt x="32" y="9"/>
                    <a:pt x="33" y="11"/>
                  </a:cubicBezTo>
                  <a:cubicBezTo>
                    <a:pt x="34" y="14"/>
                    <a:pt x="34" y="16"/>
                    <a:pt x="34" y="19"/>
                  </a:cubicBezTo>
                  <a:close/>
                  <a:moveTo>
                    <a:pt x="26" y="20"/>
                  </a:moveTo>
                  <a:cubicBezTo>
                    <a:pt x="26" y="18"/>
                    <a:pt x="26" y="16"/>
                    <a:pt x="26" y="14"/>
                  </a:cubicBezTo>
                  <a:cubicBezTo>
                    <a:pt x="25" y="13"/>
                    <a:pt x="25" y="11"/>
                    <a:pt x="24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19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11"/>
                    <a:pt x="8" y="13"/>
                    <a:pt x="8" y="14"/>
                  </a:cubicBezTo>
                  <a:cubicBezTo>
                    <a:pt x="8" y="16"/>
                    <a:pt x="7" y="17"/>
                    <a:pt x="7" y="19"/>
                  </a:cubicBezTo>
                  <a:cubicBezTo>
                    <a:pt x="7" y="21"/>
                    <a:pt x="8" y="23"/>
                    <a:pt x="8" y="25"/>
                  </a:cubicBezTo>
                  <a:cubicBezTo>
                    <a:pt x="9" y="27"/>
                    <a:pt x="9" y="28"/>
                    <a:pt x="10" y="29"/>
                  </a:cubicBezTo>
                  <a:cubicBezTo>
                    <a:pt x="11" y="30"/>
                    <a:pt x="12" y="31"/>
                    <a:pt x="13" y="32"/>
                  </a:cubicBezTo>
                  <a:cubicBezTo>
                    <a:pt x="14" y="32"/>
                    <a:pt x="16" y="32"/>
                    <a:pt x="17" y="32"/>
                  </a:cubicBezTo>
                  <a:cubicBezTo>
                    <a:pt x="18" y="32"/>
                    <a:pt x="20" y="32"/>
                    <a:pt x="21" y="31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7"/>
                    <a:pt x="25" y="26"/>
                    <a:pt x="26" y="25"/>
                  </a:cubicBezTo>
                  <a:cubicBezTo>
                    <a:pt x="26" y="23"/>
                    <a:pt x="26" y="21"/>
                    <a:pt x="26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09" name="Freeform 27">
              <a:extLst>
                <a:ext uri="{FF2B5EF4-FFF2-40B4-BE49-F238E27FC236}">
                  <a16:creationId xmlns:a16="http://schemas.microsoft.com/office/drawing/2014/main" id="{39861D7E-D8DA-436F-9E2F-5C08A8BFB4D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44710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1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9 w 31"/>
                <a:gd name="T11" fmla="*/ 9 h 39"/>
                <a:gd name="T12" fmla="*/ 8 w 31"/>
                <a:gd name="T13" fmla="*/ 12 h 39"/>
                <a:gd name="T14" fmla="*/ 7 w 31"/>
                <a:gd name="T15" fmla="*/ 16 h 39"/>
                <a:gd name="T16" fmla="*/ 7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7 w 31"/>
                <a:gd name="T23" fmla="*/ 0 h 39"/>
                <a:gd name="T24" fmla="*/ 7 w 31"/>
                <a:gd name="T25" fmla="*/ 4 h 39"/>
                <a:gd name="T26" fmla="*/ 9 w 31"/>
                <a:gd name="T27" fmla="*/ 2 h 39"/>
                <a:gd name="T28" fmla="*/ 11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7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1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9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7" y="15"/>
                    <a:pt x="7" y="16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9" y="0"/>
                    <a:pt x="21" y="0"/>
                    <a:pt x="23" y="1"/>
                  </a:cubicBezTo>
                  <a:cubicBezTo>
                    <a:pt x="25" y="1"/>
                    <a:pt x="26" y="2"/>
                    <a:pt x="27" y="4"/>
                  </a:cubicBezTo>
                  <a:cubicBezTo>
                    <a:pt x="28" y="5"/>
                    <a:pt x="29" y="7"/>
                    <a:pt x="30" y="9"/>
                  </a:cubicBezTo>
                  <a:cubicBezTo>
                    <a:pt x="30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10" name="Freeform 28">
              <a:extLst>
                <a:ext uri="{FF2B5EF4-FFF2-40B4-BE49-F238E27FC236}">
                  <a16:creationId xmlns:a16="http://schemas.microsoft.com/office/drawing/2014/main" id="{8B038F9F-6A9C-4E57-A659-0090AF47059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45845" y="6284068"/>
              <a:ext cx="31387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4 w 12"/>
                <a:gd name="T11" fmla="*/ 11 h 12"/>
                <a:gd name="T12" fmla="*/ 2 w 12"/>
                <a:gd name="T13" fmla="*/ 10 h 12"/>
                <a:gd name="T14" fmla="*/ 1 w 12"/>
                <a:gd name="T15" fmla="*/ 8 h 12"/>
                <a:gd name="T16" fmla="*/ 0 w 12"/>
                <a:gd name="T17" fmla="*/ 6 h 12"/>
                <a:gd name="T18" fmla="*/ 1 w 12"/>
                <a:gd name="T19" fmla="*/ 4 h 12"/>
                <a:gd name="T20" fmla="*/ 2 w 12"/>
                <a:gd name="T21" fmla="*/ 2 h 12"/>
                <a:gd name="T22" fmla="*/ 4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4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1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1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4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11" name="Freeform 29">
              <a:extLst>
                <a:ext uri="{FF2B5EF4-FFF2-40B4-BE49-F238E27FC236}">
                  <a16:creationId xmlns:a16="http://schemas.microsoft.com/office/drawing/2014/main" id="{15E4EB7D-754D-4053-9A23-596C7CFDA98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0006" y="6181188"/>
              <a:ext cx="97648" cy="130778"/>
            </a:xfrm>
            <a:custGeom>
              <a:avLst/>
              <a:gdLst>
                <a:gd name="T0" fmla="*/ 34 w 56"/>
                <a:gd name="T1" fmla="*/ 11 h 75"/>
                <a:gd name="T2" fmla="*/ 34 w 56"/>
                <a:gd name="T3" fmla="*/ 75 h 75"/>
                <a:gd name="T4" fmla="*/ 22 w 56"/>
                <a:gd name="T5" fmla="*/ 75 h 75"/>
                <a:gd name="T6" fmla="*/ 22 w 56"/>
                <a:gd name="T7" fmla="*/ 11 h 75"/>
                <a:gd name="T8" fmla="*/ 0 w 56"/>
                <a:gd name="T9" fmla="*/ 11 h 75"/>
                <a:gd name="T10" fmla="*/ 0 w 56"/>
                <a:gd name="T11" fmla="*/ 0 h 75"/>
                <a:gd name="T12" fmla="*/ 56 w 56"/>
                <a:gd name="T13" fmla="*/ 0 h 75"/>
                <a:gd name="T14" fmla="*/ 56 w 56"/>
                <a:gd name="T15" fmla="*/ 11 h 75"/>
                <a:gd name="T16" fmla="*/ 34 w 56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6" h="75">
                  <a:moveTo>
                    <a:pt x="34" y="11"/>
                  </a:moveTo>
                  <a:lnTo>
                    <a:pt x="34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6" y="0"/>
                  </a:lnTo>
                  <a:lnTo>
                    <a:pt x="56" y="11"/>
                  </a:lnTo>
                  <a:lnTo>
                    <a:pt x="34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12" name="Freeform 30">
              <a:extLst>
                <a:ext uri="{FF2B5EF4-FFF2-40B4-BE49-F238E27FC236}">
                  <a16:creationId xmlns:a16="http://schemas.microsoft.com/office/drawing/2014/main" id="{28E147CB-2B8F-497B-B00B-C25E679DC5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51603" y="6174213"/>
              <a:ext cx="80211" cy="137753"/>
            </a:xfrm>
            <a:custGeom>
              <a:avLst/>
              <a:gdLst>
                <a:gd name="T0" fmla="*/ 24 w 31"/>
                <a:gd name="T1" fmla="*/ 54 h 54"/>
                <a:gd name="T2" fmla="*/ 24 w 31"/>
                <a:gd name="T3" fmla="*/ 32 h 54"/>
                <a:gd name="T4" fmla="*/ 22 w 31"/>
                <a:gd name="T5" fmla="*/ 24 h 54"/>
                <a:gd name="T6" fmla="*/ 16 w 31"/>
                <a:gd name="T7" fmla="*/ 22 h 54"/>
                <a:gd name="T8" fmla="*/ 13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8 w 31"/>
                <a:gd name="T15" fmla="*/ 31 h 54"/>
                <a:gd name="T16" fmla="*/ 8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8 w 31"/>
                <a:gd name="T23" fmla="*/ 0 h 54"/>
                <a:gd name="T24" fmla="*/ 8 w 31"/>
                <a:gd name="T25" fmla="*/ 19 h 54"/>
                <a:gd name="T26" fmla="*/ 10 w 31"/>
                <a:gd name="T27" fmla="*/ 17 h 54"/>
                <a:gd name="T28" fmla="*/ 12 w 31"/>
                <a:gd name="T29" fmla="*/ 16 h 54"/>
                <a:gd name="T30" fmla="*/ 15 w 31"/>
                <a:gd name="T31" fmla="*/ 15 h 54"/>
                <a:gd name="T32" fmla="*/ 18 w 31"/>
                <a:gd name="T33" fmla="*/ 15 h 54"/>
                <a:gd name="T34" fmla="*/ 24 w 31"/>
                <a:gd name="T35" fmla="*/ 16 h 54"/>
                <a:gd name="T36" fmla="*/ 28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4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4" y="54"/>
                  </a:moveTo>
                  <a:cubicBezTo>
                    <a:pt x="24" y="32"/>
                    <a:pt x="24" y="32"/>
                    <a:pt x="24" y="32"/>
                  </a:cubicBezTo>
                  <a:cubicBezTo>
                    <a:pt x="24" y="28"/>
                    <a:pt x="23" y="26"/>
                    <a:pt x="22" y="24"/>
                  </a:cubicBezTo>
                  <a:cubicBezTo>
                    <a:pt x="21" y="22"/>
                    <a:pt x="19" y="22"/>
                    <a:pt x="16" y="22"/>
                  </a:cubicBezTo>
                  <a:cubicBezTo>
                    <a:pt x="15" y="22"/>
                    <a:pt x="14" y="22"/>
                    <a:pt x="13" y="22"/>
                  </a:cubicBezTo>
                  <a:cubicBezTo>
                    <a:pt x="12" y="22"/>
                    <a:pt x="11" y="23"/>
                    <a:pt x="10" y="24"/>
                  </a:cubicBezTo>
                  <a:cubicBezTo>
                    <a:pt x="9" y="25"/>
                    <a:pt x="9" y="26"/>
                    <a:pt x="8" y="27"/>
                  </a:cubicBezTo>
                  <a:cubicBezTo>
                    <a:pt x="8" y="28"/>
                    <a:pt x="8" y="30"/>
                    <a:pt x="8" y="31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3" y="15"/>
                    <a:pt x="14" y="15"/>
                    <a:pt x="15" y="15"/>
                  </a:cubicBezTo>
                  <a:cubicBezTo>
                    <a:pt x="16" y="15"/>
                    <a:pt x="17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29" y="20"/>
                    <a:pt x="30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4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13" name="Freeform 31">
              <a:extLst>
                <a:ext uri="{FF2B5EF4-FFF2-40B4-BE49-F238E27FC236}">
                  <a16:creationId xmlns:a16="http://schemas.microsoft.com/office/drawing/2014/main" id="{E68BC676-C787-429D-B59B-1A5CE062F78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50996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1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14" name="Freeform 32">
              <a:extLst>
                <a:ext uri="{FF2B5EF4-FFF2-40B4-BE49-F238E27FC236}">
                  <a16:creationId xmlns:a16="http://schemas.microsoft.com/office/drawing/2014/main" id="{71266960-73CB-44B9-9A97-81085898914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02698" y="6174213"/>
              <a:ext cx="80211" cy="139497"/>
            </a:xfrm>
            <a:custGeom>
              <a:avLst/>
              <a:gdLst>
                <a:gd name="T0" fmla="*/ 32 w 32"/>
                <a:gd name="T1" fmla="*/ 35 h 55"/>
                <a:gd name="T2" fmla="*/ 31 w 32"/>
                <a:gd name="T3" fmla="*/ 44 h 55"/>
                <a:gd name="T4" fmla="*/ 28 w 32"/>
                <a:gd name="T5" fmla="*/ 50 h 55"/>
                <a:gd name="T6" fmla="*/ 23 w 32"/>
                <a:gd name="T7" fmla="*/ 53 h 55"/>
                <a:gd name="T8" fmla="*/ 17 w 32"/>
                <a:gd name="T9" fmla="*/ 55 h 55"/>
                <a:gd name="T10" fmla="*/ 12 w 32"/>
                <a:gd name="T11" fmla="*/ 53 h 55"/>
                <a:gd name="T12" fmla="*/ 7 w 32"/>
                <a:gd name="T13" fmla="*/ 50 h 55"/>
                <a:gd name="T14" fmla="*/ 7 w 32"/>
                <a:gd name="T15" fmla="*/ 54 h 55"/>
                <a:gd name="T16" fmla="*/ 0 w 32"/>
                <a:gd name="T17" fmla="*/ 54 h 55"/>
                <a:gd name="T18" fmla="*/ 0 w 32"/>
                <a:gd name="T19" fmla="*/ 4 h 55"/>
                <a:gd name="T20" fmla="*/ 7 w 32"/>
                <a:gd name="T21" fmla="*/ 0 h 55"/>
                <a:gd name="T22" fmla="*/ 7 w 32"/>
                <a:gd name="T23" fmla="*/ 19 h 55"/>
                <a:gd name="T24" fmla="*/ 10 w 32"/>
                <a:gd name="T25" fmla="*/ 17 h 55"/>
                <a:gd name="T26" fmla="*/ 12 w 32"/>
                <a:gd name="T27" fmla="*/ 16 h 55"/>
                <a:gd name="T28" fmla="*/ 14 w 32"/>
                <a:gd name="T29" fmla="*/ 15 h 55"/>
                <a:gd name="T30" fmla="*/ 17 w 32"/>
                <a:gd name="T31" fmla="*/ 15 h 55"/>
                <a:gd name="T32" fmla="*/ 23 w 32"/>
                <a:gd name="T33" fmla="*/ 16 h 55"/>
                <a:gd name="T34" fmla="*/ 28 w 32"/>
                <a:gd name="T35" fmla="*/ 19 h 55"/>
                <a:gd name="T36" fmla="*/ 31 w 32"/>
                <a:gd name="T37" fmla="*/ 26 h 55"/>
                <a:gd name="T38" fmla="*/ 32 w 32"/>
                <a:gd name="T39" fmla="*/ 35 h 55"/>
                <a:gd name="T40" fmla="*/ 25 w 32"/>
                <a:gd name="T41" fmla="*/ 35 h 55"/>
                <a:gd name="T42" fmla="*/ 23 w 32"/>
                <a:gd name="T43" fmla="*/ 25 h 55"/>
                <a:gd name="T44" fmla="*/ 16 w 32"/>
                <a:gd name="T45" fmla="*/ 22 h 55"/>
                <a:gd name="T46" fmla="*/ 14 w 32"/>
                <a:gd name="T47" fmla="*/ 22 h 55"/>
                <a:gd name="T48" fmla="*/ 11 w 32"/>
                <a:gd name="T49" fmla="*/ 23 h 55"/>
                <a:gd name="T50" fmla="*/ 9 w 32"/>
                <a:gd name="T51" fmla="*/ 25 h 55"/>
                <a:gd name="T52" fmla="*/ 7 w 32"/>
                <a:gd name="T53" fmla="*/ 26 h 55"/>
                <a:gd name="T54" fmla="*/ 7 w 32"/>
                <a:gd name="T55" fmla="*/ 43 h 55"/>
                <a:gd name="T56" fmla="*/ 9 w 32"/>
                <a:gd name="T57" fmla="*/ 44 h 55"/>
                <a:gd name="T58" fmla="*/ 11 w 32"/>
                <a:gd name="T59" fmla="*/ 46 h 55"/>
                <a:gd name="T60" fmla="*/ 14 w 32"/>
                <a:gd name="T61" fmla="*/ 47 h 55"/>
                <a:gd name="T62" fmla="*/ 16 w 32"/>
                <a:gd name="T63" fmla="*/ 48 h 55"/>
                <a:gd name="T64" fmla="*/ 23 w 32"/>
                <a:gd name="T65" fmla="*/ 45 h 55"/>
                <a:gd name="T66" fmla="*/ 25 w 32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2" h="55">
                  <a:moveTo>
                    <a:pt x="32" y="35"/>
                  </a:moveTo>
                  <a:cubicBezTo>
                    <a:pt x="32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6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5" y="55"/>
                    <a:pt x="13" y="54"/>
                    <a:pt x="12" y="53"/>
                  </a:cubicBezTo>
                  <a:cubicBezTo>
                    <a:pt x="10" y="52"/>
                    <a:pt x="9" y="51"/>
                    <a:pt x="7" y="50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6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20" y="15"/>
                    <a:pt x="21" y="15"/>
                    <a:pt x="23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29" y="21"/>
                    <a:pt x="30" y="23"/>
                    <a:pt x="31" y="26"/>
                  </a:cubicBezTo>
                  <a:cubicBezTo>
                    <a:pt x="32" y="28"/>
                    <a:pt x="32" y="32"/>
                    <a:pt x="32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4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0" y="23"/>
                    <a:pt x="10" y="24"/>
                    <a:pt x="9" y="25"/>
                  </a:cubicBezTo>
                  <a:cubicBezTo>
                    <a:pt x="8" y="25"/>
                    <a:pt x="8" y="26"/>
                    <a:pt x="7" y="26"/>
                  </a:cubicBezTo>
                  <a:cubicBezTo>
                    <a:pt x="7" y="43"/>
                    <a:pt x="7" y="43"/>
                    <a:pt x="7" y="43"/>
                  </a:cubicBezTo>
                  <a:cubicBezTo>
                    <a:pt x="8" y="43"/>
                    <a:pt x="8" y="44"/>
                    <a:pt x="9" y="44"/>
                  </a:cubicBezTo>
                  <a:cubicBezTo>
                    <a:pt x="10" y="45"/>
                    <a:pt x="10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5" y="48"/>
                    <a:pt x="16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15" name="Freeform 33">
              <a:extLst>
                <a:ext uri="{FF2B5EF4-FFF2-40B4-BE49-F238E27FC236}">
                  <a16:creationId xmlns:a16="http://schemas.microsoft.com/office/drawing/2014/main" id="{3FF3AC5A-B742-4B29-8E04-03A71D82B9A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9860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8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8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3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7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16" name="Freeform 34">
              <a:extLst>
                <a:ext uri="{FF2B5EF4-FFF2-40B4-BE49-F238E27FC236}">
                  <a16:creationId xmlns:a16="http://schemas.microsoft.com/office/drawing/2014/main" id="{0C912743-E24B-4E48-8196-5FBD1ECEE9A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625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3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17" name="Freeform 35">
              <a:extLst>
                <a:ext uri="{FF2B5EF4-FFF2-40B4-BE49-F238E27FC236}">
                  <a16:creationId xmlns:a16="http://schemas.microsoft.com/office/drawing/2014/main" id="{6E2F01F4-1410-4FE1-B043-EA97A1541F3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64256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7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6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7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18" name="Freeform 36">
              <a:extLst>
                <a:ext uri="{FF2B5EF4-FFF2-40B4-BE49-F238E27FC236}">
                  <a16:creationId xmlns:a16="http://schemas.microsoft.com/office/drawing/2014/main" id="{58ACFF1C-49F0-414E-B9E3-DE4E9FFAA38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2340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19" name="Freeform 37">
              <a:extLst>
                <a:ext uri="{FF2B5EF4-FFF2-40B4-BE49-F238E27FC236}">
                  <a16:creationId xmlns:a16="http://schemas.microsoft.com/office/drawing/2014/main" id="{DACBD04B-22FF-4A4F-8B29-A2F31A0542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36884" y="6212575"/>
              <a:ext cx="59286" cy="99391"/>
            </a:xfrm>
            <a:custGeom>
              <a:avLst/>
              <a:gdLst>
                <a:gd name="T0" fmla="*/ 21 w 23"/>
                <a:gd name="T1" fmla="*/ 8 h 39"/>
                <a:gd name="T2" fmla="*/ 19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9" y="7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20" name="Freeform 38">
              <a:extLst>
                <a:ext uri="{FF2B5EF4-FFF2-40B4-BE49-F238E27FC236}">
                  <a16:creationId xmlns:a16="http://schemas.microsoft.com/office/drawing/2014/main" id="{A13F6E37-C22B-4FD3-ADFE-9C53ECB446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51969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21" name="Freeform 39">
              <a:extLst>
                <a:ext uri="{FF2B5EF4-FFF2-40B4-BE49-F238E27FC236}">
                  <a16:creationId xmlns:a16="http://schemas.microsoft.com/office/drawing/2014/main" id="{76256F1D-405A-49F9-8592-A899623F2D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30436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22" name="Freeform 40">
              <a:extLst>
                <a:ext uri="{FF2B5EF4-FFF2-40B4-BE49-F238E27FC236}">
                  <a16:creationId xmlns:a16="http://schemas.microsoft.com/office/drawing/2014/main" id="{2F9CAE14-DB05-4B70-867F-3F6164BDB74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62808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23" name="Freeform 41">
              <a:extLst>
                <a:ext uri="{FF2B5EF4-FFF2-40B4-BE49-F238E27FC236}">
                  <a16:creationId xmlns:a16="http://schemas.microsoft.com/office/drawing/2014/main" id="{30C7B10F-7027-41F9-BEE2-F1575CB690D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772813" y="6212575"/>
              <a:ext cx="81955" cy="101135"/>
            </a:xfrm>
            <a:custGeom>
              <a:avLst/>
              <a:gdLst>
                <a:gd name="T0" fmla="*/ 24 w 32"/>
                <a:gd name="T1" fmla="*/ 39 h 40"/>
                <a:gd name="T2" fmla="*/ 24 w 32"/>
                <a:gd name="T3" fmla="*/ 35 h 40"/>
                <a:gd name="T4" fmla="*/ 22 w 32"/>
                <a:gd name="T5" fmla="*/ 37 h 40"/>
                <a:gd name="T6" fmla="*/ 20 w 32"/>
                <a:gd name="T7" fmla="*/ 38 h 40"/>
                <a:gd name="T8" fmla="*/ 17 w 32"/>
                <a:gd name="T9" fmla="*/ 39 h 40"/>
                <a:gd name="T10" fmla="*/ 14 w 32"/>
                <a:gd name="T11" fmla="*/ 40 h 40"/>
                <a:gd name="T12" fmla="*/ 9 w 32"/>
                <a:gd name="T13" fmla="*/ 39 h 40"/>
                <a:gd name="T14" fmla="*/ 5 w 32"/>
                <a:gd name="T15" fmla="*/ 37 h 40"/>
                <a:gd name="T16" fmla="*/ 2 w 32"/>
                <a:gd name="T17" fmla="*/ 33 h 40"/>
                <a:gd name="T18" fmla="*/ 0 w 32"/>
                <a:gd name="T19" fmla="*/ 27 h 40"/>
                <a:gd name="T20" fmla="*/ 2 w 32"/>
                <a:gd name="T21" fmla="*/ 21 h 40"/>
                <a:gd name="T22" fmla="*/ 5 w 32"/>
                <a:gd name="T23" fmla="*/ 17 h 40"/>
                <a:gd name="T24" fmla="*/ 10 w 32"/>
                <a:gd name="T25" fmla="*/ 15 h 40"/>
                <a:gd name="T26" fmla="*/ 16 w 32"/>
                <a:gd name="T27" fmla="*/ 14 h 40"/>
                <a:gd name="T28" fmla="*/ 21 w 32"/>
                <a:gd name="T29" fmla="*/ 15 h 40"/>
                <a:gd name="T30" fmla="*/ 24 w 32"/>
                <a:gd name="T31" fmla="*/ 16 h 40"/>
                <a:gd name="T32" fmla="*/ 24 w 32"/>
                <a:gd name="T33" fmla="*/ 13 h 40"/>
                <a:gd name="T34" fmla="*/ 22 w 32"/>
                <a:gd name="T35" fmla="*/ 8 h 40"/>
                <a:gd name="T36" fmla="*/ 17 w 32"/>
                <a:gd name="T37" fmla="*/ 6 h 40"/>
                <a:gd name="T38" fmla="*/ 12 w 32"/>
                <a:gd name="T39" fmla="*/ 7 h 40"/>
                <a:gd name="T40" fmla="*/ 7 w 32"/>
                <a:gd name="T41" fmla="*/ 9 h 40"/>
                <a:gd name="T42" fmla="*/ 4 w 32"/>
                <a:gd name="T43" fmla="*/ 3 h 40"/>
                <a:gd name="T44" fmla="*/ 10 w 32"/>
                <a:gd name="T45" fmla="*/ 0 h 40"/>
                <a:gd name="T46" fmla="*/ 17 w 32"/>
                <a:gd name="T47" fmla="*/ 0 h 40"/>
                <a:gd name="T48" fmla="*/ 23 w 32"/>
                <a:gd name="T49" fmla="*/ 0 h 40"/>
                <a:gd name="T50" fmla="*/ 28 w 32"/>
                <a:gd name="T51" fmla="*/ 3 h 40"/>
                <a:gd name="T52" fmla="*/ 31 w 32"/>
                <a:gd name="T53" fmla="*/ 7 h 40"/>
                <a:gd name="T54" fmla="*/ 32 w 32"/>
                <a:gd name="T55" fmla="*/ 12 h 40"/>
                <a:gd name="T56" fmla="*/ 32 w 32"/>
                <a:gd name="T57" fmla="*/ 39 h 40"/>
                <a:gd name="T58" fmla="*/ 24 w 32"/>
                <a:gd name="T59" fmla="*/ 39 h 40"/>
                <a:gd name="T60" fmla="*/ 24 w 32"/>
                <a:gd name="T61" fmla="*/ 22 h 40"/>
                <a:gd name="T62" fmla="*/ 22 w 32"/>
                <a:gd name="T63" fmla="*/ 22 h 40"/>
                <a:gd name="T64" fmla="*/ 21 w 32"/>
                <a:gd name="T65" fmla="*/ 21 h 40"/>
                <a:gd name="T66" fmla="*/ 18 w 32"/>
                <a:gd name="T67" fmla="*/ 21 h 40"/>
                <a:gd name="T68" fmla="*/ 16 w 32"/>
                <a:gd name="T69" fmla="*/ 21 h 40"/>
                <a:gd name="T70" fmla="*/ 10 w 32"/>
                <a:gd name="T71" fmla="*/ 22 h 40"/>
                <a:gd name="T72" fmla="*/ 8 w 32"/>
                <a:gd name="T73" fmla="*/ 26 h 40"/>
                <a:gd name="T74" fmla="*/ 8 w 32"/>
                <a:gd name="T75" fmla="*/ 29 h 40"/>
                <a:gd name="T76" fmla="*/ 10 w 32"/>
                <a:gd name="T77" fmla="*/ 31 h 40"/>
                <a:gd name="T78" fmla="*/ 12 w 32"/>
                <a:gd name="T79" fmla="*/ 32 h 40"/>
                <a:gd name="T80" fmla="*/ 15 w 32"/>
                <a:gd name="T81" fmla="*/ 33 h 40"/>
                <a:gd name="T82" fmla="*/ 18 w 32"/>
                <a:gd name="T83" fmla="*/ 32 h 40"/>
                <a:gd name="T84" fmla="*/ 21 w 32"/>
                <a:gd name="T85" fmla="*/ 31 h 40"/>
                <a:gd name="T86" fmla="*/ 23 w 32"/>
                <a:gd name="T87" fmla="*/ 30 h 40"/>
                <a:gd name="T88" fmla="*/ 24 w 32"/>
                <a:gd name="T89" fmla="*/ 28 h 40"/>
                <a:gd name="T90" fmla="*/ 24 w 32"/>
                <a:gd name="T91" fmla="*/ 2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2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3" y="37"/>
                    <a:pt x="22" y="37"/>
                  </a:cubicBezTo>
                  <a:cubicBezTo>
                    <a:pt x="21" y="37"/>
                    <a:pt x="21" y="38"/>
                    <a:pt x="20" y="38"/>
                  </a:cubicBezTo>
                  <a:cubicBezTo>
                    <a:pt x="19" y="39"/>
                    <a:pt x="18" y="39"/>
                    <a:pt x="17" y="39"/>
                  </a:cubicBezTo>
                  <a:cubicBezTo>
                    <a:pt x="16" y="39"/>
                    <a:pt x="15" y="40"/>
                    <a:pt x="14" y="40"/>
                  </a:cubicBezTo>
                  <a:cubicBezTo>
                    <a:pt x="12" y="40"/>
                    <a:pt x="11" y="39"/>
                    <a:pt x="9" y="39"/>
                  </a:cubicBezTo>
                  <a:cubicBezTo>
                    <a:pt x="7" y="38"/>
                    <a:pt x="6" y="38"/>
                    <a:pt x="5" y="37"/>
                  </a:cubicBezTo>
                  <a:cubicBezTo>
                    <a:pt x="3" y="36"/>
                    <a:pt x="2" y="34"/>
                    <a:pt x="2" y="33"/>
                  </a:cubicBezTo>
                  <a:cubicBezTo>
                    <a:pt x="1" y="31"/>
                    <a:pt x="0" y="29"/>
                    <a:pt x="0" y="27"/>
                  </a:cubicBezTo>
                  <a:cubicBezTo>
                    <a:pt x="0" y="24"/>
                    <a:pt x="1" y="23"/>
                    <a:pt x="2" y="21"/>
                  </a:cubicBezTo>
                  <a:cubicBezTo>
                    <a:pt x="2" y="20"/>
                    <a:pt x="3" y="18"/>
                    <a:pt x="5" y="17"/>
                  </a:cubicBezTo>
                  <a:cubicBezTo>
                    <a:pt x="6" y="16"/>
                    <a:pt x="8" y="15"/>
                    <a:pt x="10" y="15"/>
                  </a:cubicBezTo>
                  <a:cubicBezTo>
                    <a:pt x="12" y="14"/>
                    <a:pt x="14" y="14"/>
                    <a:pt x="16" y="14"/>
                  </a:cubicBezTo>
                  <a:cubicBezTo>
                    <a:pt x="18" y="14"/>
                    <a:pt x="19" y="14"/>
                    <a:pt x="21" y="15"/>
                  </a:cubicBezTo>
                  <a:cubicBezTo>
                    <a:pt x="22" y="15"/>
                    <a:pt x="23" y="15"/>
                    <a:pt x="24" y="16"/>
                  </a:cubicBezTo>
                  <a:cubicBezTo>
                    <a:pt x="24" y="13"/>
                    <a:pt x="24" y="13"/>
                    <a:pt x="24" y="13"/>
                  </a:cubicBezTo>
                  <a:cubicBezTo>
                    <a:pt x="24" y="11"/>
                    <a:pt x="24" y="9"/>
                    <a:pt x="22" y="8"/>
                  </a:cubicBezTo>
                  <a:cubicBezTo>
                    <a:pt x="21" y="7"/>
                    <a:pt x="19" y="6"/>
                    <a:pt x="17" y="6"/>
                  </a:cubicBezTo>
                  <a:cubicBezTo>
                    <a:pt x="15" y="6"/>
                    <a:pt x="13" y="6"/>
                    <a:pt x="12" y="7"/>
                  </a:cubicBezTo>
                  <a:cubicBezTo>
                    <a:pt x="10" y="7"/>
                    <a:pt x="9" y="8"/>
                    <a:pt x="7" y="9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6" y="2"/>
                    <a:pt x="8" y="1"/>
                    <a:pt x="10" y="0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19" y="0"/>
                    <a:pt x="21" y="0"/>
                    <a:pt x="23" y="0"/>
                  </a:cubicBezTo>
                  <a:cubicBezTo>
                    <a:pt x="25" y="1"/>
                    <a:pt x="26" y="2"/>
                    <a:pt x="28" y="3"/>
                  </a:cubicBezTo>
                  <a:cubicBezTo>
                    <a:pt x="29" y="4"/>
                    <a:pt x="30" y="5"/>
                    <a:pt x="31" y="7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2" y="39"/>
                    <a:pt x="32" y="39"/>
                    <a:pt x="32" y="39"/>
                  </a:cubicBezTo>
                  <a:lnTo>
                    <a:pt x="24" y="39"/>
                  </a:lnTo>
                  <a:close/>
                  <a:moveTo>
                    <a:pt x="24" y="22"/>
                  </a:moveTo>
                  <a:cubicBezTo>
                    <a:pt x="24" y="22"/>
                    <a:pt x="23" y="22"/>
                    <a:pt x="22" y="22"/>
                  </a:cubicBezTo>
                  <a:cubicBezTo>
                    <a:pt x="22" y="21"/>
                    <a:pt x="21" y="21"/>
                    <a:pt x="21" y="21"/>
                  </a:cubicBezTo>
                  <a:cubicBezTo>
                    <a:pt x="20" y="21"/>
                    <a:pt x="19" y="21"/>
                    <a:pt x="18" y="21"/>
                  </a:cubicBezTo>
                  <a:cubicBezTo>
                    <a:pt x="17" y="21"/>
                    <a:pt x="17" y="21"/>
                    <a:pt x="16" y="21"/>
                  </a:cubicBezTo>
                  <a:cubicBezTo>
                    <a:pt x="13" y="21"/>
                    <a:pt x="11" y="21"/>
                    <a:pt x="10" y="22"/>
                  </a:cubicBezTo>
                  <a:cubicBezTo>
                    <a:pt x="8" y="23"/>
                    <a:pt x="8" y="25"/>
                    <a:pt x="8" y="26"/>
                  </a:cubicBezTo>
                  <a:cubicBezTo>
                    <a:pt x="8" y="28"/>
                    <a:pt x="8" y="29"/>
                    <a:pt x="8" y="29"/>
                  </a:cubicBezTo>
                  <a:cubicBezTo>
                    <a:pt x="9" y="30"/>
                    <a:pt x="9" y="31"/>
                    <a:pt x="10" y="31"/>
                  </a:cubicBezTo>
                  <a:cubicBezTo>
                    <a:pt x="10" y="32"/>
                    <a:pt x="11" y="32"/>
                    <a:pt x="12" y="32"/>
                  </a:cubicBezTo>
                  <a:cubicBezTo>
                    <a:pt x="13" y="33"/>
                    <a:pt x="14" y="33"/>
                    <a:pt x="15" y="33"/>
                  </a:cubicBezTo>
                  <a:cubicBezTo>
                    <a:pt x="16" y="33"/>
                    <a:pt x="17" y="33"/>
                    <a:pt x="18" y="32"/>
                  </a:cubicBezTo>
                  <a:cubicBezTo>
                    <a:pt x="19" y="32"/>
                    <a:pt x="20" y="32"/>
                    <a:pt x="21" y="31"/>
                  </a:cubicBezTo>
                  <a:cubicBezTo>
                    <a:pt x="21" y="31"/>
                    <a:pt x="22" y="30"/>
                    <a:pt x="23" y="30"/>
                  </a:cubicBezTo>
                  <a:cubicBezTo>
                    <a:pt x="23" y="29"/>
                    <a:pt x="24" y="28"/>
                    <a:pt x="24" y="28"/>
                  </a:cubicBezTo>
                  <a:lnTo>
                    <a:pt x="24" y="2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24" name="Freeform 42">
              <a:extLst>
                <a:ext uri="{FF2B5EF4-FFF2-40B4-BE49-F238E27FC236}">
                  <a16:creationId xmlns:a16="http://schemas.microsoft.com/office/drawing/2014/main" id="{16B384B2-A2D9-4CB4-AF87-AF1004852B5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77436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2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10 w 31"/>
                <a:gd name="T11" fmla="*/ 9 h 39"/>
                <a:gd name="T12" fmla="*/ 8 w 31"/>
                <a:gd name="T13" fmla="*/ 12 h 39"/>
                <a:gd name="T14" fmla="*/ 8 w 31"/>
                <a:gd name="T15" fmla="*/ 16 h 39"/>
                <a:gd name="T16" fmla="*/ 8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8 w 31"/>
                <a:gd name="T23" fmla="*/ 0 h 39"/>
                <a:gd name="T24" fmla="*/ 8 w 31"/>
                <a:gd name="T25" fmla="*/ 4 h 39"/>
                <a:gd name="T26" fmla="*/ 9 w 31"/>
                <a:gd name="T27" fmla="*/ 2 h 39"/>
                <a:gd name="T28" fmla="*/ 12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8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2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10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8" y="15"/>
                    <a:pt x="8" y="16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2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20" y="0"/>
                    <a:pt x="22" y="0"/>
                    <a:pt x="23" y="1"/>
                  </a:cubicBezTo>
                  <a:cubicBezTo>
                    <a:pt x="25" y="1"/>
                    <a:pt x="26" y="2"/>
                    <a:pt x="28" y="4"/>
                  </a:cubicBezTo>
                  <a:cubicBezTo>
                    <a:pt x="29" y="5"/>
                    <a:pt x="29" y="7"/>
                    <a:pt x="30" y="9"/>
                  </a:cubicBezTo>
                  <a:cubicBezTo>
                    <a:pt x="31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25" name="Freeform 43">
              <a:extLst>
                <a:ext uri="{FF2B5EF4-FFF2-40B4-BE49-F238E27FC236}">
                  <a16:creationId xmlns:a16="http://schemas.microsoft.com/office/drawing/2014/main" id="{DC309D60-84B9-4652-BEF1-F71EFAD3A40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75084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0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3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6 w 29"/>
                <a:gd name="T55" fmla="*/ 24 h 40"/>
                <a:gd name="T56" fmla="*/ 13 w 29"/>
                <a:gd name="T57" fmla="*/ 22 h 40"/>
                <a:gd name="T58" fmla="*/ 7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1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2" y="6"/>
                    <a:pt x="11" y="7"/>
                    <a:pt x="10" y="7"/>
                  </a:cubicBezTo>
                  <a:cubicBezTo>
                    <a:pt x="9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1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8" y="25"/>
                    <a:pt x="18" y="24"/>
                    <a:pt x="16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7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2" y="15"/>
                    <a:pt x="2" y="14"/>
                  </a:cubicBezTo>
                  <a:cubicBezTo>
                    <a:pt x="2" y="13"/>
                    <a:pt x="1" y="12"/>
                    <a:pt x="1" y="10"/>
                  </a:cubicBezTo>
                  <a:cubicBezTo>
                    <a:pt x="1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26" name="Freeform 44">
              <a:extLst>
                <a:ext uri="{FF2B5EF4-FFF2-40B4-BE49-F238E27FC236}">
                  <a16:creationId xmlns:a16="http://schemas.microsoft.com/office/drawing/2014/main" id="{A4440044-5486-483F-B652-7EE3849461B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58782" y="6212575"/>
              <a:ext cx="122060" cy="99391"/>
            </a:xfrm>
            <a:custGeom>
              <a:avLst/>
              <a:gdLst>
                <a:gd name="T0" fmla="*/ 55 w 70"/>
                <a:gd name="T1" fmla="*/ 57 h 57"/>
                <a:gd name="T2" fmla="*/ 45 w 70"/>
                <a:gd name="T3" fmla="*/ 57 h 57"/>
                <a:gd name="T4" fmla="*/ 35 w 70"/>
                <a:gd name="T5" fmla="*/ 17 h 57"/>
                <a:gd name="T6" fmla="*/ 25 w 70"/>
                <a:gd name="T7" fmla="*/ 57 h 57"/>
                <a:gd name="T8" fmla="*/ 14 w 70"/>
                <a:gd name="T9" fmla="*/ 57 h 57"/>
                <a:gd name="T10" fmla="*/ 0 w 70"/>
                <a:gd name="T11" fmla="*/ 0 h 57"/>
                <a:gd name="T12" fmla="*/ 10 w 70"/>
                <a:gd name="T13" fmla="*/ 0 h 57"/>
                <a:gd name="T14" fmla="*/ 20 w 70"/>
                <a:gd name="T15" fmla="*/ 39 h 57"/>
                <a:gd name="T16" fmla="*/ 30 w 70"/>
                <a:gd name="T17" fmla="*/ 0 h 57"/>
                <a:gd name="T18" fmla="*/ 39 w 70"/>
                <a:gd name="T19" fmla="*/ 0 h 57"/>
                <a:gd name="T20" fmla="*/ 49 w 70"/>
                <a:gd name="T21" fmla="*/ 39 h 57"/>
                <a:gd name="T22" fmla="*/ 60 w 70"/>
                <a:gd name="T23" fmla="*/ 0 h 57"/>
                <a:gd name="T24" fmla="*/ 70 w 70"/>
                <a:gd name="T25" fmla="*/ 0 h 57"/>
                <a:gd name="T26" fmla="*/ 55 w 70"/>
                <a:gd name="T27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7">
                  <a:moveTo>
                    <a:pt x="55" y="57"/>
                  </a:moveTo>
                  <a:lnTo>
                    <a:pt x="45" y="57"/>
                  </a:lnTo>
                  <a:lnTo>
                    <a:pt x="35" y="17"/>
                  </a:lnTo>
                  <a:lnTo>
                    <a:pt x="25" y="57"/>
                  </a:lnTo>
                  <a:lnTo>
                    <a:pt x="14" y="57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0" y="39"/>
                  </a:lnTo>
                  <a:lnTo>
                    <a:pt x="30" y="0"/>
                  </a:lnTo>
                  <a:lnTo>
                    <a:pt x="39" y="0"/>
                  </a:lnTo>
                  <a:lnTo>
                    <a:pt x="49" y="39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27" name="Freeform 45">
              <a:extLst>
                <a:ext uri="{FF2B5EF4-FFF2-40B4-BE49-F238E27FC236}">
                  <a16:creationId xmlns:a16="http://schemas.microsoft.com/office/drawing/2014/main" id="{446771E9-EA09-4256-8955-FE392C07AFC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1913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28" name="Freeform 46">
              <a:extLst>
                <a:ext uri="{FF2B5EF4-FFF2-40B4-BE49-F238E27FC236}">
                  <a16:creationId xmlns:a16="http://schemas.microsoft.com/office/drawing/2014/main" id="{FE985025-CAA5-44F2-9174-87CD1D8BA18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95927" y="6212575"/>
              <a:ext cx="57543" cy="99391"/>
            </a:xfrm>
            <a:custGeom>
              <a:avLst/>
              <a:gdLst>
                <a:gd name="T0" fmla="*/ 21 w 23"/>
                <a:gd name="T1" fmla="*/ 8 h 39"/>
                <a:gd name="T2" fmla="*/ 18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6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0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29" name="Freeform 47">
              <a:extLst>
                <a:ext uri="{FF2B5EF4-FFF2-40B4-BE49-F238E27FC236}">
                  <a16:creationId xmlns:a16="http://schemas.microsoft.com/office/drawing/2014/main" id="{1105FBBE-AD06-4F22-94D8-E2E98185FA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6494" y="6284068"/>
              <a:ext cx="29644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3 w 12"/>
                <a:gd name="T11" fmla="*/ 11 h 12"/>
                <a:gd name="T12" fmla="*/ 2 w 12"/>
                <a:gd name="T13" fmla="*/ 10 h 12"/>
                <a:gd name="T14" fmla="*/ 0 w 12"/>
                <a:gd name="T15" fmla="*/ 8 h 12"/>
                <a:gd name="T16" fmla="*/ 0 w 12"/>
                <a:gd name="T17" fmla="*/ 6 h 12"/>
                <a:gd name="T18" fmla="*/ 0 w 12"/>
                <a:gd name="T19" fmla="*/ 4 h 12"/>
                <a:gd name="T20" fmla="*/ 2 w 12"/>
                <a:gd name="T21" fmla="*/ 2 h 12"/>
                <a:gd name="T22" fmla="*/ 3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3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0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3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30" name="Freeform 48">
              <a:extLst>
                <a:ext uri="{FF2B5EF4-FFF2-40B4-BE49-F238E27FC236}">
                  <a16:creationId xmlns:a16="http://schemas.microsoft.com/office/drawing/2014/main" id="{8141824A-6AD4-4B53-B837-71461DD538C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388691"/>
              <a:ext cx="94161" cy="130778"/>
            </a:xfrm>
            <a:custGeom>
              <a:avLst/>
              <a:gdLst>
                <a:gd name="T0" fmla="*/ 32 w 54"/>
                <a:gd name="T1" fmla="*/ 12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2 h 75"/>
                <a:gd name="T8" fmla="*/ 0 w 54"/>
                <a:gd name="T9" fmla="*/ 12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2 h 75"/>
                <a:gd name="T16" fmla="*/ 32 w 54"/>
                <a:gd name="T17" fmla="*/ 12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2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2"/>
                  </a:lnTo>
                  <a:lnTo>
                    <a:pt x="0" y="12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2"/>
                  </a:lnTo>
                  <a:lnTo>
                    <a:pt x="32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31" name="Freeform 49">
              <a:extLst>
                <a:ext uri="{FF2B5EF4-FFF2-40B4-BE49-F238E27FC236}">
                  <a16:creationId xmlns:a16="http://schemas.microsoft.com/office/drawing/2014/main" id="{1CEF1D95-CD6C-417A-9539-CB4DBAA5E07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383459"/>
              <a:ext cx="78468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9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1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7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7"/>
                    <a:pt x="9" y="17"/>
                  </a:cubicBezTo>
                  <a:cubicBezTo>
                    <a:pt x="10" y="16"/>
                    <a:pt x="10" y="16"/>
                    <a:pt x="11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32" name="Freeform 50">
              <a:extLst>
                <a:ext uri="{FF2B5EF4-FFF2-40B4-BE49-F238E27FC236}">
                  <a16:creationId xmlns:a16="http://schemas.microsoft.com/office/drawing/2014/main" id="{BF6CB5D3-9648-4D73-AB7C-5374814E5BA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418333"/>
              <a:ext cx="85443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7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3 w 33"/>
                <a:gd name="T73" fmla="*/ 8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9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2" y="32"/>
                    <a:pt x="23" y="32"/>
                    <a:pt x="23" y="32"/>
                  </a:cubicBezTo>
                  <a:cubicBezTo>
                    <a:pt x="24" y="31"/>
                    <a:pt x="25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1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5" y="13"/>
                  </a:cubicBezTo>
                  <a:cubicBezTo>
                    <a:pt x="24" y="12"/>
                    <a:pt x="24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33" name="Freeform 51">
              <a:extLst>
                <a:ext uri="{FF2B5EF4-FFF2-40B4-BE49-F238E27FC236}">
                  <a16:creationId xmlns:a16="http://schemas.microsoft.com/office/drawing/2014/main" id="{55F0E322-3AEE-482E-8E59-9FB04FACA93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383459"/>
              <a:ext cx="83698" cy="137753"/>
            </a:xfrm>
            <a:custGeom>
              <a:avLst/>
              <a:gdLst>
                <a:gd name="T0" fmla="*/ 33 w 33"/>
                <a:gd name="T1" fmla="*/ 35 h 54"/>
                <a:gd name="T2" fmla="*/ 31 w 33"/>
                <a:gd name="T3" fmla="*/ 43 h 54"/>
                <a:gd name="T4" fmla="*/ 28 w 33"/>
                <a:gd name="T5" fmla="*/ 49 h 54"/>
                <a:gd name="T6" fmla="*/ 23 w 33"/>
                <a:gd name="T7" fmla="*/ 53 h 54"/>
                <a:gd name="T8" fmla="*/ 17 w 33"/>
                <a:gd name="T9" fmla="*/ 54 h 54"/>
                <a:gd name="T10" fmla="*/ 12 w 33"/>
                <a:gd name="T11" fmla="*/ 53 h 54"/>
                <a:gd name="T12" fmla="*/ 8 w 33"/>
                <a:gd name="T13" fmla="*/ 50 h 54"/>
                <a:gd name="T14" fmla="*/ 8 w 33"/>
                <a:gd name="T15" fmla="*/ 53 h 54"/>
                <a:gd name="T16" fmla="*/ 0 w 33"/>
                <a:gd name="T17" fmla="*/ 53 h 54"/>
                <a:gd name="T18" fmla="*/ 0 w 33"/>
                <a:gd name="T19" fmla="*/ 4 h 54"/>
                <a:gd name="T20" fmla="*/ 8 w 33"/>
                <a:gd name="T21" fmla="*/ 0 h 54"/>
                <a:gd name="T22" fmla="*/ 8 w 33"/>
                <a:gd name="T23" fmla="*/ 19 h 54"/>
                <a:gd name="T24" fmla="*/ 10 w 33"/>
                <a:gd name="T25" fmla="*/ 17 h 54"/>
                <a:gd name="T26" fmla="*/ 12 w 33"/>
                <a:gd name="T27" fmla="*/ 16 h 54"/>
                <a:gd name="T28" fmla="*/ 14 w 33"/>
                <a:gd name="T29" fmla="*/ 14 h 54"/>
                <a:gd name="T30" fmla="*/ 18 w 33"/>
                <a:gd name="T31" fmla="*/ 14 h 54"/>
                <a:gd name="T32" fmla="*/ 24 w 33"/>
                <a:gd name="T33" fmla="*/ 15 h 54"/>
                <a:gd name="T34" fmla="*/ 28 w 33"/>
                <a:gd name="T35" fmla="*/ 19 h 54"/>
                <a:gd name="T36" fmla="*/ 31 w 33"/>
                <a:gd name="T37" fmla="*/ 25 h 54"/>
                <a:gd name="T38" fmla="*/ 33 w 33"/>
                <a:gd name="T39" fmla="*/ 35 h 54"/>
                <a:gd name="T40" fmla="*/ 25 w 33"/>
                <a:gd name="T41" fmla="*/ 35 h 54"/>
                <a:gd name="T42" fmla="*/ 23 w 33"/>
                <a:gd name="T43" fmla="*/ 24 h 54"/>
                <a:gd name="T44" fmla="*/ 16 w 33"/>
                <a:gd name="T45" fmla="*/ 21 h 54"/>
                <a:gd name="T46" fmla="*/ 14 w 33"/>
                <a:gd name="T47" fmla="*/ 21 h 54"/>
                <a:gd name="T48" fmla="*/ 11 w 33"/>
                <a:gd name="T49" fmla="*/ 23 h 54"/>
                <a:gd name="T50" fmla="*/ 9 w 33"/>
                <a:gd name="T51" fmla="*/ 24 h 54"/>
                <a:gd name="T52" fmla="*/ 8 w 33"/>
                <a:gd name="T53" fmla="*/ 26 h 54"/>
                <a:gd name="T54" fmla="*/ 8 w 33"/>
                <a:gd name="T55" fmla="*/ 42 h 54"/>
                <a:gd name="T56" fmla="*/ 9 w 33"/>
                <a:gd name="T57" fmla="*/ 44 h 54"/>
                <a:gd name="T58" fmla="*/ 11 w 33"/>
                <a:gd name="T59" fmla="*/ 45 h 54"/>
                <a:gd name="T60" fmla="*/ 14 w 33"/>
                <a:gd name="T61" fmla="*/ 47 h 54"/>
                <a:gd name="T62" fmla="*/ 17 w 33"/>
                <a:gd name="T63" fmla="*/ 47 h 54"/>
                <a:gd name="T64" fmla="*/ 23 w 33"/>
                <a:gd name="T65" fmla="*/ 44 h 54"/>
                <a:gd name="T66" fmla="*/ 25 w 33"/>
                <a:gd name="T67" fmla="*/ 35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4">
                  <a:moveTo>
                    <a:pt x="33" y="35"/>
                  </a:moveTo>
                  <a:cubicBezTo>
                    <a:pt x="33" y="38"/>
                    <a:pt x="32" y="41"/>
                    <a:pt x="31" y="43"/>
                  </a:cubicBezTo>
                  <a:cubicBezTo>
                    <a:pt x="30" y="46"/>
                    <a:pt x="29" y="48"/>
                    <a:pt x="28" y="49"/>
                  </a:cubicBezTo>
                  <a:cubicBezTo>
                    <a:pt x="27" y="51"/>
                    <a:pt x="25" y="52"/>
                    <a:pt x="23" y="53"/>
                  </a:cubicBezTo>
                  <a:cubicBezTo>
                    <a:pt x="21" y="54"/>
                    <a:pt x="19" y="54"/>
                    <a:pt x="17" y="54"/>
                  </a:cubicBezTo>
                  <a:cubicBezTo>
                    <a:pt x="16" y="54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7"/>
                    <a:pt x="10" y="17"/>
                  </a:cubicBezTo>
                  <a:cubicBezTo>
                    <a:pt x="11" y="16"/>
                    <a:pt x="11" y="16"/>
                    <a:pt x="12" y="16"/>
                  </a:cubicBezTo>
                  <a:cubicBezTo>
                    <a:pt x="13" y="15"/>
                    <a:pt x="13" y="15"/>
                    <a:pt x="14" y="14"/>
                  </a:cubicBezTo>
                  <a:cubicBezTo>
                    <a:pt x="15" y="14"/>
                    <a:pt x="16" y="14"/>
                    <a:pt x="18" y="14"/>
                  </a:cubicBezTo>
                  <a:cubicBezTo>
                    <a:pt x="20" y="14"/>
                    <a:pt x="22" y="14"/>
                    <a:pt x="24" y="15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30" y="21"/>
                    <a:pt x="31" y="23"/>
                    <a:pt x="31" y="25"/>
                  </a:cubicBezTo>
                  <a:cubicBezTo>
                    <a:pt x="32" y="28"/>
                    <a:pt x="33" y="31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0"/>
                    <a:pt x="24" y="27"/>
                    <a:pt x="23" y="24"/>
                  </a:cubicBezTo>
                  <a:cubicBezTo>
                    <a:pt x="21" y="22"/>
                    <a:pt x="19" y="21"/>
                    <a:pt x="16" y="21"/>
                  </a:cubicBezTo>
                  <a:cubicBezTo>
                    <a:pt x="15" y="21"/>
                    <a:pt x="15" y="21"/>
                    <a:pt x="14" y="21"/>
                  </a:cubicBezTo>
                  <a:cubicBezTo>
                    <a:pt x="13" y="22"/>
                    <a:pt x="12" y="22"/>
                    <a:pt x="11" y="23"/>
                  </a:cubicBezTo>
                  <a:cubicBezTo>
                    <a:pt x="11" y="23"/>
                    <a:pt x="10" y="24"/>
                    <a:pt x="9" y="24"/>
                  </a:cubicBezTo>
                  <a:cubicBezTo>
                    <a:pt x="9" y="25"/>
                    <a:pt x="8" y="25"/>
                    <a:pt x="8" y="26"/>
                  </a:cubicBezTo>
                  <a:cubicBezTo>
                    <a:pt x="8" y="42"/>
                    <a:pt x="8" y="42"/>
                    <a:pt x="8" y="42"/>
                  </a:cubicBezTo>
                  <a:cubicBezTo>
                    <a:pt x="8" y="43"/>
                    <a:pt x="9" y="43"/>
                    <a:pt x="9" y="44"/>
                  </a:cubicBezTo>
                  <a:cubicBezTo>
                    <a:pt x="10" y="44"/>
                    <a:pt x="11" y="45"/>
                    <a:pt x="11" y="45"/>
                  </a:cubicBezTo>
                  <a:cubicBezTo>
                    <a:pt x="12" y="46"/>
                    <a:pt x="13" y="46"/>
                    <a:pt x="14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9" y="47"/>
                    <a:pt x="21" y="46"/>
                    <a:pt x="23" y="44"/>
                  </a:cubicBezTo>
                  <a:cubicBezTo>
                    <a:pt x="24" y="42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34" name="Freeform 52">
              <a:extLst>
                <a:ext uri="{FF2B5EF4-FFF2-40B4-BE49-F238E27FC236}">
                  <a16:creationId xmlns:a16="http://schemas.microsoft.com/office/drawing/2014/main" id="{0D3C59AD-7CCF-4166-9D21-3C348488931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1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4" y="31"/>
                    <a:pt x="24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35" name="Freeform 53">
              <a:extLst>
                <a:ext uri="{FF2B5EF4-FFF2-40B4-BE49-F238E27FC236}">
                  <a16:creationId xmlns:a16="http://schemas.microsoft.com/office/drawing/2014/main" id="{9C9DA4CE-7B4D-42AE-9264-92B7D7757DD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1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2" y="54"/>
                    <a:pt x="11" y="54"/>
                  </a:cubicBezTo>
                  <a:cubicBezTo>
                    <a:pt x="10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2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36" name="Freeform 54">
              <a:extLst>
                <a:ext uri="{FF2B5EF4-FFF2-40B4-BE49-F238E27FC236}">
                  <a16:creationId xmlns:a16="http://schemas.microsoft.com/office/drawing/2014/main" id="{DBCBD0D2-5C9C-4B12-8CF8-9CA320825ED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37" name="Freeform 55">
              <a:extLst>
                <a:ext uri="{FF2B5EF4-FFF2-40B4-BE49-F238E27FC236}">
                  <a16:creationId xmlns:a16="http://schemas.microsoft.com/office/drawing/2014/main" id="{CDCFBD31-7961-4587-876E-1FAFC4E74AB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0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2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0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3" y="31"/>
                    <a:pt x="24" y="31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0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7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38" name="Freeform 56">
              <a:extLst>
                <a:ext uri="{FF2B5EF4-FFF2-40B4-BE49-F238E27FC236}">
                  <a16:creationId xmlns:a16="http://schemas.microsoft.com/office/drawing/2014/main" id="{52482C08-723A-4738-9787-3516B3C1714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418333"/>
              <a:ext cx="55799" cy="101135"/>
            </a:xfrm>
            <a:custGeom>
              <a:avLst/>
              <a:gdLst>
                <a:gd name="T0" fmla="*/ 20 w 22"/>
                <a:gd name="T1" fmla="*/ 9 h 39"/>
                <a:gd name="T2" fmla="*/ 18 w 22"/>
                <a:gd name="T3" fmla="*/ 8 h 39"/>
                <a:gd name="T4" fmla="*/ 15 w 22"/>
                <a:gd name="T5" fmla="*/ 7 h 39"/>
                <a:gd name="T6" fmla="*/ 9 w 22"/>
                <a:gd name="T7" fmla="*/ 10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1 h 39"/>
                <a:gd name="T16" fmla="*/ 7 w 22"/>
                <a:gd name="T17" fmla="*/ 1 h 39"/>
                <a:gd name="T18" fmla="*/ 7 w 22"/>
                <a:gd name="T19" fmla="*/ 5 h 39"/>
                <a:gd name="T20" fmla="*/ 9 w 22"/>
                <a:gd name="T21" fmla="*/ 3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1 h 39"/>
                <a:gd name="T30" fmla="*/ 22 w 22"/>
                <a:gd name="T31" fmla="*/ 2 h 39"/>
                <a:gd name="T32" fmla="*/ 20 w 22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7" y="8"/>
                    <a:pt x="16" y="7"/>
                    <a:pt x="15" y="7"/>
                  </a:cubicBezTo>
                  <a:cubicBezTo>
                    <a:pt x="12" y="7"/>
                    <a:pt x="10" y="8"/>
                    <a:pt x="9" y="10"/>
                  </a:cubicBezTo>
                  <a:cubicBezTo>
                    <a:pt x="8" y="12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8" y="4"/>
                    <a:pt x="8" y="3"/>
                    <a:pt x="9" y="3"/>
                  </a:cubicBezTo>
                  <a:cubicBezTo>
                    <a:pt x="9" y="2"/>
                    <a:pt x="10" y="2"/>
                    <a:pt x="11" y="1"/>
                  </a:cubicBezTo>
                  <a:cubicBezTo>
                    <a:pt x="11" y="1"/>
                    <a:pt x="12" y="1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1"/>
                  </a:cubicBezTo>
                  <a:cubicBezTo>
                    <a:pt x="21" y="1"/>
                    <a:pt x="22" y="1"/>
                    <a:pt x="22" y="2"/>
                  </a:cubicBezTo>
                  <a:lnTo>
                    <a:pt x="20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39" name="Freeform 57">
              <a:extLst>
                <a:ext uri="{FF2B5EF4-FFF2-40B4-BE49-F238E27FC236}">
                  <a16:creationId xmlns:a16="http://schemas.microsoft.com/office/drawing/2014/main" id="{5B72A8F0-33E3-42CD-88C2-C35BEC0E983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40" name="Freeform 58">
              <a:extLst>
                <a:ext uri="{FF2B5EF4-FFF2-40B4-BE49-F238E27FC236}">
                  <a16:creationId xmlns:a16="http://schemas.microsoft.com/office/drawing/2014/main" id="{73FC54A2-6588-499B-968A-79F4CA9CF5F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383459"/>
              <a:ext cx="80211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10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2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8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7"/>
                    <a:pt x="9" y="17"/>
                  </a:cubicBezTo>
                  <a:cubicBezTo>
                    <a:pt x="10" y="16"/>
                    <a:pt x="11" y="16"/>
                    <a:pt x="12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41" name="Freeform 59">
              <a:extLst>
                <a:ext uri="{FF2B5EF4-FFF2-40B4-BE49-F238E27FC236}">
                  <a16:creationId xmlns:a16="http://schemas.microsoft.com/office/drawing/2014/main" id="{1E6AB002-C130-4648-A18E-BA496FF1756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8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2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6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1 w 33"/>
                <a:gd name="T69" fmla="*/ 8 h 40"/>
                <a:gd name="T70" fmla="*/ 17 w 33"/>
                <a:gd name="T71" fmla="*/ 7 h 40"/>
                <a:gd name="T72" fmla="*/ 13 w 33"/>
                <a:gd name="T73" fmla="*/ 8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6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10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3" y="32"/>
                    <a:pt x="23" y="32"/>
                    <a:pt x="24" y="32"/>
                  </a:cubicBezTo>
                  <a:cubicBezTo>
                    <a:pt x="24" y="31"/>
                    <a:pt x="25" y="31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7" y="38"/>
                    <a:pt x="26" y="38"/>
                    <a:pt x="25" y="39"/>
                  </a:cubicBezTo>
                  <a:cubicBezTo>
                    <a:pt x="24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4" y="40"/>
                    <a:pt x="12" y="39"/>
                  </a:cubicBezTo>
                  <a:cubicBezTo>
                    <a:pt x="11" y="39"/>
                    <a:pt x="10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4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5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6" y="17"/>
                  </a:moveTo>
                  <a:cubicBezTo>
                    <a:pt x="26" y="15"/>
                    <a:pt x="25" y="14"/>
                    <a:pt x="25" y="13"/>
                  </a:cubicBezTo>
                  <a:cubicBezTo>
                    <a:pt x="25" y="12"/>
                    <a:pt x="24" y="11"/>
                    <a:pt x="23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20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6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42" name="Freeform 60">
              <a:extLst>
                <a:ext uri="{FF2B5EF4-FFF2-40B4-BE49-F238E27FC236}">
                  <a16:creationId xmlns:a16="http://schemas.microsoft.com/office/drawing/2014/main" id="{B0044278-9F7F-4596-96D2-ACFBE0DEC0B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7435" y="6421821"/>
              <a:ext cx="122060" cy="97648"/>
            </a:xfrm>
            <a:custGeom>
              <a:avLst/>
              <a:gdLst>
                <a:gd name="T0" fmla="*/ 56 w 70"/>
                <a:gd name="T1" fmla="*/ 56 h 56"/>
                <a:gd name="T2" fmla="*/ 46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5 w 70"/>
                <a:gd name="T9" fmla="*/ 56 h 56"/>
                <a:gd name="T10" fmla="*/ 0 w 70"/>
                <a:gd name="T11" fmla="*/ 0 h 56"/>
                <a:gd name="T12" fmla="*/ 10 w 70"/>
                <a:gd name="T13" fmla="*/ 0 h 56"/>
                <a:gd name="T14" fmla="*/ 21 w 70"/>
                <a:gd name="T15" fmla="*/ 38 h 56"/>
                <a:gd name="T16" fmla="*/ 31 w 70"/>
                <a:gd name="T17" fmla="*/ 0 h 56"/>
                <a:gd name="T18" fmla="*/ 40 w 70"/>
                <a:gd name="T19" fmla="*/ 0 h 56"/>
                <a:gd name="T20" fmla="*/ 50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6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6" y="56"/>
                  </a:moveTo>
                  <a:lnTo>
                    <a:pt x="46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5" y="56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1" y="38"/>
                  </a:lnTo>
                  <a:lnTo>
                    <a:pt x="31" y="0"/>
                  </a:lnTo>
                  <a:lnTo>
                    <a:pt x="40" y="0"/>
                  </a:lnTo>
                  <a:lnTo>
                    <a:pt x="50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6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43" name="Freeform 61">
              <a:extLst>
                <a:ext uri="{FF2B5EF4-FFF2-40B4-BE49-F238E27FC236}">
                  <a16:creationId xmlns:a16="http://schemas.microsoft.com/office/drawing/2014/main" id="{79F75E0D-27A7-44C1-BF19-495F4768F99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859957" y="6418333"/>
              <a:ext cx="87186" cy="102879"/>
            </a:xfrm>
            <a:custGeom>
              <a:avLst/>
              <a:gdLst>
                <a:gd name="T0" fmla="*/ 34 w 34"/>
                <a:gd name="T1" fmla="*/ 20 h 40"/>
                <a:gd name="T2" fmla="*/ 33 w 34"/>
                <a:gd name="T3" fmla="*/ 28 h 40"/>
                <a:gd name="T4" fmla="*/ 29 w 34"/>
                <a:gd name="T5" fmla="*/ 35 h 40"/>
                <a:gd name="T6" fmla="*/ 24 w 34"/>
                <a:gd name="T7" fmla="*/ 39 h 40"/>
                <a:gd name="T8" fmla="*/ 17 w 34"/>
                <a:gd name="T9" fmla="*/ 40 h 40"/>
                <a:gd name="T10" fmla="*/ 10 w 34"/>
                <a:gd name="T11" fmla="*/ 39 h 40"/>
                <a:gd name="T12" fmla="*/ 5 w 34"/>
                <a:gd name="T13" fmla="*/ 35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2 h 40"/>
                <a:gd name="T20" fmla="*/ 5 w 34"/>
                <a:gd name="T21" fmla="*/ 5 h 40"/>
                <a:gd name="T22" fmla="*/ 11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2 h 40"/>
                <a:gd name="T32" fmla="*/ 34 w 34"/>
                <a:gd name="T33" fmla="*/ 20 h 40"/>
                <a:gd name="T34" fmla="*/ 27 w 34"/>
                <a:gd name="T35" fmla="*/ 20 h 40"/>
                <a:gd name="T36" fmla="*/ 26 w 34"/>
                <a:gd name="T37" fmla="*/ 15 h 40"/>
                <a:gd name="T38" fmla="*/ 24 w 34"/>
                <a:gd name="T39" fmla="*/ 11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1 h 40"/>
                <a:gd name="T48" fmla="*/ 8 w 34"/>
                <a:gd name="T49" fmla="*/ 15 h 40"/>
                <a:gd name="T50" fmla="*/ 8 w 34"/>
                <a:gd name="T51" fmla="*/ 20 h 40"/>
                <a:gd name="T52" fmla="*/ 8 w 34"/>
                <a:gd name="T53" fmla="*/ 26 h 40"/>
                <a:gd name="T54" fmla="*/ 10 w 34"/>
                <a:gd name="T55" fmla="*/ 30 h 40"/>
                <a:gd name="T56" fmla="*/ 13 w 34"/>
                <a:gd name="T57" fmla="*/ 32 h 40"/>
                <a:gd name="T58" fmla="*/ 17 w 34"/>
                <a:gd name="T59" fmla="*/ 33 h 40"/>
                <a:gd name="T60" fmla="*/ 21 w 34"/>
                <a:gd name="T61" fmla="*/ 32 h 40"/>
                <a:gd name="T62" fmla="*/ 24 w 34"/>
                <a:gd name="T63" fmla="*/ 29 h 40"/>
                <a:gd name="T64" fmla="*/ 26 w 34"/>
                <a:gd name="T65" fmla="*/ 25 h 40"/>
                <a:gd name="T66" fmla="*/ 27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20"/>
                  </a:moveTo>
                  <a:cubicBezTo>
                    <a:pt x="34" y="23"/>
                    <a:pt x="34" y="26"/>
                    <a:pt x="33" y="28"/>
                  </a:cubicBezTo>
                  <a:cubicBezTo>
                    <a:pt x="32" y="31"/>
                    <a:pt x="31" y="33"/>
                    <a:pt x="29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2" y="40"/>
                    <a:pt x="10" y="39"/>
                  </a:cubicBezTo>
                  <a:cubicBezTo>
                    <a:pt x="8" y="38"/>
                    <a:pt x="6" y="36"/>
                    <a:pt x="5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1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7" y="4"/>
                    <a:pt x="8" y="2"/>
                    <a:pt x="11" y="1"/>
                  </a:cubicBezTo>
                  <a:cubicBezTo>
                    <a:pt x="13" y="1"/>
                    <a:pt x="15" y="0"/>
                    <a:pt x="17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4" y="17"/>
                    <a:pt x="34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3" y="10"/>
                    <a:pt x="22" y="9"/>
                    <a:pt x="21" y="8"/>
                  </a:cubicBezTo>
                  <a:cubicBezTo>
                    <a:pt x="20" y="8"/>
                    <a:pt x="18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9" y="12"/>
                    <a:pt x="9" y="13"/>
                    <a:pt x="8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8" y="26"/>
                  </a:cubicBezTo>
                  <a:cubicBezTo>
                    <a:pt x="9" y="27"/>
                    <a:pt x="10" y="28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44" name="Freeform 62">
              <a:extLst>
                <a:ext uri="{FF2B5EF4-FFF2-40B4-BE49-F238E27FC236}">
                  <a16:creationId xmlns:a16="http://schemas.microsoft.com/office/drawing/2014/main" id="{E5B9E395-C74C-4D98-8911-EE2C765D8B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8067" y="6418333"/>
              <a:ext cx="57543" cy="101135"/>
            </a:xfrm>
            <a:custGeom>
              <a:avLst/>
              <a:gdLst>
                <a:gd name="T0" fmla="*/ 21 w 23"/>
                <a:gd name="T1" fmla="*/ 9 h 39"/>
                <a:gd name="T2" fmla="*/ 18 w 23"/>
                <a:gd name="T3" fmla="*/ 8 h 39"/>
                <a:gd name="T4" fmla="*/ 15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9 w 23"/>
                <a:gd name="T21" fmla="*/ 3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8" y="8"/>
                    <a:pt x="17" y="7"/>
                    <a:pt x="15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8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9" y="3"/>
                  </a:cubicBezTo>
                  <a:cubicBezTo>
                    <a:pt x="10" y="2"/>
                    <a:pt x="11" y="2"/>
                    <a:pt x="11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1"/>
                  </a:cubicBezTo>
                  <a:cubicBezTo>
                    <a:pt x="21" y="1"/>
                    <a:pt x="22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45" name="Freeform 63">
              <a:extLst>
                <a:ext uri="{FF2B5EF4-FFF2-40B4-BE49-F238E27FC236}">
                  <a16:creationId xmlns:a16="http://schemas.microsoft.com/office/drawing/2014/main" id="{53BB8418-388C-4142-9A80-8BF00A87F7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3046" y="6383459"/>
              <a:ext cx="19181" cy="136010"/>
            </a:xfrm>
            <a:custGeom>
              <a:avLst/>
              <a:gdLst>
                <a:gd name="T0" fmla="*/ 0 w 11"/>
                <a:gd name="T1" fmla="*/ 78 h 78"/>
                <a:gd name="T2" fmla="*/ 0 w 11"/>
                <a:gd name="T3" fmla="*/ 6 h 78"/>
                <a:gd name="T4" fmla="*/ 11 w 11"/>
                <a:gd name="T5" fmla="*/ 0 h 78"/>
                <a:gd name="T6" fmla="*/ 11 w 11"/>
                <a:gd name="T7" fmla="*/ 78 h 78"/>
                <a:gd name="T8" fmla="*/ 0 w 11"/>
                <a:gd name="T9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78">
                  <a:moveTo>
                    <a:pt x="0" y="78"/>
                  </a:moveTo>
                  <a:lnTo>
                    <a:pt x="0" y="6"/>
                  </a:lnTo>
                  <a:lnTo>
                    <a:pt x="11" y="0"/>
                  </a:lnTo>
                  <a:lnTo>
                    <a:pt x="11" y="78"/>
                  </a:lnTo>
                  <a:lnTo>
                    <a:pt x="0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46" name="Freeform 64">
              <a:extLst>
                <a:ext uri="{FF2B5EF4-FFF2-40B4-BE49-F238E27FC236}">
                  <a16:creationId xmlns:a16="http://schemas.microsoft.com/office/drawing/2014/main" id="{0256DB41-B3C1-4FEB-B394-9762C00E7F7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084896" y="6383459"/>
              <a:ext cx="80211" cy="137753"/>
            </a:xfrm>
            <a:custGeom>
              <a:avLst/>
              <a:gdLst>
                <a:gd name="T0" fmla="*/ 24 w 32"/>
                <a:gd name="T1" fmla="*/ 53 h 54"/>
                <a:gd name="T2" fmla="*/ 24 w 32"/>
                <a:gd name="T3" fmla="*/ 50 h 54"/>
                <a:gd name="T4" fmla="*/ 22 w 32"/>
                <a:gd name="T5" fmla="*/ 51 h 54"/>
                <a:gd name="T6" fmla="*/ 20 w 32"/>
                <a:gd name="T7" fmla="*/ 53 h 54"/>
                <a:gd name="T8" fmla="*/ 17 w 32"/>
                <a:gd name="T9" fmla="*/ 54 h 54"/>
                <a:gd name="T10" fmla="*/ 14 w 32"/>
                <a:gd name="T11" fmla="*/ 54 h 54"/>
                <a:gd name="T12" fmla="*/ 9 w 32"/>
                <a:gd name="T13" fmla="*/ 53 h 54"/>
                <a:gd name="T14" fmla="*/ 4 w 32"/>
                <a:gd name="T15" fmla="*/ 49 h 54"/>
                <a:gd name="T16" fmla="*/ 1 w 32"/>
                <a:gd name="T17" fmla="*/ 43 h 54"/>
                <a:gd name="T18" fmla="*/ 0 w 32"/>
                <a:gd name="T19" fmla="*/ 33 h 54"/>
                <a:gd name="T20" fmla="*/ 1 w 32"/>
                <a:gd name="T21" fmla="*/ 25 h 54"/>
                <a:gd name="T22" fmla="*/ 4 w 32"/>
                <a:gd name="T23" fmla="*/ 19 h 54"/>
                <a:gd name="T24" fmla="*/ 9 w 32"/>
                <a:gd name="T25" fmla="*/ 15 h 54"/>
                <a:gd name="T26" fmla="*/ 15 w 32"/>
                <a:gd name="T27" fmla="*/ 14 h 54"/>
                <a:gd name="T28" fmla="*/ 18 w 32"/>
                <a:gd name="T29" fmla="*/ 14 h 54"/>
                <a:gd name="T30" fmla="*/ 20 w 32"/>
                <a:gd name="T31" fmla="*/ 15 h 54"/>
                <a:gd name="T32" fmla="*/ 22 w 32"/>
                <a:gd name="T33" fmla="*/ 17 h 54"/>
                <a:gd name="T34" fmla="*/ 24 w 32"/>
                <a:gd name="T35" fmla="*/ 18 h 54"/>
                <a:gd name="T36" fmla="*/ 24 w 32"/>
                <a:gd name="T37" fmla="*/ 4 h 54"/>
                <a:gd name="T38" fmla="*/ 32 w 32"/>
                <a:gd name="T39" fmla="*/ 0 h 54"/>
                <a:gd name="T40" fmla="*/ 32 w 32"/>
                <a:gd name="T41" fmla="*/ 53 h 54"/>
                <a:gd name="T42" fmla="*/ 24 w 32"/>
                <a:gd name="T43" fmla="*/ 53 h 54"/>
                <a:gd name="T44" fmla="*/ 24 w 32"/>
                <a:gd name="T45" fmla="*/ 26 h 54"/>
                <a:gd name="T46" fmla="*/ 23 w 32"/>
                <a:gd name="T47" fmla="*/ 24 h 54"/>
                <a:gd name="T48" fmla="*/ 21 w 32"/>
                <a:gd name="T49" fmla="*/ 23 h 54"/>
                <a:gd name="T50" fmla="*/ 18 w 32"/>
                <a:gd name="T51" fmla="*/ 22 h 54"/>
                <a:gd name="T52" fmla="*/ 15 w 32"/>
                <a:gd name="T53" fmla="*/ 21 h 54"/>
                <a:gd name="T54" fmla="*/ 9 w 32"/>
                <a:gd name="T55" fmla="*/ 24 h 54"/>
                <a:gd name="T56" fmla="*/ 7 w 32"/>
                <a:gd name="T57" fmla="*/ 33 h 54"/>
                <a:gd name="T58" fmla="*/ 8 w 32"/>
                <a:gd name="T59" fmla="*/ 39 h 54"/>
                <a:gd name="T60" fmla="*/ 9 w 32"/>
                <a:gd name="T61" fmla="*/ 44 h 54"/>
                <a:gd name="T62" fmla="*/ 12 w 32"/>
                <a:gd name="T63" fmla="*/ 46 h 54"/>
                <a:gd name="T64" fmla="*/ 16 w 32"/>
                <a:gd name="T65" fmla="*/ 47 h 54"/>
                <a:gd name="T66" fmla="*/ 18 w 32"/>
                <a:gd name="T67" fmla="*/ 47 h 54"/>
                <a:gd name="T68" fmla="*/ 21 w 32"/>
                <a:gd name="T69" fmla="*/ 46 h 54"/>
                <a:gd name="T70" fmla="*/ 23 w 32"/>
                <a:gd name="T71" fmla="*/ 44 h 54"/>
                <a:gd name="T72" fmla="*/ 24 w 32"/>
                <a:gd name="T73" fmla="*/ 42 h 54"/>
                <a:gd name="T74" fmla="*/ 24 w 32"/>
                <a:gd name="T75" fmla="*/ 2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2" h="54">
                  <a:moveTo>
                    <a:pt x="24" y="53"/>
                  </a:moveTo>
                  <a:cubicBezTo>
                    <a:pt x="24" y="50"/>
                    <a:pt x="24" y="50"/>
                    <a:pt x="24" y="50"/>
                  </a:cubicBezTo>
                  <a:cubicBezTo>
                    <a:pt x="24" y="50"/>
                    <a:pt x="23" y="51"/>
                    <a:pt x="22" y="51"/>
                  </a:cubicBezTo>
                  <a:cubicBezTo>
                    <a:pt x="21" y="52"/>
                    <a:pt x="21" y="52"/>
                    <a:pt x="20" y="53"/>
                  </a:cubicBezTo>
                  <a:cubicBezTo>
                    <a:pt x="19" y="53"/>
                    <a:pt x="18" y="54"/>
                    <a:pt x="17" y="54"/>
                  </a:cubicBezTo>
                  <a:cubicBezTo>
                    <a:pt x="16" y="54"/>
                    <a:pt x="15" y="54"/>
                    <a:pt x="14" y="54"/>
                  </a:cubicBezTo>
                  <a:cubicBezTo>
                    <a:pt x="12" y="54"/>
                    <a:pt x="10" y="54"/>
                    <a:pt x="9" y="53"/>
                  </a:cubicBezTo>
                  <a:cubicBezTo>
                    <a:pt x="7" y="52"/>
                    <a:pt x="5" y="51"/>
                    <a:pt x="4" y="49"/>
                  </a:cubicBezTo>
                  <a:cubicBezTo>
                    <a:pt x="3" y="48"/>
                    <a:pt x="1" y="45"/>
                    <a:pt x="1" y="43"/>
                  </a:cubicBezTo>
                  <a:cubicBezTo>
                    <a:pt x="0" y="40"/>
                    <a:pt x="0" y="37"/>
                    <a:pt x="0" y="33"/>
                  </a:cubicBezTo>
                  <a:cubicBezTo>
                    <a:pt x="0" y="30"/>
                    <a:pt x="0" y="27"/>
                    <a:pt x="1" y="25"/>
                  </a:cubicBezTo>
                  <a:cubicBezTo>
                    <a:pt x="2" y="22"/>
                    <a:pt x="3" y="20"/>
                    <a:pt x="4" y="19"/>
                  </a:cubicBezTo>
                  <a:cubicBezTo>
                    <a:pt x="6" y="17"/>
                    <a:pt x="7" y="16"/>
                    <a:pt x="9" y="15"/>
                  </a:cubicBezTo>
                  <a:cubicBezTo>
                    <a:pt x="11" y="14"/>
                    <a:pt x="13" y="14"/>
                    <a:pt x="15" y="14"/>
                  </a:cubicBezTo>
                  <a:cubicBezTo>
                    <a:pt x="16" y="14"/>
                    <a:pt x="17" y="14"/>
                    <a:pt x="18" y="14"/>
                  </a:cubicBezTo>
                  <a:cubicBezTo>
                    <a:pt x="18" y="15"/>
                    <a:pt x="19" y="15"/>
                    <a:pt x="20" y="15"/>
                  </a:cubicBezTo>
                  <a:cubicBezTo>
                    <a:pt x="21" y="16"/>
                    <a:pt x="22" y="16"/>
                    <a:pt x="22" y="17"/>
                  </a:cubicBezTo>
                  <a:cubicBezTo>
                    <a:pt x="23" y="17"/>
                    <a:pt x="24" y="18"/>
                    <a:pt x="24" y="18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53"/>
                    <a:pt x="32" y="53"/>
                    <a:pt x="32" y="53"/>
                  </a:cubicBezTo>
                  <a:lnTo>
                    <a:pt x="24" y="53"/>
                  </a:lnTo>
                  <a:close/>
                  <a:moveTo>
                    <a:pt x="24" y="26"/>
                  </a:moveTo>
                  <a:cubicBezTo>
                    <a:pt x="24" y="26"/>
                    <a:pt x="23" y="25"/>
                    <a:pt x="23" y="24"/>
                  </a:cubicBezTo>
                  <a:cubicBezTo>
                    <a:pt x="22" y="24"/>
                    <a:pt x="22" y="23"/>
                    <a:pt x="21" y="23"/>
                  </a:cubicBezTo>
                  <a:cubicBezTo>
                    <a:pt x="20" y="22"/>
                    <a:pt x="19" y="22"/>
                    <a:pt x="18" y="22"/>
                  </a:cubicBezTo>
                  <a:cubicBezTo>
                    <a:pt x="17" y="21"/>
                    <a:pt x="16" y="21"/>
                    <a:pt x="15" y="21"/>
                  </a:cubicBezTo>
                  <a:cubicBezTo>
                    <a:pt x="13" y="21"/>
                    <a:pt x="11" y="22"/>
                    <a:pt x="9" y="24"/>
                  </a:cubicBezTo>
                  <a:cubicBezTo>
                    <a:pt x="8" y="26"/>
                    <a:pt x="7" y="29"/>
                    <a:pt x="7" y="33"/>
                  </a:cubicBezTo>
                  <a:cubicBezTo>
                    <a:pt x="7" y="36"/>
                    <a:pt x="7" y="38"/>
                    <a:pt x="8" y="39"/>
                  </a:cubicBezTo>
                  <a:cubicBezTo>
                    <a:pt x="8" y="41"/>
                    <a:pt x="9" y="43"/>
                    <a:pt x="9" y="44"/>
                  </a:cubicBezTo>
                  <a:cubicBezTo>
                    <a:pt x="10" y="45"/>
                    <a:pt x="11" y="46"/>
                    <a:pt x="12" y="46"/>
                  </a:cubicBezTo>
                  <a:cubicBezTo>
                    <a:pt x="13" y="47"/>
                    <a:pt x="14" y="47"/>
                    <a:pt x="16" y="47"/>
                  </a:cubicBezTo>
                  <a:cubicBezTo>
                    <a:pt x="17" y="47"/>
                    <a:pt x="18" y="47"/>
                    <a:pt x="18" y="47"/>
                  </a:cubicBezTo>
                  <a:cubicBezTo>
                    <a:pt x="19" y="46"/>
                    <a:pt x="20" y="46"/>
                    <a:pt x="21" y="46"/>
                  </a:cubicBezTo>
                  <a:cubicBezTo>
                    <a:pt x="21" y="45"/>
                    <a:pt x="22" y="45"/>
                    <a:pt x="23" y="44"/>
                  </a:cubicBezTo>
                  <a:cubicBezTo>
                    <a:pt x="23" y="43"/>
                    <a:pt x="24" y="43"/>
                    <a:pt x="24" y="42"/>
                  </a:cubicBezTo>
                  <a:lnTo>
                    <a:pt x="24" y="2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47" name="Freeform 65">
              <a:extLst>
                <a:ext uri="{FF2B5EF4-FFF2-40B4-BE49-F238E27FC236}">
                  <a16:creationId xmlns:a16="http://schemas.microsoft.com/office/drawing/2014/main" id="{F2BC9C1F-3F30-47A6-B503-20FB179B7F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29624" y="6421821"/>
              <a:ext cx="122060" cy="97648"/>
            </a:xfrm>
            <a:custGeom>
              <a:avLst/>
              <a:gdLst>
                <a:gd name="T0" fmla="*/ 55 w 70"/>
                <a:gd name="T1" fmla="*/ 56 h 56"/>
                <a:gd name="T2" fmla="*/ 45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6 w 70"/>
                <a:gd name="T9" fmla="*/ 56 h 56"/>
                <a:gd name="T10" fmla="*/ 0 w 70"/>
                <a:gd name="T11" fmla="*/ 0 h 56"/>
                <a:gd name="T12" fmla="*/ 12 w 70"/>
                <a:gd name="T13" fmla="*/ 0 h 56"/>
                <a:gd name="T14" fmla="*/ 20 w 70"/>
                <a:gd name="T15" fmla="*/ 38 h 56"/>
                <a:gd name="T16" fmla="*/ 31 w 70"/>
                <a:gd name="T17" fmla="*/ 0 h 56"/>
                <a:gd name="T18" fmla="*/ 39 w 70"/>
                <a:gd name="T19" fmla="*/ 0 h 56"/>
                <a:gd name="T20" fmla="*/ 51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5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5" y="56"/>
                  </a:moveTo>
                  <a:lnTo>
                    <a:pt x="45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6" y="56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0" y="38"/>
                  </a:lnTo>
                  <a:lnTo>
                    <a:pt x="31" y="0"/>
                  </a:lnTo>
                  <a:lnTo>
                    <a:pt x="39" y="0"/>
                  </a:lnTo>
                  <a:lnTo>
                    <a:pt x="51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48" name="Freeform 66">
              <a:extLst>
                <a:ext uri="{FF2B5EF4-FFF2-40B4-BE49-F238E27FC236}">
                  <a16:creationId xmlns:a16="http://schemas.microsoft.com/office/drawing/2014/main" id="{F2E1921C-CA0E-4886-93CA-956A6497CF0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62147" y="6418333"/>
              <a:ext cx="88930" cy="102879"/>
            </a:xfrm>
            <a:custGeom>
              <a:avLst/>
              <a:gdLst>
                <a:gd name="T0" fmla="*/ 35 w 35"/>
                <a:gd name="T1" fmla="*/ 20 h 40"/>
                <a:gd name="T2" fmla="*/ 33 w 35"/>
                <a:gd name="T3" fmla="*/ 28 h 40"/>
                <a:gd name="T4" fmla="*/ 30 w 35"/>
                <a:gd name="T5" fmla="*/ 35 h 40"/>
                <a:gd name="T6" fmla="*/ 24 w 35"/>
                <a:gd name="T7" fmla="*/ 39 h 40"/>
                <a:gd name="T8" fmla="*/ 17 w 35"/>
                <a:gd name="T9" fmla="*/ 40 h 40"/>
                <a:gd name="T10" fmla="*/ 11 w 35"/>
                <a:gd name="T11" fmla="*/ 39 h 40"/>
                <a:gd name="T12" fmla="*/ 5 w 35"/>
                <a:gd name="T13" fmla="*/ 35 h 40"/>
                <a:gd name="T14" fmla="*/ 2 w 35"/>
                <a:gd name="T15" fmla="*/ 28 h 40"/>
                <a:gd name="T16" fmla="*/ 0 w 35"/>
                <a:gd name="T17" fmla="*/ 20 h 40"/>
                <a:gd name="T18" fmla="*/ 2 w 35"/>
                <a:gd name="T19" fmla="*/ 12 h 40"/>
                <a:gd name="T20" fmla="*/ 5 w 35"/>
                <a:gd name="T21" fmla="*/ 5 h 40"/>
                <a:gd name="T22" fmla="*/ 11 w 35"/>
                <a:gd name="T23" fmla="*/ 1 h 40"/>
                <a:gd name="T24" fmla="*/ 18 w 35"/>
                <a:gd name="T25" fmla="*/ 0 h 40"/>
                <a:gd name="T26" fmla="*/ 24 w 35"/>
                <a:gd name="T27" fmla="*/ 1 h 40"/>
                <a:gd name="T28" fmla="*/ 30 w 35"/>
                <a:gd name="T29" fmla="*/ 5 h 40"/>
                <a:gd name="T30" fmla="*/ 33 w 35"/>
                <a:gd name="T31" fmla="*/ 12 h 40"/>
                <a:gd name="T32" fmla="*/ 35 w 35"/>
                <a:gd name="T33" fmla="*/ 20 h 40"/>
                <a:gd name="T34" fmla="*/ 27 w 35"/>
                <a:gd name="T35" fmla="*/ 20 h 40"/>
                <a:gd name="T36" fmla="*/ 26 w 35"/>
                <a:gd name="T37" fmla="*/ 15 h 40"/>
                <a:gd name="T38" fmla="*/ 24 w 35"/>
                <a:gd name="T39" fmla="*/ 11 h 40"/>
                <a:gd name="T40" fmla="*/ 21 w 35"/>
                <a:gd name="T41" fmla="*/ 8 h 40"/>
                <a:gd name="T42" fmla="*/ 17 w 35"/>
                <a:gd name="T43" fmla="*/ 7 h 40"/>
                <a:gd name="T44" fmla="*/ 13 w 35"/>
                <a:gd name="T45" fmla="*/ 8 h 40"/>
                <a:gd name="T46" fmla="*/ 10 w 35"/>
                <a:gd name="T47" fmla="*/ 11 h 40"/>
                <a:gd name="T48" fmla="*/ 9 w 35"/>
                <a:gd name="T49" fmla="*/ 15 h 40"/>
                <a:gd name="T50" fmla="*/ 8 w 35"/>
                <a:gd name="T51" fmla="*/ 20 h 40"/>
                <a:gd name="T52" fmla="*/ 9 w 35"/>
                <a:gd name="T53" fmla="*/ 26 h 40"/>
                <a:gd name="T54" fmla="*/ 11 w 35"/>
                <a:gd name="T55" fmla="*/ 30 h 40"/>
                <a:gd name="T56" fmla="*/ 14 w 35"/>
                <a:gd name="T57" fmla="*/ 32 h 40"/>
                <a:gd name="T58" fmla="*/ 18 w 35"/>
                <a:gd name="T59" fmla="*/ 33 h 40"/>
                <a:gd name="T60" fmla="*/ 21 w 35"/>
                <a:gd name="T61" fmla="*/ 32 h 40"/>
                <a:gd name="T62" fmla="*/ 24 w 35"/>
                <a:gd name="T63" fmla="*/ 29 h 40"/>
                <a:gd name="T64" fmla="*/ 26 w 35"/>
                <a:gd name="T65" fmla="*/ 25 h 40"/>
                <a:gd name="T66" fmla="*/ 27 w 35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5" h="40">
                  <a:moveTo>
                    <a:pt x="35" y="20"/>
                  </a:moveTo>
                  <a:cubicBezTo>
                    <a:pt x="35" y="23"/>
                    <a:pt x="34" y="26"/>
                    <a:pt x="33" y="28"/>
                  </a:cubicBezTo>
                  <a:cubicBezTo>
                    <a:pt x="32" y="31"/>
                    <a:pt x="31" y="33"/>
                    <a:pt x="30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3" y="40"/>
                    <a:pt x="11" y="39"/>
                  </a:cubicBezTo>
                  <a:cubicBezTo>
                    <a:pt x="8" y="38"/>
                    <a:pt x="7" y="36"/>
                    <a:pt x="5" y="35"/>
                  </a:cubicBezTo>
                  <a:cubicBezTo>
                    <a:pt x="4" y="33"/>
                    <a:pt x="2" y="31"/>
                    <a:pt x="2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3" y="9"/>
                    <a:pt x="4" y="7"/>
                    <a:pt x="5" y="5"/>
                  </a:cubicBezTo>
                  <a:cubicBezTo>
                    <a:pt x="7" y="4"/>
                    <a:pt x="9" y="2"/>
                    <a:pt x="11" y="1"/>
                  </a:cubicBezTo>
                  <a:cubicBezTo>
                    <a:pt x="13" y="1"/>
                    <a:pt x="15" y="0"/>
                    <a:pt x="18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30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5" y="17"/>
                    <a:pt x="35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4" y="10"/>
                    <a:pt x="23" y="9"/>
                    <a:pt x="21" y="8"/>
                  </a:cubicBezTo>
                  <a:cubicBezTo>
                    <a:pt x="20" y="8"/>
                    <a:pt x="19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10" y="12"/>
                    <a:pt x="9" y="13"/>
                    <a:pt x="9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9" y="26"/>
                  </a:cubicBezTo>
                  <a:cubicBezTo>
                    <a:pt x="9" y="27"/>
                    <a:pt x="10" y="28"/>
                    <a:pt x="11" y="30"/>
                  </a:cubicBezTo>
                  <a:cubicBezTo>
                    <a:pt x="11" y="31"/>
                    <a:pt x="12" y="32"/>
                    <a:pt x="14" y="32"/>
                  </a:cubicBezTo>
                  <a:cubicBezTo>
                    <a:pt x="15" y="33"/>
                    <a:pt x="16" y="33"/>
                    <a:pt x="18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3" y="31"/>
                    <a:pt x="24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49" name="Freeform 67">
              <a:extLst>
                <a:ext uri="{FF2B5EF4-FFF2-40B4-BE49-F238E27FC236}">
                  <a16:creationId xmlns:a16="http://schemas.microsoft.com/office/drawing/2014/main" id="{33147323-CD74-4B45-8B3D-9FC2D6ABC4D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68514" y="6418333"/>
              <a:ext cx="59286" cy="101135"/>
            </a:xfrm>
            <a:custGeom>
              <a:avLst/>
              <a:gdLst>
                <a:gd name="T0" fmla="*/ 21 w 23"/>
                <a:gd name="T1" fmla="*/ 9 h 39"/>
                <a:gd name="T2" fmla="*/ 19 w 23"/>
                <a:gd name="T3" fmla="*/ 8 h 39"/>
                <a:gd name="T4" fmla="*/ 16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10 w 23"/>
                <a:gd name="T21" fmla="*/ 3 h 39"/>
                <a:gd name="T22" fmla="*/ 12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1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20" y="8"/>
                    <a:pt x="19" y="8"/>
                  </a:cubicBezTo>
                  <a:cubicBezTo>
                    <a:pt x="18" y="8"/>
                    <a:pt x="17" y="7"/>
                    <a:pt x="16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9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10" y="3"/>
                  </a:cubicBezTo>
                  <a:cubicBezTo>
                    <a:pt x="10" y="2"/>
                    <a:pt x="11" y="2"/>
                    <a:pt x="12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20" y="0"/>
                    <a:pt x="21" y="1"/>
                  </a:cubicBezTo>
                  <a:cubicBezTo>
                    <a:pt x="22" y="1"/>
                    <a:pt x="23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50" name="Freeform 68">
              <a:extLst>
                <a:ext uri="{FF2B5EF4-FFF2-40B4-BE49-F238E27FC236}">
                  <a16:creationId xmlns:a16="http://schemas.microsoft.com/office/drawing/2014/main" id="{646502BE-8655-4E99-B8D3-19E6C1D2B9F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5237" y="6383459"/>
              <a:ext cx="76723" cy="136010"/>
            </a:xfrm>
            <a:custGeom>
              <a:avLst/>
              <a:gdLst>
                <a:gd name="T0" fmla="*/ 31 w 44"/>
                <a:gd name="T1" fmla="*/ 78 h 78"/>
                <a:gd name="T2" fmla="*/ 19 w 44"/>
                <a:gd name="T3" fmla="*/ 50 h 78"/>
                <a:gd name="T4" fmla="*/ 10 w 44"/>
                <a:gd name="T5" fmla="*/ 61 h 78"/>
                <a:gd name="T6" fmla="*/ 10 w 44"/>
                <a:gd name="T7" fmla="*/ 78 h 78"/>
                <a:gd name="T8" fmla="*/ 0 w 44"/>
                <a:gd name="T9" fmla="*/ 78 h 78"/>
                <a:gd name="T10" fmla="*/ 0 w 44"/>
                <a:gd name="T11" fmla="*/ 6 h 78"/>
                <a:gd name="T12" fmla="*/ 10 w 44"/>
                <a:gd name="T13" fmla="*/ 0 h 78"/>
                <a:gd name="T14" fmla="*/ 10 w 44"/>
                <a:gd name="T15" fmla="*/ 47 h 78"/>
                <a:gd name="T16" fmla="*/ 28 w 44"/>
                <a:gd name="T17" fmla="*/ 22 h 78"/>
                <a:gd name="T18" fmla="*/ 41 w 44"/>
                <a:gd name="T19" fmla="*/ 22 h 78"/>
                <a:gd name="T20" fmla="*/ 26 w 44"/>
                <a:gd name="T21" fmla="*/ 41 h 78"/>
                <a:gd name="T22" fmla="*/ 44 w 44"/>
                <a:gd name="T23" fmla="*/ 78 h 78"/>
                <a:gd name="T24" fmla="*/ 31 w 44"/>
                <a:gd name="T25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4" h="78">
                  <a:moveTo>
                    <a:pt x="31" y="78"/>
                  </a:moveTo>
                  <a:lnTo>
                    <a:pt x="19" y="50"/>
                  </a:lnTo>
                  <a:lnTo>
                    <a:pt x="10" y="61"/>
                  </a:lnTo>
                  <a:lnTo>
                    <a:pt x="10" y="78"/>
                  </a:lnTo>
                  <a:lnTo>
                    <a:pt x="0" y="78"/>
                  </a:lnTo>
                  <a:lnTo>
                    <a:pt x="0" y="6"/>
                  </a:lnTo>
                  <a:lnTo>
                    <a:pt x="10" y="0"/>
                  </a:lnTo>
                  <a:lnTo>
                    <a:pt x="10" y="47"/>
                  </a:lnTo>
                  <a:lnTo>
                    <a:pt x="28" y="22"/>
                  </a:lnTo>
                  <a:lnTo>
                    <a:pt x="41" y="22"/>
                  </a:lnTo>
                  <a:lnTo>
                    <a:pt x="26" y="41"/>
                  </a:lnTo>
                  <a:lnTo>
                    <a:pt x="44" y="78"/>
                  </a:lnTo>
                  <a:lnTo>
                    <a:pt x="31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51" name="Freeform 69">
              <a:extLst>
                <a:ext uri="{FF2B5EF4-FFF2-40B4-BE49-F238E27FC236}">
                  <a16:creationId xmlns:a16="http://schemas.microsoft.com/office/drawing/2014/main" id="{7B89F1B5-6B06-45D2-838B-039A44EFFD1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28936" y="6418333"/>
              <a:ext cx="74980" cy="102879"/>
            </a:xfrm>
            <a:custGeom>
              <a:avLst/>
              <a:gdLst>
                <a:gd name="T0" fmla="*/ 28 w 29"/>
                <a:gd name="T1" fmla="*/ 4 h 40"/>
                <a:gd name="T2" fmla="*/ 25 w 29"/>
                <a:gd name="T3" fmla="*/ 10 h 40"/>
                <a:gd name="T4" fmla="*/ 20 w 29"/>
                <a:gd name="T5" fmla="*/ 8 h 40"/>
                <a:gd name="T6" fmla="*/ 15 w 29"/>
                <a:gd name="T7" fmla="*/ 7 h 40"/>
                <a:gd name="T8" fmla="*/ 11 w 29"/>
                <a:gd name="T9" fmla="*/ 8 h 40"/>
                <a:gd name="T10" fmla="*/ 9 w 29"/>
                <a:gd name="T11" fmla="*/ 10 h 40"/>
                <a:gd name="T12" fmla="*/ 10 w 29"/>
                <a:gd name="T13" fmla="*/ 12 h 40"/>
                <a:gd name="T14" fmla="*/ 11 w 29"/>
                <a:gd name="T15" fmla="*/ 13 h 40"/>
                <a:gd name="T16" fmla="*/ 13 w 29"/>
                <a:gd name="T17" fmla="*/ 14 h 40"/>
                <a:gd name="T18" fmla="*/ 17 w 29"/>
                <a:gd name="T19" fmla="*/ 16 h 40"/>
                <a:gd name="T20" fmla="*/ 22 w 29"/>
                <a:gd name="T21" fmla="*/ 18 h 40"/>
                <a:gd name="T22" fmla="*/ 26 w 29"/>
                <a:gd name="T23" fmla="*/ 21 h 40"/>
                <a:gd name="T24" fmla="*/ 29 w 29"/>
                <a:gd name="T25" fmla="*/ 24 h 40"/>
                <a:gd name="T26" fmla="*/ 29 w 29"/>
                <a:gd name="T27" fmla="*/ 29 h 40"/>
                <a:gd name="T28" fmla="*/ 28 w 29"/>
                <a:gd name="T29" fmla="*/ 34 h 40"/>
                <a:gd name="T30" fmla="*/ 25 w 29"/>
                <a:gd name="T31" fmla="*/ 38 h 40"/>
                <a:gd name="T32" fmla="*/ 21 w 29"/>
                <a:gd name="T33" fmla="*/ 40 h 40"/>
                <a:gd name="T34" fmla="*/ 15 w 29"/>
                <a:gd name="T35" fmla="*/ 40 h 40"/>
                <a:gd name="T36" fmla="*/ 7 w 29"/>
                <a:gd name="T37" fmla="*/ 39 h 40"/>
                <a:gd name="T38" fmla="*/ 0 w 29"/>
                <a:gd name="T39" fmla="*/ 35 h 40"/>
                <a:gd name="T40" fmla="*/ 4 w 29"/>
                <a:gd name="T41" fmla="*/ 30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20 w 29"/>
                <a:gd name="T53" fmla="*/ 26 h 40"/>
                <a:gd name="T54" fmla="*/ 17 w 29"/>
                <a:gd name="T55" fmla="*/ 24 h 40"/>
                <a:gd name="T56" fmla="*/ 13 w 29"/>
                <a:gd name="T57" fmla="*/ 23 h 40"/>
                <a:gd name="T58" fmla="*/ 8 w 29"/>
                <a:gd name="T59" fmla="*/ 20 h 40"/>
                <a:gd name="T60" fmla="*/ 4 w 29"/>
                <a:gd name="T61" fmla="*/ 18 h 40"/>
                <a:gd name="T62" fmla="*/ 2 w 29"/>
                <a:gd name="T63" fmla="*/ 15 h 40"/>
                <a:gd name="T64" fmla="*/ 2 w 29"/>
                <a:gd name="T65" fmla="*/ 11 h 40"/>
                <a:gd name="T66" fmla="*/ 3 w 29"/>
                <a:gd name="T67" fmla="*/ 6 h 40"/>
                <a:gd name="T68" fmla="*/ 6 w 29"/>
                <a:gd name="T69" fmla="*/ 3 h 40"/>
                <a:gd name="T70" fmla="*/ 10 w 29"/>
                <a:gd name="T71" fmla="*/ 1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5" y="10"/>
                    <a:pt x="25" y="10"/>
                    <a:pt x="25" y="10"/>
                  </a:cubicBezTo>
                  <a:cubicBezTo>
                    <a:pt x="23" y="9"/>
                    <a:pt x="22" y="8"/>
                    <a:pt x="20" y="8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2" y="7"/>
                    <a:pt x="11" y="8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1"/>
                    <a:pt x="10" y="11"/>
                    <a:pt x="10" y="12"/>
                  </a:cubicBezTo>
                  <a:cubicBezTo>
                    <a:pt x="10" y="12"/>
                    <a:pt x="10" y="13"/>
                    <a:pt x="11" y="13"/>
                  </a:cubicBezTo>
                  <a:cubicBezTo>
                    <a:pt x="11" y="13"/>
                    <a:pt x="12" y="14"/>
                    <a:pt x="13" y="14"/>
                  </a:cubicBezTo>
                  <a:cubicBezTo>
                    <a:pt x="14" y="15"/>
                    <a:pt x="15" y="15"/>
                    <a:pt x="17" y="16"/>
                  </a:cubicBezTo>
                  <a:cubicBezTo>
                    <a:pt x="19" y="17"/>
                    <a:pt x="21" y="18"/>
                    <a:pt x="22" y="18"/>
                  </a:cubicBezTo>
                  <a:cubicBezTo>
                    <a:pt x="24" y="19"/>
                    <a:pt x="25" y="20"/>
                    <a:pt x="26" y="21"/>
                  </a:cubicBezTo>
                  <a:cubicBezTo>
                    <a:pt x="27" y="22"/>
                    <a:pt x="28" y="23"/>
                    <a:pt x="29" y="24"/>
                  </a:cubicBezTo>
                  <a:cubicBezTo>
                    <a:pt x="29" y="25"/>
                    <a:pt x="29" y="27"/>
                    <a:pt x="29" y="29"/>
                  </a:cubicBezTo>
                  <a:cubicBezTo>
                    <a:pt x="29" y="31"/>
                    <a:pt x="29" y="33"/>
                    <a:pt x="28" y="34"/>
                  </a:cubicBezTo>
                  <a:cubicBezTo>
                    <a:pt x="28" y="36"/>
                    <a:pt x="26" y="37"/>
                    <a:pt x="25" y="38"/>
                  </a:cubicBezTo>
                  <a:cubicBezTo>
                    <a:pt x="24" y="39"/>
                    <a:pt x="22" y="39"/>
                    <a:pt x="21" y="40"/>
                  </a:cubicBezTo>
                  <a:cubicBezTo>
                    <a:pt x="19" y="40"/>
                    <a:pt x="17" y="40"/>
                    <a:pt x="15" y="40"/>
                  </a:cubicBezTo>
                  <a:cubicBezTo>
                    <a:pt x="13" y="40"/>
                    <a:pt x="10" y="40"/>
                    <a:pt x="7" y="39"/>
                  </a:cubicBezTo>
                  <a:cubicBezTo>
                    <a:pt x="5" y="38"/>
                    <a:pt x="2" y="37"/>
                    <a:pt x="0" y="35"/>
                  </a:cubicBezTo>
                  <a:cubicBezTo>
                    <a:pt x="4" y="30"/>
                    <a:pt x="4" y="30"/>
                    <a:pt x="4" y="30"/>
                  </a:cubicBezTo>
                  <a:cubicBezTo>
                    <a:pt x="6" y="31"/>
                    <a:pt x="7" y="32"/>
                    <a:pt x="9" y="32"/>
                  </a:cubicBezTo>
                  <a:cubicBezTo>
                    <a:pt x="11" y="33"/>
                    <a:pt x="13" y="33"/>
                    <a:pt x="15" y="33"/>
                  </a:cubicBezTo>
                  <a:cubicBezTo>
                    <a:pt x="17" y="33"/>
                    <a:pt x="19" y="33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8"/>
                    <a:pt x="21" y="27"/>
                  </a:cubicBezTo>
                  <a:cubicBezTo>
                    <a:pt x="21" y="27"/>
                    <a:pt x="20" y="26"/>
                    <a:pt x="20" y="26"/>
                  </a:cubicBezTo>
                  <a:cubicBezTo>
                    <a:pt x="19" y="25"/>
                    <a:pt x="18" y="25"/>
                    <a:pt x="17" y="24"/>
                  </a:cubicBezTo>
                  <a:cubicBezTo>
                    <a:pt x="16" y="24"/>
                    <a:pt x="15" y="23"/>
                    <a:pt x="13" y="23"/>
                  </a:cubicBezTo>
                  <a:cubicBezTo>
                    <a:pt x="11" y="22"/>
                    <a:pt x="9" y="21"/>
                    <a:pt x="8" y="20"/>
                  </a:cubicBezTo>
                  <a:cubicBezTo>
                    <a:pt x="6" y="19"/>
                    <a:pt x="5" y="19"/>
                    <a:pt x="4" y="18"/>
                  </a:cubicBezTo>
                  <a:cubicBezTo>
                    <a:pt x="3" y="17"/>
                    <a:pt x="3" y="16"/>
                    <a:pt x="2" y="15"/>
                  </a:cubicBezTo>
                  <a:cubicBezTo>
                    <a:pt x="2" y="13"/>
                    <a:pt x="2" y="12"/>
                    <a:pt x="2" y="11"/>
                  </a:cubicBezTo>
                  <a:cubicBezTo>
                    <a:pt x="2" y="9"/>
                    <a:pt x="2" y="7"/>
                    <a:pt x="3" y="6"/>
                  </a:cubicBezTo>
                  <a:cubicBezTo>
                    <a:pt x="3" y="5"/>
                    <a:pt x="4" y="4"/>
                    <a:pt x="6" y="3"/>
                  </a:cubicBezTo>
                  <a:cubicBezTo>
                    <a:pt x="7" y="2"/>
                    <a:pt x="8" y="1"/>
                    <a:pt x="10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20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52" name="Freeform 70">
              <a:extLst>
                <a:ext uri="{FF2B5EF4-FFF2-40B4-BE49-F238E27FC236}">
                  <a16:creationId xmlns:a16="http://schemas.microsoft.com/office/drawing/2014/main" id="{07A005EC-C937-4146-8D02-C00C5931EB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23096" y="6489826"/>
              <a:ext cx="27899" cy="31387"/>
            </a:xfrm>
            <a:custGeom>
              <a:avLst/>
              <a:gdLst>
                <a:gd name="T0" fmla="*/ 11 w 11"/>
                <a:gd name="T1" fmla="*/ 6 h 12"/>
                <a:gd name="T2" fmla="*/ 11 w 11"/>
                <a:gd name="T3" fmla="*/ 9 h 12"/>
                <a:gd name="T4" fmla="*/ 10 w 11"/>
                <a:gd name="T5" fmla="*/ 10 h 12"/>
                <a:gd name="T6" fmla="*/ 8 w 11"/>
                <a:gd name="T7" fmla="*/ 12 h 12"/>
                <a:gd name="T8" fmla="*/ 6 w 11"/>
                <a:gd name="T9" fmla="*/ 12 h 12"/>
                <a:gd name="T10" fmla="*/ 3 w 11"/>
                <a:gd name="T11" fmla="*/ 12 h 12"/>
                <a:gd name="T12" fmla="*/ 1 w 11"/>
                <a:gd name="T13" fmla="*/ 10 h 12"/>
                <a:gd name="T14" fmla="*/ 0 w 11"/>
                <a:gd name="T15" fmla="*/ 9 h 12"/>
                <a:gd name="T16" fmla="*/ 0 w 11"/>
                <a:gd name="T17" fmla="*/ 6 h 12"/>
                <a:gd name="T18" fmla="*/ 0 w 11"/>
                <a:gd name="T19" fmla="*/ 4 h 12"/>
                <a:gd name="T20" fmla="*/ 1 w 11"/>
                <a:gd name="T21" fmla="*/ 2 h 12"/>
                <a:gd name="T22" fmla="*/ 3 w 11"/>
                <a:gd name="T23" fmla="*/ 1 h 12"/>
                <a:gd name="T24" fmla="*/ 6 w 11"/>
                <a:gd name="T25" fmla="*/ 0 h 12"/>
                <a:gd name="T26" fmla="*/ 8 w 11"/>
                <a:gd name="T27" fmla="*/ 1 h 12"/>
                <a:gd name="T28" fmla="*/ 10 w 11"/>
                <a:gd name="T29" fmla="*/ 2 h 12"/>
                <a:gd name="T30" fmla="*/ 11 w 11"/>
                <a:gd name="T31" fmla="*/ 4 h 12"/>
                <a:gd name="T32" fmla="*/ 11 w 11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" h="12">
                  <a:moveTo>
                    <a:pt x="11" y="6"/>
                  </a:moveTo>
                  <a:cubicBezTo>
                    <a:pt x="11" y="7"/>
                    <a:pt x="11" y="8"/>
                    <a:pt x="11" y="9"/>
                  </a:cubicBezTo>
                  <a:cubicBezTo>
                    <a:pt x="11" y="9"/>
                    <a:pt x="10" y="10"/>
                    <a:pt x="10" y="10"/>
                  </a:cubicBezTo>
                  <a:cubicBezTo>
                    <a:pt x="9" y="11"/>
                    <a:pt x="9" y="11"/>
                    <a:pt x="8" y="12"/>
                  </a:cubicBezTo>
                  <a:cubicBezTo>
                    <a:pt x="7" y="12"/>
                    <a:pt x="6" y="12"/>
                    <a:pt x="6" y="12"/>
                  </a:cubicBezTo>
                  <a:cubicBezTo>
                    <a:pt x="5" y="12"/>
                    <a:pt x="4" y="12"/>
                    <a:pt x="3" y="12"/>
                  </a:cubicBezTo>
                  <a:cubicBezTo>
                    <a:pt x="3" y="11"/>
                    <a:pt x="2" y="11"/>
                    <a:pt x="1" y="10"/>
                  </a:cubicBezTo>
                  <a:cubicBezTo>
                    <a:pt x="1" y="10"/>
                    <a:pt x="1" y="9"/>
                    <a:pt x="0" y="9"/>
                  </a:cubicBezTo>
                  <a:cubicBezTo>
                    <a:pt x="0" y="8"/>
                    <a:pt x="0" y="7"/>
                    <a:pt x="0" y="6"/>
                  </a:cubicBezTo>
                  <a:cubicBezTo>
                    <a:pt x="0" y="6"/>
                    <a:pt x="0" y="5"/>
                    <a:pt x="0" y="4"/>
                  </a:cubicBezTo>
                  <a:cubicBezTo>
                    <a:pt x="1" y="3"/>
                    <a:pt x="1" y="3"/>
                    <a:pt x="1" y="2"/>
                  </a:cubicBezTo>
                  <a:cubicBezTo>
                    <a:pt x="2" y="2"/>
                    <a:pt x="3" y="1"/>
                    <a:pt x="3" y="1"/>
                  </a:cubicBezTo>
                  <a:cubicBezTo>
                    <a:pt x="4" y="1"/>
                    <a:pt x="5" y="0"/>
                    <a:pt x="6" y="0"/>
                  </a:cubicBezTo>
                  <a:cubicBezTo>
                    <a:pt x="6" y="0"/>
                    <a:pt x="7" y="1"/>
                    <a:pt x="8" y="1"/>
                  </a:cubicBezTo>
                  <a:cubicBezTo>
                    <a:pt x="9" y="1"/>
                    <a:pt x="9" y="2"/>
                    <a:pt x="10" y="2"/>
                  </a:cubicBezTo>
                  <a:cubicBezTo>
                    <a:pt x="10" y="3"/>
                    <a:pt x="11" y="3"/>
                    <a:pt x="11" y="4"/>
                  </a:cubicBezTo>
                  <a:cubicBezTo>
                    <a:pt x="11" y="5"/>
                    <a:pt x="11" y="6"/>
                    <a:pt x="11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</p:grpSp>
      <p:sp>
        <p:nvSpPr>
          <p:cNvPr id="263" name="Title 1">
            <a:extLst>
              <a:ext uri="{FF2B5EF4-FFF2-40B4-BE49-F238E27FC236}">
                <a16:creationId xmlns:a16="http://schemas.microsoft.com/office/drawing/2014/main" id="{3F36D6CC-3534-47CC-AECE-83EDA4639FB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44388" y="2158329"/>
            <a:ext cx="3998354" cy="860400"/>
          </a:xfrm>
          <a:prstGeom prst="rect">
            <a:avLst/>
          </a:prstGeom>
        </p:spPr>
        <p:txBody>
          <a:bodyPr/>
          <a:lstStyle>
            <a:lvl1pPr>
              <a:defRPr sz="2999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264" name="Subtitle 2">
            <a:extLst>
              <a:ext uri="{FF2B5EF4-FFF2-40B4-BE49-F238E27FC236}">
                <a16:creationId xmlns:a16="http://schemas.microsoft.com/office/drawing/2014/main" id="{C26FB38E-4E99-4AFB-8C8C-F03F7A963D9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44580" y="3200329"/>
            <a:ext cx="4018535" cy="64574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999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  <a:lvl2pPr marL="0" indent="0" algn="l">
              <a:buNone/>
              <a:defRPr sz="1599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913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9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8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8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7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subtitle style</a:t>
            </a:r>
            <a:endParaRPr lang="en-GB" dirty="0"/>
          </a:p>
        </p:txBody>
      </p:sp>
      <p:grpSp>
        <p:nvGrpSpPr>
          <p:cNvPr id="77" name="Group 76">
            <a:extLst>
              <a:ext uri="{FF2B5EF4-FFF2-40B4-BE49-F238E27FC236}">
                <a16:creationId xmlns:a16="http://schemas.microsoft.com/office/drawing/2014/main" id="{AE95BC52-A56D-4358-A294-750179EBB698}"/>
              </a:ext>
            </a:extLst>
          </p:cNvPr>
          <p:cNvGrpSpPr/>
          <p:nvPr userDrawn="1"/>
        </p:nvGrpSpPr>
        <p:grpSpPr>
          <a:xfrm>
            <a:off x="489112" y="876059"/>
            <a:ext cx="4852768" cy="3374475"/>
            <a:chOff x="6855933" y="899048"/>
            <a:chExt cx="4855295" cy="3374475"/>
          </a:xfrm>
          <a:solidFill>
            <a:schemeClr val="tx2"/>
          </a:solidFill>
        </p:grpSpPr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ECBD2AD5-9A79-4CFE-A808-769ADC8898F3}"/>
                </a:ext>
              </a:extLst>
            </p:cNvPr>
            <p:cNvSpPr/>
            <p:nvPr/>
          </p:nvSpPr>
          <p:spPr>
            <a:xfrm>
              <a:off x="6855933" y="899048"/>
              <a:ext cx="4855295" cy="3374475"/>
            </a:xfrm>
            <a:custGeom>
              <a:avLst/>
              <a:gdLst>
                <a:gd name="connsiteX0" fmla="*/ 6731 w 4855294"/>
                <a:gd name="connsiteY0" fmla="*/ 863542 h 3374474"/>
                <a:gd name="connsiteX1" fmla="*/ 6731 w 4855294"/>
                <a:gd name="connsiteY1" fmla="*/ 3095901 h 3374474"/>
                <a:gd name="connsiteX2" fmla="*/ 145659 w 4855294"/>
                <a:gd name="connsiteY2" fmla="*/ 3095901 h 3374474"/>
                <a:gd name="connsiteX3" fmla="*/ 145659 w 4855294"/>
                <a:gd name="connsiteY3" fmla="*/ 988380 h 3374474"/>
                <a:gd name="connsiteX4" fmla="*/ 4715918 w 4855294"/>
                <a:gd name="connsiteY4" fmla="*/ 179673 h 3374474"/>
                <a:gd name="connsiteX5" fmla="*/ 4715918 w 4855294"/>
                <a:gd name="connsiteY5" fmla="*/ 3234829 h 3374474"/>
                <a:gd name="connsiteX6" fmla="*/ 840208 w 4855294"/>
                <a:gd name="connsiteY6" fmla="*/ 3234829 h 3374474"/>
                <a:gd name="connsiteX7" fmla="*/ 840208 w 4855294"/>
                <a:gd name="connsiteY7" fmla="*/ 3373757 h 3374474"/>
                <a:gd name="connsiteX8" fmla="*/ 4854846 w 4855294"/>
                <a:gd name="connsiteY8" fmla="*/ 3373757 h 3374474"/>
                <a:gd name="connsiteX9" fmla="*/ 4854846 w 4855294"/>
                <a:gd name="connsiteY9" fmla="*/ 6731 h 3374474"/>
                <a:gd name="connsiteX10" fmla="*/ 6731 w 4855294"/>
                <a:gd name="connsiteY10" fmla="*/ 863542 h 33744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855294" h="3374474">
                  <a:moveTo>
                    <a:pt x="6731" y="863542"/>
                  </a:moveTo>
                  <a:lnTo>
                    <a:pt x="6731" y="3095901"/>
                  </a:lnTo>
                  <a:lnTo>
                    <a:pt x="145659" y="3095901"/>
                  </a:lnTo>
                  <a:lnTo>
                    <a:pt x="145659" y="988380"/>
                  </a:lnTo>
                  <a:lnTo>
                    <a:pt x="4715918" y="179673"/>
                  </a:lnTo>
                  <a:lnTo>
                    <a:pt x="4715918" y="3234829"/>
                  </a:lnTo>
                  <a:lnTo>
                    <a:pt x="840208" y="3234829"/>
                  </a:lnTo>
                  <a:lnTo>
                    <a:pt x="840208" y="3373757"/>
                  </a:lnTo>
                  <a:lnTo>
                    <a:pt x="4854846" y="3373757"/>
                  </a:lnTo>
                  <a:lnTo>
                    <a:pt x="4854846" y="6731"/>
                  </a:lnTo>
                  <a:lnTo>
                    <a:pt x="6731" y="86354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799" dirty="0"/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9EE673CB-A779-4F64-B72D-93428DD2B26D}"/>
                </a:ext>
              </a:extLst>
            </p:cNvPr>
            <p:cNvSpPr/>
            <p:nvPr/>
          </p:nvSpPr>
          <p:spPr>
            <a:xfrm>
              <a:off x="6855933" y="4127146"/>
              <a:ext cx="143595" cy="143595"/>
            </a:xfrm>
            <a:custGeom>
              <a:avLst/>
              <a:gdLst>
                <a:gd name="connsiteX0" fmla="*/ 6731 w 143594"/>
                <a:gd name="connsiteY0" fmla="*/ 6731 h 143594"/>
                <a:gd name="connsiteX1" fmla="*/ 145659 w 143594"/>
                <a:gd name="connsiteY1" fmla="*/ 6731 h 143594"/>
                <a:gd name="connsiteX2" fmla="*/ 145659 w 143594"/>
                <a:gd name="connsiteY2" fmla="*/ 145659 h 143594"/>
                <a:gd name="connsiteX3" fmla="*/ 6731 w 143594"/>
                <a:gd name="connsiteY3" fmla="*/ 145659 h 143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3594" h="143594">
                  <a:moveTo>
                    <a:pt x="6731" y="6731"/>
                  </a:moveTo>
                  <a:lnTo>
                    <a:pt x="145659" y="6731"/>
                  </a:lnTo>
                  <a:lnTo>
                    <a:pt x="145659" y="145659"/>
                  </a:lnTo>
                  <a:lnTo>
                    <a:pt x="6731" y="14565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799" dirty="0"/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88144C98-507D-403B-8819-FBBF64A82FA3}"/>
                </a:ext>
              </a:extLst>
            </p:cNvPr>
            <p:cNvSpPr/>
            <p:nvPr/>
          </p:nvSpPr>
          <p:spPr>
            <a:xfrm>
              <a:off x="7133789" y="4127146"/>
              <a:ext cx="143595" cy="143595"/>
            </a:xfrm>
            <a:custGeom>
              <a:avLst/>
              <a:gdLst>
                <a:gd name="connsiteX0" fmla="*/ 6731 w 143594"/>
                <a:gd name="connsiteY0" fmla="*/ 6731 h 143594"/>
                <a:gd name="connsiteX1" fmla="*/ 145659 w 143594"/>
                <a:gd name="connsiteY1" fmla="*/ 6731 h 143594"/>
                <a:gd name="connsiteX2" fmla="*/ 145659 w 143594"/>
                <a:gd name="connsiteY2" fmla="*/ 145659 h 143594"/>
                <a:gd name="connsiteX3" fmla="*/ 6731 w 143594"/>
                <a:gd name="connsiteY3" fmla="*/ 145659 h 143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3594" h="143594">
                  <a:moveTo>
                    <a:pt x="6731" y="6731"/>
                  </a:moveTo>
                  <a:lnTo>
                    <a:pt x="145659" y="6731"/>
                  </a:lnTo>
                  <a:lnTo>
                    <a:pt x="145659" y="145659"/>
                  </a:lnTo>
                  <a:lnTo>
                    <a:pt x="6731" y="14565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799" dirty="0"/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21919CB3-2430-4DA6-BF41-59A1EF9C03CB}"/>
                </a:ext>
              </a:extLst>
            </p:cNvPr>
            <p:cNvSpPr/>
            <p:nvPr/>
          </p:nvSpPr>
          <p:spPr>
            <a:xfrm>
              <a:off x="7411555" y="4127146"/>
              <a:ext cx="143595" cy="143595"/>
            </a:xfrm>
            <a:custGeom>
              <a:avLst/>
              <a:gdLst>
                <a:gd name="connsiteX0" fmla="*/ 6731 w 143594"/>
                <a:gd name="connsiteY0" fmla="*/ 6731 h 143594"/>
                <a:gd name="connsiteX1" fmla="*/ 145659 w 143594"/>
                <a:gd name="connsiteY1" fmla="*/ 6731 h 143594"/>
                <a:gd name="connsiteX2" fmla="*/ 145659 w 143594"/>
                <a:gd name="connsiteY2" fmla="*/ 145659 h 143594"/>
                <a:gd name="connsiteX3" fmla="*/ 6731 w 143594"/>
                <a:gd name="connsiteY3" fmla="*/ 145659 h 143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3594" h="143594">
                  <a:moveTo>
                    <a:pt x="6731" y="6731"/>
                  </a:moveTo>
                  <a:lnTo>
                    <a:pt x="145659" y="6731"/>
                  </a:lnTo>
                  <a:lnTo>
                    <a:pt x="145659" y="145659"/>
                  </a:lnTo>
                  <a:lnTo>
                    <a:pt x="6731" y="14565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799" dirty="0"/>
            </a:p>
          </p:txBody>
        </p:sp>
      </p:grpSp>
      <p:grpSp>
        <p:nvGrpSpPr>
          <p:cNvPr id="82" name="Group 4">
            <a:extLst>
              <a:ext uri="{FF2B5EF4-FFF2-40B4-BE49-F238E27FC236}">
                <a16:creationId xmlns:a16="http://schemas.microsoft.com/office/drawing/2014/main" id="{C5FADEE5-07C4-41A9-88D6-C6D2ED1362B8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59392" y="4960938"/>
            <a:ext cx="1224912" cy="1435100"/>
            <a:chOff x="6529" y="3125"/>
            <a:chExt cx="772" cy="904"/>
          </a:xfrm>
        </p:grpSpPr>
        <p:sp>
          <p:nvSpPr>
            <p:cNvPr id="83" name="Freeform 5">
              <a:extLst>
                <a:ext uri="{FF2B5EF4-FFF2-40B4-BE49-F238E27FC236}">
                  <a16:creationId xmlns:a16="http://schemas.microsoft.com/office/drawing/2014/main" id="{5A2C465B-7D43-431D-A35E-50762E7696F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/>
            </a:p>
          </p:txBody>
        </p:sp>
        <p:sp>
          <p:nvSpPr>
            <p:cNvPr id="84" name="Freeform 6">
              <a:extLst>
                <a:ext uri="{FF2B5EF4-FFF2-40B4-BE49-F238E27FC236}">
                  <a16:creationId xmlns:a16="http://schemas.microsoft.com/office/drawing/2014/main" id="{AC35E6C1-71A8-4C9D-A1A5-682B0BD0A03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/>
            </a:p>
          </p:txBody>
        </p:sp>
      </p:grpSp>
    </p:spTree>
    <p:extLst>
      <p:ext uri="{BB962C8B-B14F-4D97-AF65-F5344CB8AC3E}">
        <p14:creationId xmlns:p14="http://schemas.microsoft.com/office/powerpoint/2010/main" val="18267900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94200"/>
            <a:ext cx="10972800" cy="590400"/>
          </a:xfrm>
        </p:spPr>
        <p:txBody>
          <a:bodyPr/>
          <a:lstStyle>
            <a:lvl1pPr>
              <a:defRPr sz="2399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2" name="Line 10">
            <a:extLst>
              <a:ext uri="{FF2B5EF4-FFF2-40B4-BE49-F238E27FC236}">
                <a16:creationId xmlns:a16="http://schemas.microsoft.com/office/drawing/2014/main" id="{DA9741B6-D337-4A18-8ECB-FB21A6953E44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601" y="907750"/>
            <a:ext cx="10974284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 dirty="0">
              <a:solidFill>
                <a:schemeClr val="bg1"/>
              </a:solidFill>
            </a:endParaRP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90356C28-34FC-48BD-943E-82B485EB0C4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1" y="1137920"/>
            <a:ext cx="10972800" cy="49479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9369FE1-2141-4E78-8B01-84E57EEFE06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D63E5D-D4D4-47A0-B3D2-9C348E301267}" type="datetime3">
              <a:rPr lang="en-US" smtClean="0"/>
              <a:t>5 August 2022</a:t>
            </a:fld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14482B3-B946-42D6-98EA-72EE48EEB8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 dirty="0"/>
              <a:t>Presentation tit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72DD5AC-66F0-425C-A9DE-0484513193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62108234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601" y="294200"/>
            <a:ext cx="10972800" cy="590400"/>
          </a:xfrm>
        </p:spPr>
        <p:txBody>
          <a:bodyPr/>
          <a:lstStyle>
            <a:lvl1pPr>
              <a:defRPr sz="2399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tandard slide</a:t>
            </a:r>
            <a:endParaRPr lang="en-GB" dirty="0"/>
          </a:p>
        </p:txBody>
      </p:sp>
      <p:sp>
        <p:nvSpPr>
          <p:cNvPr id="80" name="Line 10">
            <a:extLst>
              <a:ext uri="{FF2B5EF4-FFF2-40B4-BE49-F238E27FC236}">
                <a16:creationId xmlns:a16="http://schemas.microsoft.com/office/drawing/2014/main" id="{EF8E9275-C0E0-4ABA-8699-73E5E292EC85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601" y="907750"/>
            <a:ext cx="10974284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 dirty="0">
              <a:solidFill>
                <a:schemeClr val="bg1"/>
              </a:solidFill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BD5E823-546D-4100-9D33-42F450A382E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A9E02A-78D6-48B7-A389-464ED573BA5D}" type="datetime3">
              <a:rPr lang="en-US" smtClean="0"/>
              <a:t>5 August 2022</a:t>
            </a:fld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4EEA008-3E80-49A8-A128-C1EEB8A02F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 dirty="0"/>
              <a:t>Presentation tit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A192330-2E70-49F4-A5DA-F82320E708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624103563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80593A0-4211-460E-B6CF-FE2D9CE6D9C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194852" y="1"/>
            <a:ext cx="3997149" cy="6156104"/>
          </a:xfrm>
        </p:spPr>
        <p:txBody>
          <a:bodyPr/>
          <a:lstStyle/>
          <a:p>
            <a:endParaRPr lang="en-IN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94200"/>
            <a:ext cx="7440547" cy="590400"/>
          </a:xfrm>
        </p:spPr>
        <p:txBody>
          <a:bodyPr/>
          <a:lstStyle>
            <a:lvl1pPr>
              <a:defRPr sz="2399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09601" y="1137921"/>
            <a:ext cx="7295842" cy="873760"/>
          </a:xfrm>
        </p:spPr>
        <p:txBody>
          <a:bodyPr/>
          <a:lstStyle>
            <a:lvl1pPr marL="0" indent="0">
              <a:buNone/>
              <a:defRPr sz="1799">
                <a:solidFill>
                  <a:schemeClr val="bg1"/>
                </a:solidFill>
              </a:defRPr>
            </a:lvl1pPr>
            <a:lvl2pPr marL="356438" indent="0">
              <a:buNone/>
              <a:defRPr sz="1799">
                <a:solidFill>
                  <a:schemeClr val="bg1"/>
                </a:solidFill>
              </a:defRPr>
            </a:lvl2pPr>
            <a:lvl3pPr marL="712875" indent="0">
              <a:buNone/>
              <a:defRPr sz="1599">
                <a:solidFill>
                  <a:schemeClr val="bg1"/>
                </a:solidFill>
              </a:defRPr>
            </a:lvl3pPr>
            <a:lvl4pPr marL="1069313" indent="0">
              <a:buNone/>
              <a:defRPr sz="1399">
                <a:solidFill>
                  <a:schemeClr val="bg1"/>
                </a:solidFill>
              </a:defRPr>
            </a:lvl4pPr>
            <a:lvl5pPr marL="1425751" indent="0">
              <a:buNone/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78D3272-120F-430D-AFB5-E93227EEEAAF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609601" y="2311401"/>
            <a:ext cx="3578253" cy="3844704"/>
          </a:xfrm>
        </p:spPr>
        <p:txBody>
          <a:bodyPr numCol="1"/>
          <a:lstStyle>
            <a:lvl1pPr marL="0" indent="0">
              <a:buNone/>
              <a:defRPr sz="1399">
                <a:solidFill>
                  <a:schemeClr val="bg1"/>
                </a:solidFill>
              </a:defRPr>
            </a:lvl1pPr>
            <a:lvl2pPr marL="356438" indent="0">
              <a:buNone/>
              <a:defRPr sz="1799">
                <a:solidFill>
                  <a:schemeClr val="bg1"/>
                </a:solidFill>
              </a:defRPr>
            </a:lvl2pPr>
            <a:lvl3pPr marL="712875" indent="0">
              <a:buNone/>
              <a:defRPr sz="1599">
                <a:solidFill>
                  <a:schemeClr val="bg1"/>
                </a:solidFill>
              </a:defRPr>
            </a:lvl3pPr>
            <a:lvl4pPr marL="1069313" indent="0">
              <a:buNone/>
              <a:defRPr sz="1399">
                <a:solidFill>
                  <a:schemeClr val="bg1"/>
                </a:solidFill>
              </a:defRPr>
            </a:lvl4pPr>
            <a:lvl5pPr marL="1425751" indent="0">
              <a:buNone/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0C7BD71A-882B-40FB-A05F-48ECC69FF73D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4327190" y="2311402"/>
            <a:ext cx="3578253" cy="1254759"/>
          </a:xfrm>
        </p:spPr>
        <p:txBody>
          <a:bodyPr numCol="1"/>
          <a:lstStyle>
            <a:lvl1pPr marL="0" indent="0">
              <a:buNone/>
              <a:defRPr sz="1399">
                <a:solidFill>
                  <a:schemeClr val="bg1"/>
                </a:solidFill>
              </a:defRPr>
            </a:lvl1pPr>
            <a:lvl2pPr marL="356438" indent="0">
              <a:buNone/>
              <a:defRPr sz="1799">
                <a:solidFill>
                  <a:schemeClr val="bg1"/>
                </a:solidFill>
              </a:defRPr>
            </a:lvl2pPr>
            <a:lvl3pPr marL="712875" indent="0">
              <a:buNone/>
              <a:defRPr sz="1599">
                <a:solidFill>
                  <a:schemeClr val="bg1"/>
                </a:solidFill>
              </a:defRPr>
            </a:lvl3pPr>
            <a:lvl4pPr marL="1069313" indent="0">
              <a:buNone/>
              <a:defRPr sz="1399">
                <a:solidFill>
                  <a:schemeClr val="bg1"/>
                </a:solidFill>
              </a:defRPr>
            </a:lvl4pPr>
            <a:lvl5pPr marL="1425751" indent="0">
              <a:buNone/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D87D58C8-1517-42AA-8B2A-E449A3F6F028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327190" y="4236721"/>
            <a:ext cx="3578253" cy="1944160"/>
          </a:xfrm>
        </p:spPr>
        <p:txBody>
          <a:bodyPr numCol="1"/>
          <a:lstStyle>
            <a:lvl1pPr marL="0" indent="0">
              <a:buNone/>
              <a:defRPr sz="1799">
                <a:solidFill>
                  <a:schemeClr val="bg1"/>
                </a:solidFill>
                <a:latin typeface="Georgia" panose="02040502050405020303" pitchFamily="18" charset="0"/>
              </a:defRPr>
            </a:lvl1pPr>
            <a:lvl2pPr marL="356438" indent="0">
              <a:buNone/>
              <a:defRPr sz="1799">
                <a:solidFill>
                  <a:schemeClr val="bg1"/>
                </a:solidFill>
              </a:defRPr>
            </a:lvl2pPr>
            <a:lvl3pPr marL="712875" indent="0">
              <a:buNone/>
              <a:defRPr sz="1599">
                <a:solidFill>
                  <a:schemeClr val="bg1"/>
                </a:solidFill>
              </a:defRPr>
            </a:lvl3pPr>
            <a:lvl4pPr marL="1069313" indent="0">
              <a:buNone/>
              <a:defRPr sz="1399">
                <a:solidFill>
                  <a:schemeClr val="bg1"/>
                </a:solidFill>
              </a:defRPr>
            </a:lvl4pPr>
            <a:lvl5pPr marL="1425751" indent="0">
              <a:buNone/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Quote</a:t>
            </a:r>
          </a:p>
        </p:txBody>
      </p:sp>
      <p:sp>
        <p:nvSpPr>
          <p:cNvPr id="23" name="Line 10">
            <a:extLst>
              <a:ext uri="{FF2B5EF4-FFF2-40B4-BE49-F238E27FC236}">
                <a16:creationId xmlns:a16="http://schemas.microsoft.com/office/drawing/2014/main" id="{E820DC59-E206-4DC0-9012-584F8EBAF730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601" y="907750"/>
            <a:ext cx="7719833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 dirty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073C7F4-1F66-48B4-8A7F-96C64986A204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0E49E8CE-5235-4494-B0FD-9ECC8206E96E}" type="datetime3">
              <a:rPr lang="en-US" smtClean="0"/>
              <a:t>5 August 2022</a:t>
            </a:fld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28F1198-1F5C-4C8B-A7E4-2658430FBCF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IN" dirty="0"/>
              <a:t>Presentation titl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6EA2D1B-5973-42E9-87B4-02C40C0EF1B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543510868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80593A0-4211-460E-B6CF-FE2D9CE6D9C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1"/>
            <a:ext cx="2383219" cy="6857999"/>
          </a:xfrm>
        </p:spPr>
        <p:txBody>
          <a:bodyPr/>
          <a:lstStyle/>
          <a:p>
            <a:endParaRPr lang="en-IN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3891" y="294200"/>
            <a:ext cx="8887371" cy="590400"/>
          </a:xfrm>
        </p:spPr>
        <p:txBody>
          <a:bodyPr/>
          <a:lstStyle>
            <a:lvl1pPr>
              <a:defRPr sz="2399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693890" y="1137921"/>
            <a:ext cx="2741454" cy="5018184"/>
          </a:xfrm>
        </p:spPr>
        <p:txBody>
          <a:bodyPr/>
          <a:lstStyle>
            <a:lvl1pPr marL="0" indent="0">
              <a:buNone/>
              <a:defRPr sz="1799">
                <a:solidFill>
                  <a:schemeClr val="bg1"/>
                </a:solidFill>
              </a:defRPr>
            </a:lvl1pPr>
            <a:lvl2pPr marL="356438" indent="0">
              <a:buNone/>
              <a:defRPr sz="1799">
                <a:solidFill>
                  <a:schemeClr val="bg1"/>
                </a:solidFill>
              </a:defRPr>
            </a:lvl2pPr>
            <a:lvl3pPr marL="712875" indent="0">
              <a:buNone/>
              <a:defRPr sz="1599">
                <a:solidFill>
                  <a:schemeClr val="bg1"/>
                </a:solidFill>
              </a:defRPr>
            </a:lvl3pPr>
            <a:lvl4pPr marL="1069313" indent="0">
              <a:buNone/>
              <a:defRPr sz="1399">
                <a:solidFill>
                  <a:schemeClr val="bg1"/>
                </a:solidFill>
              </a:defRPr>
            </a:lvl4pPr>
            <a:lvl5pPr marL="1425751" indent="0">
              <a:buNone/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78D3272-120F-430D-AFB5-E93227EEEAAF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5724102" y="1137921"/>
            <a:ext cx="2802382" cy="5018184"/>
          </a:xfrm>
        </p:spPr>
        <p:txBody>
          <a:bodyPr numCol="1"/>
          <a:lstStyle>
            <a:lvl1pPr marL="0" indent="0">
              <a:buNone/>
              <a:defRPr sz="1399">
                <a:solidFill>
                  <a:schemeClr val="bg1"/>
                </a:solidFill>
              </a:defRPr>
            </a:lvl1pPr>
            <a:lvl2pPr marL="356438" indent="0">
              <a:buNone/>
              <a:defRPr sz="1799">
                <a:solidFill>
                  <a:schemeClr val="bg1"/>
                </a:solidFill>
              </a:defRPr>
            </a:lvl2pPr>
            <a:lvl3pPr marL="712875" indent="0">
              <a:buNone/>
              <a:defRPr sz="1599">
                <a:solidFill>
                  <a:schemeClr val="bg1"/>
                </a:solidFill>
              </a:defRPr>
            </a:lvl3pPr>
            <a:lvl4pPr marL="1069313" indent="0">
              <a:buNone/>
              <a:defRPr sz="1399">
                <a:solidFill>
                  <a:schemeClr val="bg1"/>
                </a:solidFill>
              </a:defRPr>
            </a:lvl4pPr>
            <a:lvl5pPr marL="1425751" indent="0">
              <a:buNone/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6FF4A6F8-D9C6-4FEE-9324-5200D308BB1F}"/>
              </a:ext>
            </a:extLst>
          </p:cNvPr>
          <p:cNvSpPr>
            <a:spLocks noGrp="1"/>
          </p:cNvSpPr>
          <p:nvPr userDrawn="1">
            <p:ph idx="12" hasCustomPrompt="1"/>
          </p:nvPr>
        </p:nvSpPr>
        <p:spPr>
          <a:xfrm>
            <a:off x="8815241" y="1137922"/>
            <a:ext cx="2767159" cy="2796151"/>
          </a:xfrm>
        </p:spPr>
        <p:txBody>
          <a:bodyPr numCol="1"/>
          <a:lstStyle>
            <a:lvl1pPr marL="0" indent="0">
              <a:buNone/>
              <a:defRPr sz="1399">
                <a:solidFill>
                  <a:schemeClr val="bg1"/>
                </a:solidFill>
              </a:defRPr>
            </a:lvl1pPr>
            <a:lvl2pPr marL="356438" indent="0">
              <a:buNone/>
              <a:defRPr sz="1799">
                <a:solidFill>
                  <a:schemeClr val="bg1"/>
                </a:solidFill>
              </a:defRPr>
            </a:lvl2pPr>
            <a:lvl3pPr marL="712875" indent="0">
              <a:buNone/>
              <a:defRPr sz="1599">
                <a:solidFill>
                  <a:schemeClr val="bg1"/>
                </a:solidFill>
              </a:defRPr>
            </a:lvl3pPr>
            <a:lvl4pPr marL="1069313" indent="0">
              <a:buNone/>
              <a:defRPr sz="1399">
                <a:solidFill>
                  <a:schemeClr val="bg1"/>
                </a:solidFill>
              </a:defRPr>
            </a:lvl4pPr>
            <a:lvl5pPr marL="1425751" indent="0">
              <a:buNone/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9" name="Line 10">
            <a:extLst>
              <a:ext uri="{FF2B5EF4-FFF2-40B4-BE49-F238E27FC236}">
                <a16:creationId xmlns:a16="http://schemas.microsoft.com/office/drawing/2014/main" id="{B63A7CBA-3151-452E-BD2F-D3E65CE1595F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2693891" y="907750"/>
            <a:ext cx="8887371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 dirty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18571DE-086F-444C-976E-D386CED54CF9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CFB1ADCF-7548-48F2-B4E3-18B2C0EE8460}" type="datetime3">
              <a:rPr lang="en-US" smtClean="0"/>
              <a:t>5 August 2022</a:t>
            </a:fld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5178D09-F6E9-4981-B6E0-209D099207E6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IN" dirty="0"/>
              <a:t>Presentation titl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AE170B6-45D3-4E0A-A799-1F973EAAC5E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930300362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94200"/>
            <a:ext cx="10972800" cy="590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1" y="1137920"/>
            <a:ext cx="8234455" cy="48348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None/>
              <a:defRPr sz="1799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None/>
              <a:defRPr sz="1599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buNone/>
              <a:defRPr sz="1399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buNone/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9" name="Line 10">
            <a:extLst>
              <a:ext uri="{FF2B5EF4-FFF2-40B4-BE49-F238E27FC236}">
                <a16:creationId xmlns:a16="http://schemas.microsoft.com/office/drawing/2014/main" id="{CF130104-FAF2-4309-9701-573F37743137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601" y="907750"/>
            <a:ext cx="10974284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 dirty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0354617-5A1F-4D8E-8075-F2918D0E9D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66D130-B426-4A46-85E5-B0049A4DA5C7}" type="datetime3">
              <a:rPr lang="en-US" smtClean="0"/>
              <a:t>5 August 2022</a:t>
            </a:fld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9DAB026-E283-44F4-8795-98438568467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 dirty="0"/>
              <a:t>Presentation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3657FA-64A4-4818-8A20-F1ACA6AC59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536233619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697C43D-4F1B-43DA-A0C6-DA6B6708E16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2616" y="2851522"/>
            <a:ext cx="4445485" cy="1202318"/>
          </a:xfrm>
        </p:spPr>
        <p:txBody>
          <a:bodyPr vert="horz" lIns="0" tIns="0" rIns="0" bIns="0" rtlCol="0" anchor="ctr" anchorCtr="0">
            <a:noAutofit/>
          </a:bodyPr>
          <a:lstStyle>
            <a:lvl1pPr marL="0" indent="0">
              <a:buNone/>
              <a:defRPr kumimoji="0" lang="en-IN" sz="3598" b="0" i="0" u="none" strike="noStrike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EYInterstate Light" panose="02000506000000020004" pitchFamily="2" charset="0"/>
                <a:ea typeface="+mj-ea"/>
                <a:cs typeface="+mj-cs"/>
              </a:defRPr>
            </a:lvl1pPr>
          </a:lstStyle>
          <a:p>
            <a:pPr marL="356438" marR="0" lvl="0" indent="-356438" defTabSz="1007383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</a:pPr>
            <a:r>
              <a:rPr lang="en-US" dirty="0"/>
              <a:t>Chapter Title</a:t>
            </a:r>
            <a:endParaRPr lang="en-IN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00C2D9D-B0D7-494E-9184-FCD6E94AACE5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6A95EDC0-9791-477B-BA1D-1692FE9BFBAA}" type="datetime3">
              <a:rPr lang="en-US" smtClean="0"/>
              <a:t>5 August 2022</a:t>
            </a:fld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87FD91A-AB40-450B-8784-9A5D99C62D81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IN" dirty="0"/>
              <a:t>Presentation tit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2CE5F90-7113-4FA1-AFCF-3BC8EF010002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55175632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pproved question ta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6" name="Group 185">
            <a:extLst>
              <a:ext uri="{FF2B5EF4-FFF2-40B4-BE49-F238E27FC236}">
                <a16:creationId xmlns:a16="http://schemas.microsoft.com/office/drawing/2014/main" id="{9CDE954B-B280-441B-9B2D-3DC58AAE3926}"/>
              </a:ext>
            </a:extLst>
          </p:cNvPr>
          <p:cNvGrpSpPr/>
          <p:nvPr userDrawn="1"/>
        </p:nvGrpSpPr>
        <p:grpSpPr>
          <a:xfrm>
            <a:off x="497856" y="5826613"/>
            <a:ext cx="3876004" cy="570195"/>
            <a:chOff x="498115" y="5951018"/>
            <a:chExt cx="3878023" cy="570195"/>
          </a:xfrm>
        </p:grpSpPr>
        <p:sp>
          <p:nvSpPr>
            <p:cNvPr id="187" name="Rectangle 186">
              <a:extLst>
                <a:ext uri="{FF2B5EF4-FFF2-40B4-BE49-F238E27FC236}">
                  <a16:creationId xmlns:a16="http://schemas.microsoft.com/office/drawing/2014/main" id="{93D8FAC8-9530-49D4-8284-D35D1B1509D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98115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188" name="Rectangle 6">
              <a:extLst>
                <a:ext uri="{FF2B5EF4-FFF2-40B4-BE49-F238E27FC236}">
                  <a16:creationId xmlns:a16="http://schemas.microsoft.com/office/drawing/2014/main" id="{FD924F44-93C1-4254-B594-53DB14FD995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9341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189" name="Rectangle 7">
              <a:extLst>
                <a:ext uri="{FF2B5EF4-FFF2-40B4-BE49-F238E27FC236}">
                  <a16:creationId xmlns:a16="http://schemas.microsoft.com/office/drawing/2014/main" id="{2A2DA425-7935-45A1-B63F-2D14CF8D5F9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9045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190" name="Freeform 8">
              <a:extLst>
                <a:ext uri="{FF2B5EF4-FFF2-40B4-BE49-F238E27FC236}">
                  <a16:creationId xmlns:a16="http://schemas.microsoft.com/office/drawing/2014/main" id="{91EFF75E-13E7-4E35-B108-D9FD5E9C802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181188"/>
              <a:ext cx="94161" cy="130778"/>
            </a:xfrm>
            <a:custGeom>
              <a:avLst/>
              <a:gdLst>
                <a:gd name="T0" fmla="*/ 32 w 54"/>
                <a:gd name="T1" fmla="*/ 11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1 h 75"/>
                <a:gd name="T8" fmla="*/ 0 w 54"/>
                <a:gd name="T9" fmla="*/ 11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1 h 75"/>
                <a:gd name="T16" fmla="*/ 32 w 54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1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1"/>
                  </a:lnTo>
                  <a:lnTo>
                    <a:pt x="32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1" name="Freeform 9">
              <a:extLst>
                <a:ext uri="{FF2B5EF4-FFF2-40B4-BE49-F238E27FC236}">
                  <a16:creationId xmlns:a16="http://schemas.microsoft.com/office/drawing/2014/main" id="{4411951F-E009-4FE7-B2EC-47771CA8E17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174213"/>
              <a:ext cx="78468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2" name="Freeform 10">
              <a:extLst>
                <a:ext uri="{FF2B5EF4-FFF2-40B4-BE49-F238E27FC236}">
                  <a16:creationId xmlns:a16="http://schemas.microsoft.com/office/drawing/2014/main" id="{B28EE49C-5F5A-49C6-AEB8-6D12DDF344E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3" name="Freeform 11">
              <a:extLst>
                <a:ext uri="{FF2B5EF4-FFF2-40B4-BE49-F238E27FC236}">
                  <a16:creationId xmlns:a16="http://schemas.microsoft.com/office/drawing/2014/main" id="{6E2B7D76-D660-491F-8B04-169C6F138B0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174213"/>
              <a:ext cx="83698" cy="139497"/>
            </a:xfrm>
            <a:custGeom>
              <a:avLst/>
              <a:gdLst>
                <a:gd name="T0" fmla="*/ 33 w 33"/>
                <a:gd name="T1" fmla="*/ 35 h 55"/>
                <a:gd name="T2" fmla="*/ 31 w 33"/>
                <a:gd name="T3" fmla="*/ 44 h 55"/>
                <a:gd name="T4" fmla="*/ 28 w 33"/>
                <a:gd name="T5" fmla="*/ 50 h 55"/>
                <a:gd name="T6" fmla="*/ 23 w 33"/>
                <a:gd name="T7" fmla="*/ 53 h 55"/>
                <a:gd name="T8" fmla="*/ 17 w 33"/>
                <a:gd name="T9" fmla="*/ 55 h 55"/>
                <a:gd name="T10" fmla="*/ 12 w 33"/>
                <a:gd name="T11" fmla="*/ 53 h 55"/>
                <a:gd name="T12" fmla="*/ 8 w 33"/>
                <a:gd name="T13" fmla="*/ 50 h 55"/>
                <a:gd name="T14" fmla="*/ 8 w 33"/>
                <a:gd name="T15" fmla="*/ 54 h 55"/>
                <a:gd name="T16" fmla="*/ 0 w 33"/>
                <a:gd name="T17" fmla="*/ 54 h 55"/>
                <a:gd name="T18" fmla="*/ 0 w 33"/>
                <a:gd name="T19" fmla="*/ 4 h 55"/>
                <a:gd name="T20" fmla="*/ 8 w 33"/>
                <a:gd name="T21" fmla="*/ 0 h 55"/>
                <a:gd name="T22" fmla="*/ 8 w 33"/>
                <a:gd name="T23" fmla="*/ 19 h 55"/>
                <a:gd name="T24" fmla="*/ 10 w 33"/>
                <a:gd name="T25" fmla="*/ 17 h 55"/>
                <a:gd name="T26" fmla="*/ 12 w 33"/>
                <a:gd name="T27" fmla="*/ 16 h 55"/>
                <a:gd name="T28" fmla="*/ 14 w 33"/>
                <a:gd name="T29" fmla="*/ 15 h 55"/>
                <a:gd name="T30" fmla="*/ 18 w 33"/>
                <a:gd name="T31" fmla="*/ 15 h 55"/>
                <a:gd name="T32" fmla="*/ 24 w 33"/>
                <a:gd name="T33" fmla="*/ 16 h 55"/>
                <a:gd name="T34" fmla="*/ 28 w 33"/>
                <a:gd name="T35" fmla="*/ 19 h 55"/>
                <a:gd name="T36" fmla="*/ 31 w 33"/>
                <a:gd name="T37" fmla="*/ 26 h 55"/>
                <a:gd name="T38" fmla="*/ 33 w 33"/>
                <a:gd name="T39" fmla="*/ 35 h 55"/>
                <a:gd name="T40" fmla="*/ 25 w 33"/>
                <a:gd name="T41" fmla="*/ 35 h 55"/>
                <a:gd name="T42" fmla="*/ 23 w 33"/>
                <a:gd name="T43" fmla="*/ 25 h 55"/>
                <a:gd name="T44" fmla="*/ 16 w 33"/>
                <a:gd name="T45" fmla="*/ 22 h 55"/>
                <a:gd name="T46" fmla="*/ 14 w 33"/>
                <a:gd name="T47" fmla="*/ 22 h 55"/>
                <a:gd name="T48" fmla="*/ 11 w 33"/>
                <a:gd name="T49" fmla="*/ 23 h 55"/>
                <a:gd name="T50" fmla="*/ 9 w 33"/>
                <a:gd name="T51" fmla="*/ 25 h 55"/>
                <a:gd name="T52" fmla="*/ 8 w 33"/>
                <a:gd name="T53" fmla="*/ 26 h 55"/>
                <a:gd name="T54" fmla="*/ 8 w 33"/>
                <a:gd name="T55" fmla="*/ 43 h 55"/>
                <a:gd name="T56" fmla="*/ 9 w 33"/>
                <a:gd name="T57" fmla="*/ 44 h 55"/>
                <a:gd name="T58" fmla="*/ 11 w 33"/>
                <a:gd name="T59" fmla="*/ 46 h 55"/>
                <a:gd name="T60" fmla="*/ 14 w 33"/>
                <a:gd name="T61" fmla="*/ 47 h 55"/>
                <a:gd name="T62" fmla="*/ 17 w 33"/>
                <a:gd name="T63" fmla="*/ 48 h 55"/>
                <a:gd name="T64" fmla="*/ 23 w 33"/>
                <a:gd name="T65" fmla="*/ 45 h 55"/>
                <a:gd name="T66" fmla="*/ 25 w 33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5">
                  <a:moveTo>
                    <a:pt x="33" y="35"/>
                  </a:moveTo>
                  <a:cubicBezTo>
                    <a:pt x="33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7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6" y="55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8"/>
                    <a:pt x="10" y="17"/>
                  </a:cubicBezTo>
                  <a:cubicBezTo>
                    <a:pt x="11" y="17"/>
                    <a:pt x="11" y="16"/>
                    <a:pt x="12" y="16"/>
                  </a:cubicBezTo>
                  <a:cubicBezTo>
                    <a:pt x="13" y="16"/>
                    <a:pt x="13" y="15"/>
                    <a:pt x="14" y="15"/>
                  </a:cubicBezTo>
                  <a:cubicBezTo>
                    <a:pt x="15" y="15"/>
                    <a:pt x="16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30" y="21"/>
                    <a:pt x="31" y="23"/>
                    <a:pt x="31" y="26"/>
                  </a:cubicBezTo>
                  <a:cubicBezTo>
                    <a:pt x="32" y="28"/>
                    <a:pt x="33" y="32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5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1" y="23"/>
                    <a:pt x="10" y="24"/>
                    <a:pt x="9" y="25"/>
                  </a:cubicBezTo>
                  <a:cubicBezTo>
                    <a:pt x="9" y="25"/>
                    <a:pt x="8" y="26"/>
                    <a:pt x="8" y="26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8" y="43"/>
                    <a:pt x="9" y="44"/>
                    <a:pt x="9" y="44"/>
                  </a:cubicBezTo>
                  <a:cubicBezTo>
                    <a:pt x="10" y="45"/>
                    <a:pt x="11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6" y="48"/>
                    <a:pt x="17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4" name="Freeform 12">
              <a:extLst>
                <a:ext uri="{FF2B5EF4-FFF2-40B4-BE49-F238E27FC236}">
                  <a16:creationId xmlns:a16="http://schemas.microsoft.com/office/drawing/2014/main" id="{41BE51DE-402B-48B5-99C8-D8BB9A32DF3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5" name="Freeform 13">
              <a:extLst>
                <a:ext uri="{FF2B5EF4-FFF2-40B4-BE49-F238E27FC236}">
                  <a16:creationId xmlns:a16="http://schemas.microsoft.com/office/drawing/2014/main" id="{8D5E878B-8859-44FA-A69D-DCE630AAB0D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1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2" y="54"/>
                    <a:pt x="11" y="54"/>
                  </a:cubicBezTo>
                  <a:cubicBezTo>
                    <a:pt x="10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2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6" name="Freeform 14">
              <a:extLst>
                <a:ext uri="{FF2B5EF4-FFF2-40B4-BE49-F238E27FC236}">
                  <a16:creationId xmlns:a16="http://schemas.microsoft.com/office/drawing/2014/main" id="{08D55808-ECDC-4E9B-84ED-7301E9E716C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7" name="Freeform 15">
              <a:extLst>
                <a:ext uri="{FF2B5EF4-FFF2-40B4-BE49-F238E27FC236}">
                  <a16:creationId xmlns:a16="http://schemas.microsoft.com/office/drawing/2014/main" id="{3436B310-313E-4A53-A70D-CA0D0D97FE7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0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2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0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3" y="31"/>
                    <a:pt x="24" y="30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0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7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8" name="Freeform 16">
              <a:extLst>
                <a:ext uri="{FF2B5EF4-FFF2-40B4-BE49-F238E27FC236}">
                  <a16:creationId xmlns:a16="http://schemas.microsoft.com/office/drawing/2014/main" id="{F3CE55A9-AE55-4169-A58D-8171D9916EC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212575"/>
              <a:ext cx="55799" cy="99391"/>
            </a:xfrm>
            <a:custGeom>
              <a:avLst/>
              <a:gdLst>
                <a:gd name="T0" fmla="*/ 20 w 22"/>
                <a:gd name="T1" fmla="*/ 8 h 39"/>
                <a:gd name="T2" fmla="*/ 18 w 22"/>
                <a:gd name="T3" fmla="*/ 7 h 39"/>
                <a:gd name="T4" fmla="*/ 15 w 22"/>
                <a:gd name="T5" fmla="*/ 7 h 39"/>
                <a:gd name="T6" fmla="*/ 9 w 22"/>
                <a:gd name="T7" fmla="*/ 9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0 h 39"/>
                <a:gd name="T16" fmla="*/ 7 w 22"/>
                <a:gd name="T17" fmla="*/ 0 h 39"/>
                <a:gd name="T18" fmla="*/ 7 w 22"/>
                <a:gd name="T19" fmla="*/ 4 h 39"/>
                <a:gd name="T20" fmla="*/ 9 w 22"/>
                <a:gd name="T21" fmla="*/ 2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0 h 39"/>
                <a:gd name="T30" fmla="*/ 22 w 22"/>
                <a:gd name="T31" fmla="*/ 1 h 39"/>
                <a:gd name="T32" fmla="*/ 20 w 22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2" y="7"/>
                    <a:pt x="10" y="8"/>
                    <a:pt x="9" y="9"/>
                  </a:cubicBezTo>
                  <a:cubicBezTo>
                    <a:pt x="8" y="11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9" y="2"/>
                    <a:pt x="10" y="1"/>
                    <a:pt x="11" y="1"/>
                  </a:cubicBezTo>
                  <a:cubicBezTo>
                    <a:pt x="11" y="0"/>
                    <a:pt x="12" y="0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0"/>
                  </a:cubicBezTo>
                  <a:cubicBezTo>
                    <a:pt x="21" y="0"/>
                    <a:pt x="22" y="1"/>
                    <a:pt x="22" y="1"/>
                  </a:cubicBezTo>
                  <a:lnTo>
                    <a:pt x="20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9" name="Freeform 17">
              <a:extLst>
                <a:ext uri="{FF2B5EF4-FFF2-40B4-BE49-F238E27FC236}">
                  <a16:creationId xmlns:a16="http://schemas.microsoft.com/office/drawing/2014/main" id="{FA01BC48-4605-46FC-A7AC-192C7DBCA0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0" name="Freeform 18">
              <a:extLst>
                <a:ext uri="{FF2B5EF4-FFF2-40B4-BE49-F238E27FC236}">
                  <a16:creationId xmlns:a16="http://schemas.microsoft.com/office/drawing/2014/main" id="{870190F3-472B-4296-B88D-D6904B9F30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2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8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9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1" name="Freeform 19">
              <a:extLst>
                <a:ext uri="{FF2B5EF4-FFF2-40B4-BE49-F238E27FC236}">
                  <a16:creationId xmlns:a16="http://schemas.microsoft.com/office/drawing/2014/main" id="{6CEA0F2B-4AAB-4A16-B7F1-CFCB0C0DCEE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2" name="Freeform 20">
              <a:extLst>
                <a:ext uri="{FF2B5EF4-FFF2-40B4-BE49-F238E27FC236}">
                  <a16:creationId xmlns:a16="http://schemas.microsoft.com/office/drawing/2014/main" id="{CD64F657-7EE7-4AF2-ADE4-160C87E64D6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30922" y="6212575"/>
              <a:ext cx="80211" cy="134265"/>
            </a:xfrm>
            <a:custGeom>
              <a:avLst/>
              <a:gdLst>
                <a:gd name="T0" fmla="*/ 25 w 32"/>
                <a:gd name="T1" fmla="*/ 53 h 53"/>
                <a:gd name="T2" fmla="*/ 25 w 32"/>
                <a:gd name="T3" fmla="*/ 35 h 53"/>
                <a:gd name="T4" fmla="*/ 20 w 32"/>
                <a:gd name="T5" fmla="*/ 38 h 53"/>
                <a:gd name="T6" fmla="*/ 15 w 32"/>
                <a:gd name="T7" fmla="*/ 40 h 53"/>
                <a:gd name="T8" fmla="*/ 9 w 32"/>
                <a:gd name="T9" fmla="*/ 38 h 53"/>
                <a:gd name="T10" fmla="*/ 4 w 32"/>
                <a:gd name="T11" fmla="*/ 35 h 53"/>
                <a:gd name="T12" fmla="*/ 1 w 32"/>
                <a:gd name="T13" fmla="*/ 28 h 53"/>
                <a:gd name="T14" fmla="*/ 0 w 32"/>
                <a:gd name="T15" fmla="*/ 19 h 53"/>
                <a:gd name="T16" fmla="*/ 1 w 32"/>
                <a:gd name="T17" fmla="*/ 10 h 53"/>
                <a:gd name="T18" fmla="*/ 4 w 32"/>
                <a:gd name="T19" fmla="*/ 4 h 53"/>
                <a:gd name="T20" fmla="*/ 9 w 32"/>
                <a:gd name="T21" fmla="*/ 1 h 53"/>
                <a:gd name="T22" fmla="*/ 15 w 32"/>
                <a:gd name="T23" fmla="*/ 0 h 53"/>
                <a:gd name="T24" fmla="*/ 18 w 32"/>
                <a:gd name="T25" fmla="*/ 0 h 53"/>
                <a:gd name="T26" fmla="*/ 20 w 32"/>
                <a:gd name="T27" fmla="*/ 1 h 53"/>
                <a:gd name="T28" fmla="*/ 23 w 32"/>
                <a:gd name="T29" fmla="*/ 2 h 53"/>
                <a:gd name="T30" fmla="*/ 25 w 32"/>
                <a:gd name="T31" fmla="*/ 4 h 53"/>
                <a:gd name="T32" fmla="*/ 25 w 32"/>
                <a:gd name="T33" fmla="*/ 0 h 53"/>
                <a:gd name="T34" fmla="*/ 32 w 32"/>
                <a:gd name="T35" fmla="*/ 0 h 53"/>
                <a:gd name="T36" fmla="*/ 32 w 32"/>
                <a:gd name="T37" fmla="*/ 49 h 53"/>
                <a:gd name="T38" fmla="*/ 25 w 32"/>
                <a:gd name="T39" fmla="*/ 53 h 53"/>
                <a:gd name="T40" fmla="*/ 25 w 32"/>
                <a:gd name="T41" fmla="*/ 12 h 53"/>
                <a:gd name="T42" fmla="*/ 23 w 32"/>
                <a:gd name="T43" fmla="*/ 10 h 53"/>
                <a:gd name="T44" fmla="*/ 21 w 32"/>
                <a:gd name="T45" fmla="*/ 8 h 53"/>
                <a:gd name="T46" fmla="*/ 18 w 32"/>
                <a:gd name="T47" fmla="*/ 7 h 53"/>
                <a:gd name="T48" fmla="*/ 16 w 32"/>
                <a:gd name="T49" fmla="*/ 7 h 53"/>
                <a:gd name="T50" fmla="*/ 9 w 32"/>
                <a:gd name="T51" fmla="*/ 10 h 53"/>
                <a:gd name="T52" fmla="*/ 7 w 32"/>
                <a:gd name="T53" fmla="*/ 19 h 53"/>
                <a:gd name="T54" fmla="*/ 10 w 32"/>
                <a:gd name="T55" fmla="*/ 29 h 53"/>
                <a:gd name="T56" fmla="*/ 16 w 32"/>
                <a:gd name="T57" fmla="*/ 33 h 53"/>
                <a:gd name="T58" fmla="*/ 21 w 32"/>
                <a:gd name="T59" fmla="*/ 31 h 53"/>
                <a:gd name="T60" fmla="*/ 25 w 32"/>
                <a:gd name="T61" fmla="*/ 28 h 53"/>
                <a:gd name="T62" fmla="*/ 25 w 32"/>
                <a:gd name="T63" fmla="*/ 1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2" h="53">
                  <a:moveTo>
                    <a:pt x="25" y="53"/>
                  </a:moveTo>
                  <a:cubicBezTo>
                    <a:pt x="25" y="35"/>
                    <a:pt x="25" y="35"/>
                    <a:pt x="25" y="35"/>
                  </a:cubicBezTo>
                  <a:cubicBezTo>
                    <a:pt x="23" y="36"/>
                    <a:pt x="22" y="37"/>
                    <a:pt x="20" y="38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3" y="40"/>
                    <a:pt x="11" y="39"/>
                    <a:pt x="9" y="38"/>
                  </a:cubicBezTo>
                  <a:cubicBezTo>
                    <a:pt x="7" y="38"/>
                    <a:pt x="5" y="36"/>
                    <a:pt x="4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0" y="26"/>
                    <a:pt x="0" y="23"/>
                    <a:pt x="0" y="19"/>
                  </a:cubicBezTo>
                  <a:cubicBezTo>
                    <a:pt x="0" y="16"/>
                    <a:pt x="0" y="13"/>
                    <a:pt x="1" y="10"/>
                  </a:cubicBezTo>
                  <a:cubicBezTo>
                    <a:pt x="2" y="8"/>
                    <a:pt x="3" y="6"/>
                    <a:pt x="4" y="4"/>
                  </a:cubicBezTo>
                  <a:cubicBezTo>
                    <a:pt x="6" y="3"/>
                    <a:pt x="7" y="2"/>
                    <a:pt x="9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6" y="0"/>
                    <a:pt x="17" y="0"/>
                    <a:pt x="18" y="0"/>
                  </a:cubicBezTo>
                  <a:cubicBezTo>
                    <a:pt x="19" y="0"/>
                    <a:pt x="20" y="0"/>
                    <a:pt x="20" y="1"/>
                  </a:cubicBezTo>
                  <a:cubicBezTo>
                    <a:pt x="21" y="1"/>
                    <a:pt x="22" y="2"/>
                    <a:pt x="23" y="2"/>
                  </a:cubicBezTo>
                  <a:cubicBezTo>
                    <a:pt x="23" y="3"/>
                    <a:pt x="24" y="3"/>
                    <a:pt x="25" y="4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49"/>
                    <a:pt x="32" y="49"/>
                    <a:pt x="32" y="49"/>
                  </a:cubicBezTo>
                  <a:lnTo>
                    <a:pt x="25" y="53"/>
                  </a:lnTo>
                  <a:close/>
                  <a:moveTo>
                    <a:pt x="25" y="12"/>
                  </a:moveTo>
                  <a:cubicBezTo>
                    <a:pt x="24" y="11"/>
                    <a:pt x="24" y="10"/>
                    <a:pt x="23" y="10"/>
                  </a:cubicBezTo>
                  <a:cubicBezTo>
                    <a:pt x="23" y="9"/>
                    <a:pt x="22" y="9"/>
                    <a:pt x="21" y="8"/>
                  </a:cubicBezTo>
                  <a:cubicBezTo>
                    <a:pt x="20" y="8"/>
                    <a:pt x="19" y="7"/>
                    <a:pt x="18" y="7"/>
                  </a:cubicBezTo>
                  <a:cubicBezTo>
                    <a:pt x="18" y="7"/>
                    <a:pt x="17" y="7"/>
                    <a:pt x="16" y="7"/>
                  </a:cubicBezTo>
                  <a:cubicBezTo>
                    <a:pt x="13" y="7"/>
                    <a:pt x="11" y="8"/>
                    <a:pt x="9" y="10"/>
                  </a:cubicBezTo>
                  <a:cubicBezTo>
                    <a:pt x="8" y="12"/>
                    <a:pt x="7" y="15"/>
                    <a:pt x="7" y="19"/>
                  </a:cubicBezTo>
                  <a:cubicBezTo>
                    <a:pt x="7" y="23"/>
                    <a:pt x="8" y="27"/>
                    <a:pt x="10" y="29"/>
                  </a:cubicBezTo>
                  <a:cubicBezTo>
                    <a:pt x="11" y="31"/>
                    <a:pt x="13" y="33"/>
                    <a:pt x="16" y="33"/>
                  </a:cubicBezTo>
                  <a:cubicBezTo>
                    <a:pt x="18" y="33"/>
                    <a:pt x="19" y="32"/>
                    <a:pt x="21" y="31"/>
                  </a:cubicBezTo>
                  <a:cubicBezTo>
                    <a:pt x="22" y="30"/>
                    <a:pt x="24" y="29"/>
                    <a:pt x="25" y="28"/>
                  </a:cubicBezTo>
                  <a:lnTo>
                    <a:pt x="25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3" name="Freeform 21">
              <a:extLst>
                <a:ext uri="{FF2B5EF4-FFF2-40B4-BE49-F238E27FC236}">
                  <a16:creationId xmlns:a16="http://schemas.microsoft.com/office/drawing/2014/main" id="{FA80A690-9084-4519-8D88-A01963C0236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35545" y="6212575"/>
              <a:ext cx="78468" cy="101135"/>
            </a:xfrm>
            <a:custGeom>
              <a:avLst/>
              <a:gdLst>
                <a:gd name="T0" fmla="*/ 24 w 31"/>
                <a:gd name="T1" fmla="*/ 39 h 40"/>
                <a:gd name="T2" fmla="*/ 24 w 31"/>
                <a:gd name="T3" fmla="*/ 35 h 40"/>
                <a:gd name="T4" fmla="*/ 20 w 31"/>
                <a:gd name="T5" fmla="*/ 38 h 40"/>
                <a:gd name="T6" fmla="*/ 14 w 31"/>
                <a:gd name="T7" fmla="*/ 40 h 40"/>
                <a:gd name="T8" fmla="*/ 4 w 31"/>
                <a:gd name="T9" fmla="*/ 35 h 40"/>
                <a:gd name="T10" fmla="*/ 0 w 31"/>
                <a:gd name="T11" fmla="*/ 22 h 40"/>
                <a:gd name="T12" fmla="*/ 0 w 31"/>
                <a:gd name="T13" fmla="*/ 0 h 40"/>
                <a:gd name="T14" fmla="*/ 8 w 31"/>
                <a:gd name="T15" fmla="*/ 0 h 40"/>
                <a:gd name="T16" fmla="*/ 8 w 31"/>
                <a:gd name="T17" fmla="*/ 22 h 40"/>
                <a:gd name="T18" fmla="*/ 10 w 31"/>
                <a:gd name="T19" fmla="*/ 30 h 40"/>
                <a:gd name="T20" fmla="*/ 16 w 31"/>
                <a:gd name="T21" fmla="*/ 33 h 40"/>
                <a:gd name="T22" fmla="*/ 22 w 31"/>
                <a:gd name="T23" fmla="*/ 30 h 40"/>
                <a:gd name="T24" fmla="*/ 24 w 31"/>
                <a:gd name="T25" fmla="*/ 23 h 40"/>
                <a:gd name="T26" fmla="*/ 24 w 31"/>
                <a:gd name="T27" fmla="*/ 0 h 40"/>
                <a:gd name="T28" fmla="*/ 31 w 31"/>
                <a:gd name="T29" fmla="*/ 0 h 40"/>
                <a:gd name="T30" fmla="*/ 31 w 31"/>
                <a:gd name="T31" fmla="*/ 39 h 40"/>
                <a:gd name="T32" fmla="*/ 24 w 31"/>
                <a:gd name="T33" fmla="*/ 39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1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2" y="38"/>
                    <a:pt x="20" y="38"/>
                  </a:cubicBezTo>
                  <a:cubicBezTo>
                    <a:pt x="18" y="39"/>
                    <a:pt x="16" y="40"/>
                    <a:pt x="14" y="40"/>
                  </a:cubicBezTo>
                  <a:cubicBezTo>
                    <a:pt x="10" y="40"/>
                    <a:pt x="6" y="38"/>
                    <a:pt x="4" y="35"/>
                  </a:cubicBezTo>
                  <a:cubicBezTo>
                    <a:pt x="2" y="32"/>
                    <a:pt x="0" y="28"/>
                    <a:pt x="0" y="2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6"/>
                    <a:pt x="9" y="28"/>
                    <a:pt x="10" y="30"/>
                  </a:cubicBezTo>
                  <a:cubicBezTo>
                    <a:pt x="11" y="32"/>
                    <a:pt x="13" y="33"/>
                    <a:pt x="16" y="33"/>
                  </a:cubicBezTo>
                  <a:cubicBezTo>
                    <a:pt x="18" y="33"/>
                    <a:pt x="20" y="32"/>
                    <a:pt x="22" y="30"/>
                  </a:cubicBezTo>
                  <a:cubicBezTo>
                    <a:pt x="23" y="28"/>
                    <a:pt x="24" y="26"/>
                    <a:pt x="24" y="23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4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4" name="Freeform 22">
              <a:extLst>
                <a:ext uri="{FF2B5EF4-FFF2-40B4-BE49-F238E27FC236}">
                  <a16:creationId xmlns:a16="http://schemas.microsoft.com/office/drawing/2014/main" id="{E847401D-2482-482A-AC12-D2E83C13546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93493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1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2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5" name="Freeform 23">
              <a:extLst>
                <a:ext uri="{FF2B5EF4-FFF2-40B4-BE49-F238E27FC236}">
                  <a16:creationId xmlns:a16="http://schemas.microsoft.com/office/drawing/2014/main" id="{86054F72-4509-4465-B9A8-8DAE3EFD35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30841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1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4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7 w 29"/>
                <a:gd name="T55" fmla="*/ 24 h 40"/>
                <a:gd name="T56" fmla="*/ 13 w 29"/>
                <a:gd name="T57" fmla="*/ 22 h 40"/>
                <a:gd name="T58" fmla="*/ 8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2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3" y="6"/>
                    <a:pt x="11" y="7"/>
                    <a:pt x="10" y="7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1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9" y="25"/>
                    <a:pt x="18" y="24"/>
                    <a:pt x="17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8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3" y="15"/>
                    <a:pt x="2" y="14"/>
                  </a:cubicBezTo>
                  <a:cubicBezTo>
                    <a:pt x="2" y="13"/>
                    <a:pt x="2" y="12"/>
                    <a:pt x="2" y="10"/>
                  </a:cubicBezTo>
                  <a:cubicBezTo>
                    <a:pt x="2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6" name="Freeform 24">
              <a:extLst>
                <a:ext uri="{FF2B5EF4-FFF2-40B4-BE49-F238E27FC236}">
                  <a16:creationId xmlns:a16="http://schemas.microsoft.com/office/drawing/2014/main" id="{813850E4-4B62-4FDA-ABD6-F5A5AA5E7C2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1802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7" name="Freeform 25">
              <a:extLst>
                <a:ext uri="{FF2B5EF4-FFF2-40B4-BE49-F238E27FC236}">
                  <a16:creationId xmlns:a16="http://schemas.microsoft.com/office/drawing/2014/main" id="{1B4F0124-2FAE-4D54-9ECC-E88A8031BBD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194750" y="6175958"/>
              <a:ext cx="24412" cy="136010"/>
            </a:xfrm>
            <a:custGeom>
              <a:avLst/>
              <a:gdLst>
                <a:gd name="T0" fmla="*/ 10 w 10"/>
                <a:gd name="T1" fmla="*/ 5 h 53"/>
                <a:gd name="T2" fmla="*/ 9 w 10"/>
                <a:gd name="T3" fmla="*/ 6 h 53"/>
                <a:gd name="T4" fmla="*/ 8 w 10"/>
                <a:gd name="T5" fmla="*/ 8 h 53"/>
                <a:gd name="T6" fmla="*/ 7 w 10"/>
                <a:gd name="T7" fmla="*/ 9 h 53"/>
                <a:gd name="T8" fmla="*/ 5 w 10"/>
                <a:gd name="T9" fmla="*/ 9 h 53"/>
                <a:gd name="T10" fmla="*/ 3 w 10"/>
                <a:gd name="T11" fmla="*/ 9 h 53"/>
                <a:gd name="T12" fmla="*/ 1 w 10"/>
                <a:gd name="T13" fmla="*/ 8 h 53"/>
                <a:gd name="T14" fmla="*/ 0 w 10"/>
                <a:gd name="T15" fmla="*/ 6 h 53"/>
                <a:gd name="T16" fmla="*/ 0 w 10"/>
                <a:gd name="T17" fmla="*/ 5 h 53"/>
                <a:gd name="T18" fmla="*/ 0 w 10"/>
                <a:gd name="T19" fmla="*/ 3 h 53"/>
                <a:gd name="T20" fmla="*/ 1 w 10"/>
                <a:gd name="T21" fmla="*/ 1 h 53"/>
                <a:gd name="T22" fmla="*/ 3 w 10"/>
                <a:gd name="T23" fmla="*/ 0 h 53"/>
                <a:gd name="T24" fmla="*/ 5 w 10"/>
                <a:gd name="T25" fmla="*/ 0 h 53"/>
                <a:gd name="T26" fmla="*/ 7 w 10"/>
                <a:gd name="T27" fmla="*/ 0 h 53"/>
                <a:gd name="T28" fmla="*/ 8 w 10"/>
                <a:gd name="T29" fmla="*/ 1 h 53"/>
                <a:gd name="T30" fmla="*/ 9 w 10"/>
                <a:gd name="T31" fmla="*/ 3 h 53"/>
                <a:gd name="T32" fmla="*/ 10 w 10"/>
                <a:gd name="T33" fmla="*/ 5 h 53"/>
                <a:gd name="T34" fmla="*/ 1 w 10"/>
                <a:gd name="T35" fmla="*/ 53 h 53"/>
                <a:gd name="T36" fmla="*/ 1 w 10"/>
                <a:gd name="T37" fmla="*/ 14 h 53"/>
                <a:gd name="T38" fmla="*/ 9 w 10"/>
                <a:gd name="T39" fmla="*/ 14 h 53"/>
                <a:gd name="T40" fmla="*/ 9 w 10"/>
                <a:gd name="T41" fmla="*/ 53 h 53"/>
                <a:gd name="T42" fmla="*/ 1 w 10"/>
                <a:gd name="T43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" h="53">
                  <a:moveTo>
                    <a:pt x="10" y="5"/>
                  </a:moveTo>
                  <a:cubicBezTo>
                    <a:pt x="10" y="5"/>
                    <a:pt x="10" y="6"/>
                    <a:pt x="9" y="6"/>
                  </a:cubicBezTo>
                  <a:cubicBezTo>
                    <a:pt x="9" y="7"/>
                    <a:pt x="9" y="8"/>
                    <a:pt x="8" y="8"/>
                  </a:cubicBezTo>
                  <a:cubicBezTo>
                    <a:pt x="8" y="8"/>
                    <a:pt x="7" y="9"/>
                    <a:pt x="7" y="9"/>
                  </a:cubicBezTo>
                  <a:cubicBezTo>
                    <a:pt x="6" y="9"/>
                    <a:pt x="6" y="9"/>
                    <a:pt x="5" y="9"/>
                  </a:cubicBezTo>
                  <a:cubicBezTo>
                    <a:pt x="4" y="9"/>
                    <a:pt x="4" y="9"/>
                    <a:pt x="3" y="9"/>
                  </a:cubicBezTo>
                  <a:cubicBezTo>
                    <a:pt x="2" y="9"/>
                    <a:pt x="2" y="8"/>
                    <a:pt x="1" y="8"/>
                  </a:cubicBezTo>
                  <a:cubicBezTo>
                    <a:pt x="1" y="8"/>
                    <a:pt x="1" y="7"/>
                    <a:pt x="0" y="6"/>
                  </a:cubicBezTo>
                  <a:cubicBezTo>
                    <a:pt x="0" y="6"/>
                    <a:pt x="0" y="5"/>
                    <a:pt x="0" y="5"/>
                  </a:cubicBezTo>
                  <a:cubicBezTo>
                    <a:pt x="0" y="4"/>
                    <a:pt x="0" y="3"/>
                    <a:pt x="0" y="3"/>
                  </a:cubicBezTo>
                  <a:cubicBezTo>
                    <a:pt x="1" y="2"/>
                    <a:pt x="1" y="2"/>
                    <a:pt x="1" y="1"/>
                  </a:cubicBezTo>
                  <a:cubicBezTo>
                    <a:pt x="2" y="1"/>
                    <a:pt x="2" y="0"/>
                    <a:pt x="3" y="0"/>
                  </a:cubicBezTo>
                  <a:cubicBezTo>
                    <a:pt x="4" y="0"/>
                    <a:pt x="4" y="0"/>
                    <a:pt x="5" y="0"/>
                  </a:cubicBezTo>
                  <a:cubicBezTo>
                    <a:pt x="6" y="0"/>
                    <a:pt x="6" y="0"/>
                    <a:pt x="7" y="0"/>
                  </a:cubicBezTo>
                  <a:cubicBezTo>
                    <a:pt x="7" y="0"/>
                    <a:pt x="8" y="1"/>
                    <a:pt x="8" y="1"/>
                  </a:cubicBezTo>
                  <a:cubicBezTo>
                    <a:pt x="9" y="2"/>
                    <a:pt x="9" y="2"/>
                    <a:pt x="9" y="3"/>
                  </a:cubicBezTo>
                  <a:cubicBezTo>
                    <a:pt x="10" y="3"/>
                    <a:pt x="10" y="4"/>
                    <a:pt x="10" y="5"/>
                  </a:cubicBezTo>
                  <a:close/>
                  <a:moveTo>
                    <a:pt x="1" y="53"/>
                  </a:moveTo>
                  <a:cubicBezTo>
                    <a:pt x="1" y="14"/>
                    <a:pt x="1" y="14"/>
                    <a:pt x="1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53"/>
                    <a:pt x="9" y="53"/>
                    <a:pt x="9" y="53"/>
                  </a:cubicBezTo>
                  <a:lnTo>
                    <a:pt x="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8" name="Freeform 26">
              <a:extLst>
                <a:ext uri="{FF2B5EF4-FFF2-40B4-BE49-F238E27FC236}">
                  <a16:creationId xmlns:a16="http://schemas.microsoft.com/office/drawing/2014/main" id="{2A730E5F-DF9C-488E-B4E0-EE9F501529E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236599" y="6212575"/>
              <a:ext cx="87186" cy="101135"/>
            </a:xfrm>
            <a:custGeom>
              <a:avLst/>
              <a:gdLst>
                <a:gd name="T0" fmla="*/ 34 w 34"/>
                <a:gd name="T1" fmla="*/ 19 h 40"/>
                <a:gd name="T2" fmla="*/ 33 w 34"/>
                <a:gd name="T3" fmla="*/ 28 h 40"/>
                <a:gd name="T4" fmla="*/ 29 w 34"/>
                <a:gd name="T5" fmla="*/ 34 h 40"/>
                <a:gd name="T6" fmla="*/ 24 w 34"/>
                <a:gd name="T7" fmla="*/ 38 h 40"/>
                <a:gd name="T8" fmla="*/ 17 w 34"/>
                <a:gd name="T9" fmla="*/ 40 h 40"/>
                <a:gd name="T10" fmla="*/ 10 w 34"/>
                <a:gd name="T11" fmla="*/ 38 h 40"/>
                <a:gd name="T12" fmla="*/ 5 w 34"/>
                <a:gd name="T13" fmla="*/ 34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1 h 40"/>
                <a:gd name="T20" fmla="*/ 5 w 34"/>
                <a:gd name="T21" fmla="*/ 5 h 40"/>
                <a:gd name="T22" fmla="*/ 10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1 h 40"/>
                <a:gd name="T32" fmla="*/ 34 w 34"/>
                <a:gd name="T33" fmla="*/ 19 h 40"/>
                <a:gd name="T34" fmla="*/ 26 w 34"/>
                <a:gd name="T35" fmla="*/ 20 h 40"/>
                <a:gd name="T36" fmla="*/ 26 w 34"/>
                <a:gd name="T37" fmla="*/ 14 h 40"/>
                <a:gd name="T38" fmla="*/ 24 w 34"/>
                <a:gd name="T39" fmla="*/ 10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0 h 40"/>
                <a:gd name="T48" fmla="*/ 8 w 34"/>
                <a:gd name="T49" fmla="*/ 14 h 40"/>
                <a:gd name="T50" fmla="*/ 7 w 34"/>
                <a:gd name="T51" fmla="*/ 19 h 40"/>
                <a:gd name="T52" fmla="*/ 8 w 34"/>
                <a:gd name="T53" fmla="*/ 25 h 40"/>
                <a:gd name="T54" fmla="*/ 10 w 34"/>
                <a:gd name="T55" fmla="*/ 29 h 40"/>
                <a:gd name="T56" fmla="*/ 13 w 34"/>
                <a:gd name="T57" fmla="*/ 32 h 40"/>
                <a:gd name="T58" fmla="*/ 17 w 34"/>
                <a:gd name="T59" fmla="*/ 32 h 40"/>
                <a:gd name="T60" fmla="*/ 21 w 34"/>
                <a:gd name="T61" fmla="*/ 31 h 40"/>
                <a:gd name="T62" fmla="*/ 24 w 34"/>
                <a:gd name="T63" fmla="*/ 29 h 40"/>
                <a:gd name="T64" fmla="*/ 26 w 34"/>
                <a:gd name="T65" fmla="*/ 25 h 40"/>
                <a:gd name="T66" fmla="*/ 26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19"/>
                  </a:moveTo>
                  <a:cubicBezTo>
                    <a:pt x="34" y="23"/>
                    <a:pt x="34" y="25"/>
                    <a:pt x="33" y="28"/>
                  </a:cubicBezTo>
                  <a:cubicBezTo>
                    <a:pt x="32" y="30"/>
                    <a:pt x="31" y="33"/>
                    <a:pt x="29" y="34"/>
                  </a:cubicBezTo>
                  <a:cubicBezTo>
                    <a:pt x="28" y="36"/>
                    <a:pt x="26" y="37"/>
                    <a:pt x="24" y="38"/>
                  </a:cubicBezTo>
                  <a:cubicBezTo>
                    <a:pt x="21" y="39"/>
                    <a:pt x="19" y="40"/>
                    <a:pt x="17" y="40"/>
                  </a:cubicBezTo>
                  <a:cubicBezTo>
                    <a:pt x="14" y="40"/>
                    <a:pt x="12" y="39"/>
                    <a:pt x="10" y="38"/>
                  </a:cubicBezTo>
                  <a:cubicBezTo>
                    <a:pt x="8" y="37"/>
                    <a:pt x="6" y="36"/>
                    <a:pt x="5" y="34"/>
                  </a:cubicBezTo>
                  <a:cubicBezTo>
                    <a:pt x="3" y="32"/>
                    <a:pt x="2" y="30"/>
                    <a:pt x="1" y="28"/>
                  </a:cubicBezTo>
                  <a:cubicBezTo>
                    <a:pt x="0" y="25"/>
                    <a:pt x="0" y="23"/>
                    <a:pt x="0" y="20"/>
                  </a:cubicBezTo>
                  <a:cubicBezTo>
                    <a:pt x="0" y="16"/>
                    <a:pt x="0" y="14"/>
                    <a:pt x="1" y="11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8" y="3"/>
                    <a:pt x="29" y="5"/>
                  </a:cubicBezTo>
                  <a:cubicBezTo>
                    <a:pt x="31" y="7"/>
                    <a:pt x="32" y="9"/>
                    <a:pt x="33" y="11"/>
                  </a:cubicBezTo>
                  <a:cubicBezTo>
                    <a:pt x="34" y="14"/>
                    <a:pt x="34" y="16"/>
                    <a:pt x="34" y="19"/>
                  </a:cubicBezTo>
                  <a:close/>
                  <a:moveTo>
                    <a:pt x="26" y="20"/>
                  </a:moveTo>
                  <a:cubicBezTo>
                    <a:pt x="26" y="18"/>
                    <a:pt x="26" y="16"/>
                    <a:pt x="26" y="14"/>
                  </a:cubicBezTo>
                  <a:cubicBezTo>
                    <a:pt x="25" y="13"/>
                    <a:pt x="25" y="11"/>
                    <a:pt x="24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19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11"/>
                    <a:pt x="8" y="13"/>
                    <a:pt x="8" y="14"/>
                  </a:cubicBezTo>
                  <a:cubicBezTo>
                    <a:pt x="8" y="16"/>
                    <a:pt x="7" y="17"/>
                    <a:pt x="7" y="19"/>
                  </a:cubicBezTo>
                  <a:cubicBezTo>
                    <a:pt x="7" y="21"/>
                    <a:pt x="8" y="23"/>
                    <a:pt x="8" y="25"/>
                  </a:cubicBezTo>
                  <a:cubicBezTo>
                    <a:pt x="9" y="27"/>
                    <a:pt x="9" y="28"/>
                    <a:pt x="10" y="29"/>
                  </a:cubicBezTo>
                  <a:cubicBezTo>
                    <a:pt x="11" y="30"/>
                    <a:pt x="12" y="31"/>
                    <a:pt x="13" y="32"/>
                  </a:cubicBezTo>
                  <a:cubicBezTo>
                    <a:pt x="14" y="32"/>
                    <a:pt x="16" y="32"/>
                    <a:pt x="17" y="32"/>
                  </a:cubicBezTo>
                  <a:cubicBezTo>
                    <a:pt x="18" y="32"/>
                    <a:pt x="20" y="32"/>
                    <a:pt x="21" y="31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7"/>
                    <a:pt x="25" y="26"/>
                    <a:pt x="26" y="25"/>
                  </a:cubicBezTo>
                  <a:cubicBezTo>
                    <a:pt x="26" y="23"/>
                    <a:pt x="26" y="21"/>
                    <a:pt x="26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9" name="Freeform 27">
              <a:extLst>
                <a:ext uri="{FF2B5EF4-FFF2-40B4-BE49-F238E27FC236}">
                  <a16:creationId xmlns:a16="http://schemas.microsoft.com/office/drawing/2014/main" id="{39861D7E-D8DA-436F-9E2F-5C08A8BFB4D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44710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1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9 w 31"/>
                <a:gd name="T11" fmla="*/ 9 h 39"/>
                <a:gd name="T12" fmla="*/ 8 w 31"/>
                <a:gd name="T13" fmla="*/ 12 h 39"/>
                <a:gd name="T14" fmla="*/ 7 w 31"/>
                <a:gd name="T15" fmla="*/ 16 h 39"/>
                <a:gd name="T16" fmla="*/ 7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7 w 31"/>
                <a:gd name="T23" fmla="*/ 0 h 39"/>
                <a:gd name="T24" fmla="*/ 7 w 31"/>
                <a:gd name="T25" fmla="*/ 4 h 39"/>
                <a:gd name="T26" fmla="*/ 9 w 31"/>
                <a:gd name="T27" fmla="*/ 2 h 39"/>
                <a:gd name="T28" fmla="*/ 11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7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1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9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7" y="15"/>
                    <a:pt x="7" y="16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9" y="0"/>
                    <a:pt x="21" y="0"/>
                    <a:pt x="23" y="1"/>
                  </a:cubicBezTo>
                  <a:cubicBezTo>
                    <a:pt x="25" y="1"/>
                    <a:pt x="26" y="2"/>
                    <a:pt x="27" y="4"/>
                  </a:cubicBezTo>
                  <a:cubicBezTo>
                    <a:pt x="28" y="5"/>
                    <a:pt x="29" y="7"/>
                    <a:pt x="30" y="9"/>
                  </a:cubicBezTo>
                  <a:cubicBezTo>
                    <a:pt x="30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0" name="Freeform 28">
              <a:extLst>
                <a:ext uri="{FF2B5EF4-FFF2-40B4-BE49-F238E27FC236}">
                  <a16:creationId xmlns:a16="http://schemas.microsoft.com/office/drawing/2014/main" id="{8B038F9F-6A9C-4E57-A659-0090AF47059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45845" y="6284068"/>
              <a:ext cx="31387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4 w 12"/>
                <a:gd name="T11" fmla="*/ 11 h 12"/>
                <a:gd name="T12" fmla="*/ 2 w 12"/>
                <a:gd name="T13" fmla="*/ 10 h 12"/>
                <a:gd name="T14" fmla="*/ 1 w 12"/>
                <a:gd name="T15" fmla="*/ 8 h 12"/>
                <a:gd name="T16" fmla="*/ 0 w 12"/>
                <a:gd name="T17" fmla="*/ 6 h 12"/>
                <a:gd name="T18" fmla="*/ 1 w 12"/>
                <a:gd name="T19" fmla="*/ 4 h 12"/>
                <a:gd name="T20" fmla="*/ 2 w 12"/>
                <a:gd name="T21" fmla="*/ 2 h 12"/>
                <a:gd name="T22" fmla="*/ 4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4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1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1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4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1" name="Freeform 29">
              <a:extLst>
                <a:ext uri="{FF2B5EF4-FFF2-40B4-BE49-F238E27FC236}">
                  <a16:creationId xmlns:a16="http://schemas.microsoft.com/office/drawing/2014/main" id="{15E4EB7D-754D-4053-9A23-596C7CFDA98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0006" y="6181188"/>
              <a:ext cx="97648" cy="130778"/>
            </a:xfrm>
            <a:custGeom>
              <a:avLst/>
              <a:gdLst>
                <a:gd name="T0" fmla="*/ 34 w 56"/>
                <a:gd name="T1" fmla="*/ 11 h 75"/>
                <a:gd name="T2" fmla="*/ 34 w 56"/>
                <a:gd name="T3" fmla="*/ 75 h 75"/>
                <a:gd name="T4" fmla="*/ 22 w 56"/>
                <a:gd name="T5" fmla="*/ 75 h 75"/>
                <a:gd name="T6" fmla="*/ 22 w 56"/>
                <a:gd name="T7" fmla="*/ 11 h 75"/>
                <a:gd name="T8" fmla="*/ 0 w 56"/>
                <a:gd name="T9" fmla="*/ 11 h 75"/>
                <a:gd name="T10" fmla="*/ 0 w 56"/>
                <a:gd name="T11" fmla="*/ 0 h 75"/>
                <a:gd name="T12" fmla="*/ 56 w 56"/>
                <a:gd name="T13" fmla="*/ 0 h 75"/>
                <a:gd name="T14" fmla="*/ 56 w 56"/>
                <a:gd name="T15" fmla="*/ 11 h 75"/>
                <a:gd name="T16" fmla="*/ 34 w 56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6" h="75">
                  <a:moveTo>
                    <a:pt x="34" y="11"/>
                  </a:moveTo>
                  <a:lnTo>
                    <a:pt x="34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6" y="0"/>
                  </a:lnTo>
                  <a:lnTo>
                    <a:pt x="56" y="11"/>
                  </a:lnTo>
                  <a:lnTo>
                    <a:pt x="34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2" name="Freeform 30">
              <a:extLst>
                <a:ext uri="{FF2B5EF4-FFF2-40B4-BE49-F238E27FC236}">
                  <a16:creationId xmlns:a16="http://schemas.microsoft.com/office/drawing/2014/main" id="{28E147CB-2B8F-497B-B00B-C25E679DC5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51603" y="6174213"/>
              <a:ext cx="80211" cy="137753"/>
            </a:xfrm>
            <a:custGeom>
              <a:avLst/>
              <a:gdLst>
                <a:gd name="T0" fmla="*/ 24 w 31"/>
                <a:gd name="T1" fmla="*/ 54 h 54"/>
                <a:gd name="T2" fmla="*/ 24 w 31"/>
                <a:gd name="T3" fmla="*/ 32 h 54"/>
                <a:gd name="T4" fmla="*/ 22 w 31"/>
                <a:gd name="T5" fmla="*/ 24 h 54"/>
                <a:gd name="T6" fmla="*/ 16 w 31"/>
                <a:gd name="T7" fmla="*/ 22 h 54"/>
                <a:gd name="T8" fmla="*/ 13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8 w 31"/>
                <a:gd name="T15" fmla="*/ 31 h 54"/>
                <a:gd name="T16" fmla="*/ 8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8 w 31"/>
                <a:gd name="T23" fmla="*/ 0 h 54"/>
                <a:gd name="T24" fmla="*/ 8 w 31"/>
                <a:gd name="T25" fmla="*/ 19 h 54"/>
                <a:gd name="T26" fmla="*/ 10 w 31"/>
                <a:gd name="T27" fmla="*/ 17 h 54"/>
                <a:gd name="T28" fmla="*/ 12 w 31"/>
                <a:gd name="T29" fmla="*/ 16 h 54"/>
                <a:gd name="T30" fmla="*/ 15 w 31"/>
                <a:gd name="T31" fmla="*/ 15 h 54"/>
                <a:gd name="T32" fmla="*/ 18 w 31"/>
                <a:gd name="T33" fmla="*/ 15 h 54"/>
                <a:gd name="T34" fmla="*/ 24 w 31"/>
                <a:gd name="T35" fmla="*/ 16 h 54"/>
                <a:gd name="T36" fmla="*/ 28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4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4" y="54"/>
                  </a:moveTo>
                  <a:cubicBezTo>
                    <a:pt x="24" y="32"/>
                    <a:pt x="24" y="32"/>
                    <a:pt x="24" y="32"/>
                  </a:cubicBezTo>
                  <a:cubicBezTo>
                    <a:pt x="24" y="28"/>
                    <a:pt x="23" y="26"/>
                    <a:pt x="22" y="24"/>
                  </a:cubicBezTo>
                  <a:cubicBezTo>
                    <a:pt x="21" y="22"/>
                    <a:pt x="19" y="22"/>
                    <a:pt x="16" y="22"/>
                  </a:cubicBezTo>
                  <a:cubicBezTo>
                    <a:pt x="15" y="22"/>
                    <a:pt x="14" y="22"/>
                    <a:pt x="13" y="22"/>
                  </a:cubicBezTo>
                  <a:cubicBezTo>
                    <a:pt x="12" y="22"/>
                    <a:pt x="11" y="23"/>
                    <a:pt x="10" y="24"/>
                  </a:cubicBezTo>
                  <a:cubicBezTo>
                    <a:pt x="9" y="25"/>
                    <a:pt x="9" y="26"/>
                    <a:pt x="8" y="27"/>
                  </a:cubicBezTo>
                  <a:cubicBezTo>
                    <a:pt x="8" y="28"/>
                    <a:pt x="8" y="30"/>
                    <a:pt x="8" y="31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3" y="15"/>
                    <a:pt x="14" y="15"/>
                    <a:pt x="15" y="15"/>
                  </a:cubicBezTo>
                  <a:cubicBezTo>
                    <a:pt x="16" y="15"/>
                    <a:pt x="17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29" y="20"/>
                    <a:pt x="30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4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3" name="Freeform 31">
              <a:extLst>
                <a:ext uri="{FF2B5EF4-FFF2-40B4-BE49-F238E27FC236}">
                  <a16:creationId xmlns:a16="http://schemas.microsoft.com/office/drawing/2014/main" id="{E68BC676-C787-429D-B59B-1A5CE062F78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50996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1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4" name="Freeform 32">
              <a:extLst>
                <a:ext uri="{FF2B5EF4-FFF2-40B4-BE49-F238E27FC236}">
                  <a16:creationId xmlns:a16="http://schemas.microsoft.com/office/drawing/2014/main" id="{71266960-73CB-44B9-9A97-81085898914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02698" y="6174213"/>
              <a:ext cx="80211" cy="139497"/>
            </a:xfrm>
            <a:custGeom>
              <a:avLst/>
              <a:gdLst>
                <a:gd name="T0" fmla="*/ 32 w 32"/>
                <a:gd name="T1" fmla="*/ 35 h 55"/>
                <a:gd name="T2" fmla="*/ 31 w 32"/>
                <a:gd name="T3" fmla="*/ 44 h 55"/>
                <a:gd name="T4" fmla="*/ 28 w 32"/>
                <a:gd name="T5" fmla="*/ 50 h 55"/>
                <a:gd name="T6" fmla="*/ 23 w 32"/>
                <a:gd name="T7" fmla="*/ 53 h 55"/>
                <a:gd name="T8" fmla="*/ 17 w 32"/>
                <a:gd name="T9" fmla="*/ 55 h 55"/>
                <a:gd name="T10" fmla="*/ 12 w 32"/>
                <a:gd name="T11" fmla="*/ 53 h 55"/>
                <a:gd name="T12" fmla="*/ 7 w 32"/>
                <a:gd name="T13" fmla="*/ 50 h 55"/>
                <a:gd name="T14" fmla="*/ 7 w 32"/>
                <a:gd name="T15" fmla="*/ 54 h 55"/>
                <a:gd name="T16" fmla="*/ 0 w 32"/>
                <a:gd name="T17" fmla="*/ 54 h 55"/>
                <a:gd name="T18" fmla="*/ 0 w 32"/>
                <a:gd name="T19" fmla="*/ 4 h 55"/>
                <a:gd name="T20" fmla="*/ 7 w 32"/>
                <a:gd name="T21" fmla="*/ 0 h 55"/>
                <a:gd name="T22" fmla="*/ 7 w 32"/>
                <a:gd name="T23" fmla="*/ 19 h 55"/>
                <a:gd name="T24" fmla="*/ 10 w 32"/>
                <a:gd name="T25" fmla="*/ 17 h 55"/>
                <a:gd name="T26" fmla="*/ 12 w 32"/>
                <a:gd name="T27" fmla="*/ 16 h 55"/>
                <a:gd name="T28" fmla="*/ 14 w 32"/>
                <a:gd name="T29" fmla="*/ 15 h 55"/>
                <a:gd name="T30" fmla="*/ 17 w 32"/>
                <a:gd name="T31" fmla="*/ 15 h 55"/>
                <a:gd name="T32" fmla="*/ 23 w 32"/>
                <a:gd name="T33" fmla="*/ 16 h 55"/>
                <a:gd name="T34" fmla="*/ 28 w 32"/>
                <a:gd name="T35" fmla="*/ 19 h 55"/>
                <a:gd name="T36" fmla="*/ 31 w 32"/>
                <a:gd name="T37" fmla="*/ 26 h 55"/>
                <a:gd name="T38" fmla="*/ 32 w 32"/>
                <a:gd name="T39" fmla="*/ 35 h 55"/>
                <a:gd name="T40" fmla="*/ 25 w 32"/>
                <a:gd name="T41" fmla="*/ 35 h 55"/>
                <a:gd name="T42" fmla="*/ 23 w 32"/>
                <a:gd name="T43" fmla="*/ 25 h 55"/>
                <a:gd name="T44" fmla="*/ 16 w 32"/>
                <a:gd name="T45" fmla="*/ 22 h 55"/>
                <a:gd name="T46" fmla="*/ 14 w 32"/>
                <a:gd name="T47" fmla="*/ 22 h 55"/>
                <a:gd name="T48" fmla="*/ 11 w 32"/>
                <a:gd name="T49" fmla="*/ 23 h 55"/>
                <a:gd name="T50" fmla="*/ 9 w 32"/>
                <a:gd name="T51" fmla="*/ 25 h 55"/>
                <a:gd name="T52" fmla="*/ 7 w 32"/>
                <a:gd name="T53" fmla="*/ 26 h 55"/>
                <a:gd name="T54" fmla="*/ 7 w 32"/>
                <a:gd name="T55" fmla="*/ 43 h 55"/>
                <a:gd name="T56" fmla="*/ 9 w 32"/>
                <a:gd name="T57" fmla="*/ 44 h 55"/>
                <a:gd name="T58" fmla="*/ 11 w 32"/>
                <a:gd name="T59" fmla="*/ 46 h 55"/>
                <a:gd name="T60" fmla="*/ 14 w 32"/>
                <a:gd name="T61" fmla="*/ 47 h 55"/>
                <a:gd name="T62" fmla="*/ 16 w 32"/>
                <a:gd name="T63" fmla="*/ 48 h 55"/>
                <a:gd name="T64" fmla="*/ 23 w 32"/>
                <a:gd name="T65" fmla="*/ 45 h 55"/>
                <a:gd name="T66" fmla="*/ 25 w 32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2" h="55">
                  <a:moveTo>
                    <a:pt x="32" y="35"/>
                  </a:moveTo>
                  <a:cubicBezTo>
                    <a:pt x="32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6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5" y="55"/>
                    <a:pt x="13" y="54"/>
                    <a:pt x="12" y="53"/>
                  </a:cubicBezTo>
                  <a:cubicBezTo>
                    <a:pt x="10" y="52"/>
                    <a:pt x="9" y="51"/>
                    <a:pt x="7" y="50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6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20" y="15"/>
                    <a:pt x="21" y="15"/>
                    <a:pt x="23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29" y="21"/>
                    <a:pt x="30" y="23"/>
                    <a:pt x="31" y="26"/>
                  </a:cubicBezTo>
                  <a:cubicBezTo>
                    <a:pt x="32" y="28"/>
                    <a:pt x="32" y="32"/>
                    <a:pt x="32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4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0" y="23"/>
                    <a:pt x="10" y="24"/>
                    <a:pt x="9" y="25"/>
                  </a:cubicBezTo>
                  <a:cubicBezTo>
                    <a:pt x="8" y="25"/>
                    <a:pt x="8" y="26"/>
                    <a:pt x="7" y="26"/>
                  </a:cubicBezTo>
                  <a:cubicBezTo>
                    <a:pt x="7" y="43"/>
                    <a:pt x="7" y="43"/>
                    <a:pt x="7" y="43"/>
                  </a:cubicBezTo>
                  <a:cubicBezTo>
                    <a:pt x="8" y="43"/>
                    <a:pt x="8" y="44"/>
                    <a:pt x="9" y="44"/>
                  </a:cubicBezTo>
                  <a:cubicBezTo>
                    <a:pt x="10" y="45"/>
                    <a:pt x="10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5" y="48"/>
                    <a:pt x="16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5" name="Freeform 33">
              <a:extLst>
                <a:ext uri="{FF2B5EF4-FFF2-40B4-BE49-F238E27FC236}">
                  <a16:creationId xmlns:a16="http://schemas.microsoft.com/office/drawing/2014/main" id="{3FF3AC5A-B742-4B29-8E04-03A71D82B9A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9860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8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8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3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7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6" name="Freeform 34">
              <a:extLst>
                <a:ext uri="{FF2B5EF4-FFF2-40B4-BE49-F238E27FC236}">
                  <a16:creationId xmlns:a16="http://schemas.microsoft.com/office/drawing/2014/main" id="{0C912743-E24B-4E48-8196-5FBD1ECEE9A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625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3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7" name="Freeform 35">
              <a:extLst>
                <a:ext uri="{FF2B5EF4-FFF2-40B4-BE49-F238E27FC236}">
                  <a16:creationId xmlns:a16="http://schemas.microsoft.com/office/drawing/2014/main" id="{6E2F01F4-1410-4FE1-B043-EA97A1541F3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64256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7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6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7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8" name="Freeform 36">
              <a:extLst>
                <a:ext uri="{FF2B5EF4-FFF2-40B4-BE49-F238E27FC236}">
                  <a16:creationId xmlns:a16="http://schemas.microsoft.com/office/drawing/2014/main" id="{58ACFF1C-49F0-414E-B9E3-DE4E9FFAA38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2340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9" name="Freeform 37">
              <a:extLst>
                <a:ext uri="{FF2B5EF4-FFF2-40B4-BE49-F238E27FC236}">
                  <a16:creationId xmlns:a16="http://schemas.microsoft.com/office/drawing/2014/main" id="{DACBD04B-22FF-4A4F-8B29-A2F31A0542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36884" y="6212575"/>
              <a:ext cx="59286" cy="99391"/>
            </a:xfrm>
            <a:custGeom>
              <a:avLst/>
              <a:gdLst>
                <a:gd name="T0" fmla="*/ 21 w 23"/>
                <a:gd name="T1" fmla="*/ 8 h 39"/>
                <a:gd name="T2" fmla="*/ 19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9" y="7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0" name="Freeform 38">
              <a:extLst>
                <a:ext uri="{FF2B5EF4-FFF2-40B4-BE49-F238E27FC236}">
                  <a16:creationId xmlns:a16="http://schemas.microsoft.com/office/drawing/2014/main" id="{A13F6E37-C22B-4FD3-ADFE-9C53ECB446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51969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1" name="Freeform 39">
              <a:extLst>
                <a:ext uri="{FF2B5EF4-FFF2-40B4-BE49-F238E27FC236}">
                  <a16:creationId xmlns:a16="http://schemas.microsoft.com/office/drawing/2014/main" id="{76256F1D-405A-49F9-8592-A899623F2D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30436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2" name="Freeform 40">
              <a:extLst>
                <a:ext uri="{FF2B5EF4-FFF2-40B4-BE49-F238E27FC236}">
                  <a16:creationId xmlns:a16="http://schemas.microsoft.com/office/drawing/2014/main" id="{2F9CAE14-DB05-4B70-867F-3F6164BDB74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62808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3" name="Freeform 41">
              <a:extLst>
                <a:ext uri="{FF2B5EF4-FFF2-40B4-BE49-F238E27FC236}">
                  <a16:creationId xmlns:a16="http://schemas.microsoft.com/office/drawing/2014/main" id="{30C7B10F-7027-41F9-BEE2-F1575CB690D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772813" y="6212575"/>
              <a:ext cx="81955" cy="101135"/>
            </a:xfrm>
            <a:custGeom>
              <a:avLst/>
              <a:gdLst>
                <a:gd name="T0" fmla="*/ 24 w 32"/>
                <a:gd name="T1" fmla="*/ 39 h 40"/>
                <a:gd name="T2" fmla="*/ 24 w 32"/>
                <a:gd name="T3" fmla="*/ 35 h 40"/>
                <a:gd name="T4" fmla="*/ 22 w 32"/>
                <a:gd name="T5" fmla="*/ 37 h 40"/>
                <a:gd name="T6" fmla="*/ 20 w 32"/>
                <a:gd name="T7" fmla="*/ 38 h 40"/>
                <a:gd name="T8" fmla="*/ 17 w 32"/>
                <a:gd name="T9" fmla="*/ 39 h 40"/>
                <a:gd name="T10" fmla="*/ 14 w 32"/>
                <a:gd name="T11" fmla="*/ 40 h 40"/>
                <a:gd name="T12" fmla="*/ 9 w 32"/>
                <a:gd name="T13" fmla="*/ 39 h 40"/>
                <a:gd name="T14" fmla="*/ 5 w 32"/>
                <a:gd name="T15" fmla="*/ 37 h 40"/>
                <a:gd name="T16" fmla="*/ 2 w 32"/>
                <a:gd name="T17" fmla="*/ 33 h 40"/>
                <a:gd name="T18" fmla="*/ 0 w 32"/>
                <a:gd name="T19" fmla="*/ 27 h 40"/>
                <a:gd name="T20" fmla="*/ 2 w 32"/>
                <a:gd name="T21" fmla="*/ 21 h 40"/>
                <a:gd name="T22" fmla="*/ 5 w 32"/>
                <a:gd name="T23" fmla="*/ 17 h 40"/>
                <a:gd name="T24" fmla="*/ 10 w 32"/>
                <a:gd name="T25" fmla="*/ 15 h 40"/>
                <a:gd name="T26" fmla="*/ 16 w 32"/>
                <a:gd name="T27" fmla="*/ 14 h 40"/>
                <a:gd name="T28" fmla="*/ 21 w 32"/>
                <a:gd name="T29" fmla="*/ 15 h 40"/>
                <a:gd name="T30" fmla="*/ 24 w 32"/>
                <a:gd name="T31" fmla="*/ 16 h 40"/>
                <a:gd name="T32" fmla="*/ 24 w 32"/>
                <a:gd name="T33" fmla="*/ 13 h 40"/>
                <a:gd name="T34" fmla="*/ 22 w 32"/>
                <a:gd name="T35" fmla="*/ 8 h 40"/>
                <a:gd name="T36" fmla="*/ 17 w 32"/>
                <a:gd name="T37" fmla="*/ 6 h 40"/>
                <a:gd name="T38" fmla="*/ 12 w 32"/>
                <a:gd name="T39" fmla="*/ 7 h 40"/>
                <a:gd name="T40" fmla="*/ 7 w 32"/>
                <a:gd name="T41" fmla="*/ 9 h 40"/>
                <a:gd name="T42" fmla="*/ 4 w 32"/>
                <a:gd name="T43" fmla="*/ 3 h 40"/>
                <a:gd name="T44" fmla="*/ 10 w 32"/>
                <a:gd name="T45" fmla="*/ 0 h 40"/>
                <a:gd name="T46" fmla="*/ 17 w 32"/>
                <a:gd name="T47" fmla="*/ 0 h 40"/>
                <a:gd name="T48" fmla="*/ 23 w 32"/>
                <a:gd name="T49" fmla="*/ 0 h 40"/>
                <a:gd name="T50" fmla="*/ 28 w 32"/>
                <a:gd name="T51" fmla="*/ 3 h 40"/>
                <a:gd name="T52" fmla="*/ 31 w 32"/>
                <a:gd name="T53" fmla="*/ 7 h 40"/>
                <a:gd name="T54" fmla="*/ 32 w 32"/>
                <a:gd name="T55" fmla="*/ 12 h 40"/>
                <a:gd name="T56" fmla="*/ 32 w 32"/>
                <a:gd name="T57" fmla="*/ 39 h 40"/>
                <a:gd name="T58" fmla="*/ 24 w 32"/>
                <a:gd name="T59" fmla="*/ 39 h 40"/>
                <a:gd name="T60" fmla="*/ 24 w 32"/>
                <a:gd name="T61" fmla="*/ 22 h 40"/>
                <a:gd name="T62" fmla="*/ 22 w 32"/>
                <a:gd name="T63" fmla="*/ 22 h 40"/>
                <a:gd name="T64" fmla="*/ 21 w 32"/>
                <a:gd name="T65" fmla="*/ 21 h 40"/>
                <a:gd name="T66" fmla="*/ 18 w 32"/>
                <a:gd name="T67" fmla="*/ 21 h 40"/>
                <a:gd name="T68" fmla="*/ 16 w 32"/>
                <a:gd name="T69" fmla="*/ 21 h 40"/>
                <a:gd name="T70" fmla="*/ 10 w 32"/>
                <a:gd name="T71" fmla="*/ 22 h 40"/>
                <a:gd name="T72" fmla="*/ 8 w 32"/>
                <a:gd name="T73" fmla="*/ 26 h 40"/>
                <a:gd name="T74" fmla="*/ 8 w 32"/>
                <a:gd name="T75" fmla="*/ 29 h 40"/>
                <a:gd name="T76" fmla="*/ 10 w 32"/>
                <a:gd name="T77" fmla="*/ 31 h 40"/>
                <a:gd name="T78" fmla="*/ 12 w 32"/>
                <a:gd name="T79" fmla="*/ 32 h 40"/>
                <a:gd name="T80" fmla="*/ 15 w 32"/>
                <a:gd name="T81" fmla="*/ 33 h 40"/>
                <a:gd name="T82" fmla="*/ 18 w 32"/>
                <a:gd name="T83" fmla="*/ 32 h 40"/>
                <a:gd name="T84" fmla="*/ 21 w 32"/>
                <a:gd name="T85" fmla="*/ 31 h 40"/>
                <a:gd name="T86" fmla="*/ 23 w 32"/>
                <a:gd name="T87" fmla="*/ 30 h 40"/>
                <a:gd name="T88" fmla="*/ 24 w 32"/>
                <a:gd name="T89" fmla="*/ 28 h 40"/>
                <a:gd name="T90" fmla="*/ 24 w 32"/>
                <a:gd name="T91" fmla="*/ 2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2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3" y="37"/>
                    <a:pt x="22" y="37"/>
                  </a:cubicBezTo>
                  <a:cubicBezTo>
                    <a:pt x="21" y="37"/>
                    <a:pt x="21" y="38"/>
                    <a:pt x="20" y="38"/>
                  </a:cubicBezTo>
                  <a:cubicBezTo>
                    <a:pt x="19" y="39"/>
                    <a:pt x="18" y="39"/>
                    <a:pt x="17" y="39"/>
                  </a:cubicBezTo>
                  <a:cubicBezTo>
                    <a:pt x="16" y="39"/>
                    <a:pt x="15" y="40"/>
                    <a:pt x="14" y="40"/>
                  </a:cubicBezTo>
                  <a:cubicBezTo>
                    <a:pt x="12" y="40"/>
                    <a:pt x="11" y="39"/>
                    <a:pt x="9" y="39"/>
                  </a:cubicBezTo>
                  <a:cubicBezTo>
                    <a:pt x="7" y="38"/>
                    <a:pt x="6" y="38"/>
                    <a:pt x="5" y="37"/>
                  </a:cubicBezTo>
                  <a:cubicBezTo>
                    <a:pt x="3" y="36"/>
                    <a:pt x="2" y="34"/>
                    <a:pt x="2" y="33"/>
                  </a:cubicBezTo>
                  <a:cubicBezTo>
                    <a:pt x="1" y="31"/>
                    <a:pt x="0" y="29"/>
                    <a:pt x="0" y="27"/>
                  </a:cubicBezTo>
                  <a:cubicBezTo>
                    <a:pt x="0" y="24"/>
                    <a:pt x="1" y="23"/>
                    <a:pt x="2" y="21"/>
                  </a:cubicBezTo>
                  <a:cubicBezTo>
                    <a:pt x="2" y="20"/>
                    <a:pt x="3" y="18"/>
                    <a:pt x="5" y="17"/>
                  </a:cubicBezTo>
                  <a:cubicBezTo>
                    <a:pt x="6" y="16"/>
                    <a:pt x="8" y="15"/>
                    <a:pt x="10" y="15"/>
                  </a:cubicBezTo>
                  <a:cubicBezTo>
                    <a:pt x="12" y="14"/>
                    <a:pt x="14" y="14"/>
                    <a:pt x="16" y="14"/>
                  </a:cubicBezTo>
                  <a:cubicBezTo>
                    <a:pt x="18" y="14"/>
                    <a:pt x="19" y="14"/>
                    <a:pt x="21" y="15"/>
                  </a:cubicBezTo>
                  <a:cubicBezTo>
                    <a:pt x="22" y="15"/>
                    <a:pt x="23" y="15"/>
                    <a:pt x="24" y="16"/>
                  </a:cubicBezTo>
                  <a:cubicBezTo>
                    <a:pt x="24" y="13"/>
                    <a:pt x="24" y="13"/>
                    <a:pt x="24" y="13"/>
                  </a:cubicBezTo>
                  <a:cubicBezTo>
                    <a:pt x="24" y="11"/>
                    <a:pt x="24" y="9"/>
                    <a:pt x="22" y="8"/>
                  </a:cubicBezTo>
                  <a:cubicBezTo>
                    <a:pt x="21" y="7"/>
                    <a:pt x="19" y="6"/>
                    <a:pt x="17" y="6"/>
                  </a:cubicBezTo>
                  <a:cubicBezTo>
                    <a:pt x="15" y="6"/>
                    <a:pt x="13" y="6"/>
                    <a:pt x="12" y="7"/>
                  </a:cubicBezTo>
                  <a:cubicBezTo>
                    <a:pt x="10" y="7"/>
                    <a:pt x="9" y="8"/>
                    <a:pt x="7" y="9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6" y="2"/>
                    <a:pt x="8" y="1"/>
                    <a:pt x="10" y="0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19" y="0"/>
                    <a:pt x="21" y="0"/>
                    <a:pt x="23" y="0"/>
                  </a:cubicBezTo>
                  <a:cubicBezTo>
                    <a:pt x="25" y="1"/>
                    <a:pt x="26" y="2"/>
                    <a:pt x="28" y="3"/>
                  </a:cubicBezTo>
                  <a:cubicBezTo>
                    <a:pt x="29" y="4"/>
                    <a:pt x="30" y="5"/>
                    <a:pt x="31" y="7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2" y="39"/>
                    <a:pt x="32" y="39"/>
                    <a:pt x="32" y="39"/>
                  </a:cubicBezTo>
                  <a:lnTo>
                    <a:pt x="24" y="39"/>
                  </a:lnTo>
                  <a:close/>
                  <a:moveTo>
                    <a:pt x="24" y="22"/>
                  </a:moveTo>
                  <a:cubicBezTo>
                    <a:pt x="24" y="22"/>
                    <a:pt x="23" y="22"/>
                    <a:pt x="22" y="22"/>
                  </a:cubicBezTo>
                  <a:cubicBezTo>
                    <a:pt x="22" y="21"/>
                    <a:pt x="21" y="21"/>
                    <a:pt x="21" y="21"/>
                  </a:cubicBezTo>
                  <a:cubicBezTo>
                    <a:pt x="20" y="21"/>
                    <a:pt x="19" y="21"/>
                    <a:pt x="18" y="21"/>
                  </a:cubicBezTo>
                  <a:cubicBezTo>
                    <a:pt x="17" y="21"/>
                    <a:pt x="17" y="21"/>
                    <a:pt x="16" y="21"/>
                  </a:cubicBezTo>
                  <a:cubicBezTo>
                    <a:pt x="13" y="21"/>
                    <a:pt x="11" y="21"/>
                    <a:pt x="10" y="22"/>
                  </a:cubicBezTo>
                  <a:cubicBezTo>
                    <a:pt x="8" y="23"/>
                    <a:pt x="8" y="25"/>
                    <a:pt x="8" y="26"/>
                  </a:cubicBezTo>
                  <a:cubicBezTo>
                    <a:pt x="8" y="28"/>
                    <a:pt x="8" y="29"/>
                    <a:pt x="8" y="29"/>
                  </a:cubicBezTo>
                  <a:cubicBezTo>
                    <a:pt x="9" y="30"/>
                    <a:pt x="9" y="31"/>
                    <a:pt x="10" y="31"/>
                  </a:cubicBezTo>
                  <a:cubicBezTo>
                    <a:pt x="10" y="32"/>
                    <a:pt x="11" y="32"/>
                    <a:pt x="12" y="32"/>
                  </a:cubicBezTo>
                  <a:cubicBezTo>
                    <a:pt x="13" y="33"/>
                    <a:pt x="14" y="33"/>
                    <a:pt x="15" y="33"/>
                  </a:cubicBezTo>
                  <a:cubicBezTo>
                    <a:pt x="16" y="33"/>
                    <a:pt x="17" y="33"/>
                    <a:pt x="18" y="32"/>
                  </a:cubicBezTo>
                  <a:cubicBezTo>
                    <a:pt x="19" y="32"/>
                    <a:pt x="20" y="32"/>
                    <a:pt x="21" y="31"/>
                  </a:cubicBezTo>
                  <a:cubicBezTo>
                    <a:pt x="21" y="31"/>
                    <a:pt x="22" y="30"/>
                    <a:pt x="23" y="30"/>
                  </a:cubicBezTo>
                  <a:cubicBezTo>
                    <a:pt x="23" y="29"/>
                    <a:pt x="24" y="28"/>
                    <a:pt x="24" y="28"/>
                  </a:cubicBezTo>
                  <a:lnTo>
                    <a:pt x="24" y="2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4" name="Freeform 42">
              <a:extLst>
                <a:ext uri="{FF2B5EF4-FFF2-40B4-BE49-F238E27FC236}">
                  <a16:creationId xmlns:a16="http://schemas.microsoft.com/office/drawing/2014/main" id="{16B384B2-A2D9-4CB4-AF87-AF1004852B5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77436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2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10 w 31"/>
                <a:gd name="T11" fmla="*/ 9 h 39"/>
                <a:gd name="T12" fmla="*/ 8 w 31"/>
                <a:gd name="T13" fmla="*/ 12 h 39"/>
                <a:gd name="T14" fmla="*/ 8 w 31"/>
                <a:gd name="T15" fmla="*/ 16 h 39"/>
                <a:gd name="T16" fmla="*/ 8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8 w 31"/>
                <a:gd name="T23" fmla="*/ 0 h 39"/>
                <a:gd name="T24" fmla="*/ 8 w 31"/>
                <a:gd name="T25" fmla="*/ 4 h 39"/>
                <a:gd name="T26" fmla="*/ 9 w 31"/>
                <a:gd name="T27" fmla="*/ 2 h 39"/>
                <a:gd name="T28" fmla="*/ 12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8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2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10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8" y="15"/>
                    <a:pt x="8" y="16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2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20" y="0"/>
                    <a:pt x="22" y="0"/>
                    <a:pt x="23" y="1"/>
                  </a:cubicBezTo>
                  <a:cubicBezTo>
                    <a:pt x="25" y="1"/>
                    <a:pt x="26" y="2"/>
                    <a:pt x="28" y="4"/>
                  </a:cubicBezTo>
                  <a:cubicBezTo>
                    <a:pt x="29" y="5"/>
                    <a:pt x="29" y="7"/>
                    <a:pt x="30" y="9"/>
                  </a:cubicBezTo>
                  <a:cubicBezTo>
                    <a:pt x="31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5" name="Freeform 43">
              <a:extLst>
                <a:ext uri="{FF2B5EF4-FFF2-40B4-BE49-F238E27FC236}">
                  <a16:creationId xmlns:a16="http://schemas.microsoft.com/office/drawing/2014/main" id="{DC309D60-84B9-4652-BEF1-F71EFAD3A40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75084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0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3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6 w 29"/>
                <a:gd name="T55" fmla="*/ 24 h 40"/>
                <a:gd name="T56" fmla="*/ 13 w 29"/>
                <a:gd name="T57" fmla="*/ 22 h 40"/>
                <a:gd name="T58" fmla="*/ 7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1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2" y="6"/>
                    <a:pt x="11" y="7"/>
                    <a:pt x="10" y="7"/>
                  </a:cubicBezTo>
                  <a:cubicBezTo>
                    <a:pt x="9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1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8" y="25"/>
                    <a:pt x="18" y="24"/>
                    <a:pt x="16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7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2" y="15"/>
                    <a:pt x="2" y="14"/>
                  </a:cubicBezTo>
                  <a:cubicBezTo>
                    <a:pt x="2" y="13"/>
                    <a:pt x="1" y="12"/>
                    <a:pt x="1" y="10"/>
                  </a:cubicBezTo>
                  <a:cubicBezTo>
                    <a:pt x="1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6" name="Freeform 44">
              <a:extLst>
                <a:ext uri="{FF2B5EF4-FFF2-40B4-BE49-F238E27FC236}">
                  <a16:creationId xmlns:a16="http://schemas.microsoft.com/office/drawing/2014/main" id="{A4440044-5486-483F-B652-7EE3849461B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58782" y="6212575"/>
              <a:ext cx="122060" cy="99391"/>
            </a:xfrm>
            <a:custGeom>
              <a:avLst/>
              <a:gdLst>
                <a:gd name="T0" fmla="*/ 55 w 70"/>
                <a:gd name="T1" fmla="*/ 57 h 57"/>
                <a:gd name="T2" fmla="*/ 45 w 70"/>
                <a:gd name="T3" fmla="*/ 57 h 57"/>
                <a:gd name="T4" fmla="*/ 35 w 70"/>
                <a:gd name="T5" fmla="*/ 17 h 57"/>
                <a:gd name="T6" fmla="*/ 25 w 70"/>
                <a:gd name="T7" fmla="*/ 57 h 57"/>
                <a:gd name="T8" fmla="*/ 14 w 70"/>
                <a:gd name="T9" fmla="*/ 57 h 57"/>
                <a:gd name="T10" fmla="*/ 0 w 70"/>
                <a:gd name="T11" fmla="*/ 0 h 57"/>
                <a:gd name="T12" fmla="*/ 10 w 70"/>
                <a:gd name="T13" fmla="*/ 0 h 57"/>
                <a:gd name="T14" fmla="*/ 20 w 70"/>
                <a:gd name="T15" fmla="*/ 39 h 57"/>
                <a:gd name="T16" fmla="*/ 30 w 70"/>
                <a:gd name="T17" fmla="*/ 0 h 57"/>
                <a:gd name="T18" fmla="*/ 39 w 70"/>
                <a:gd name="T19" fmla="*/ 0 h 57"/>
                <a:gd name="T20" fmla="*/ 49 w 70"/>
                <a:gd name="T21" fmla="*/ 39 h 57"/>
                <a:gd name="T22" fmla="*/ 60 w 70"/>
                <a:gd name="T23" fmla="*/ 0 h 57"/>
                <a:gd name="T24" fmla="*/ 70 w 70"/>
                <a:gd name="T25" fmla="*/ 0 h 57"/>
                <a:gd name="T26" fmla="*/ 55 w 70"/>
                <a:gd name="T27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7">
                  <a:moveTo>
                    <a:pt x="55" y="57"/>
                  </a:moveTo>
                  <a:lnTo>
                    <a:pt x="45" y="57"/>
                  </a:lnTo>
                  <a:lnTo>
                    <a:pt x="35" y="17"/>
                  </a:lnTo>
                  <a:lnTo>
                    <a:pt x="25" y="57"/>
                  </a:lnTo>
                  <a:lnTo>
                    <a:pt x="14" y="57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0" y="39"/>
                  </a:lnTo>
                  <a:lnTo>
                    <a:pt x="30" y="0"/>
                  </a:lnTo>
                  <a:lnTo>
                    <a:pt x="39" y="0"/>
                  </a:lnTo>
                  <a:lnTo>
                    <a:pt x="49" y="39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7" name="Freeform 45">
              <a:extLst>
                <a:ext uri="{FF2B5EF4-FFF2-40B4-BE49-F238E27FC236}">
                  <a16:creationId xmlns:a16="http://schemas.microsoft.com/office/drawing/2014/main" id="{446771E9-EA09-4256-8955-FE392C07AFC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1913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8" name="Freeform 46">
              <a:extLst>
                <a:ext uri="{FF2B5EF4-FFF2-40B4-BE49-F238E27FC236}">
                  <a16:creationId xmlns:a16="http://schemas.microsoft.com/office/drawing/2014/main" id="{FE985025-CAA5-44F2-9174-87CD1D8BA18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95927" y="6212575"/>
              <a:ext cx="57543" cy="99391"/>
            </a:xfrm>
            <a:custGeom>
              <a:avLst/>
              <a:gdLst>
                <a:gd name="T0" fmla="*/ 21 w 23"/>
                <a:gd name="T1" fmla="*/ 8 h 39"/>
                <a:gd name="T2" fmla="*/ 18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6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0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9" name="Freeform 47">
              <a:extLst>
                <a:ext uri="{FF2B5EF4-FFF2-40B4-BE49-F238E27FC236}">
                  <a16:creationId xmlns:a16="http://schemas.microsoft.com/office/drawing/2014/main" id="{1105FBBE-AD06-4F22-94D8-E2E98185FA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6494" y="6284068"/>
              <a:ext cx="29644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3 w 12"/>
                <a:gd name="T11" fmla="*/ 11 h 12"/>
                <a:gd name="T12" fmla="*/ 2 w 12"/>
                <a:gd name="T13" fmla="*/ 10 h 12"/>
                <a:gd name="T14" fmla="*/ 0 w 12"/>
                <a:gd name="T15" fmla="*/ 8 h 12"/>
                <a:gd name="T16" fmla="*/ 0 w 12"/>
                <a:gd name="T17" fmla="*/ 6 h 12"/>
                <a:gd name="T18" fmla="*/ 0 w 12"/>
                <a:gd name="T19" fmla="*/ 4 h 12"/>
                <a:gd name="T20" fmla="*/ 2 w 12"/>
                <a:gd name="T21" fmla="*/ 2 h 12"/>
                <a:gd name="T22" fmla="*/ 3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3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0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3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0" name="Freeform 48">
              <a:extLst>
                <a:ext uri="{FF2B5EF4-FFF2-40B4-BE49-F238E27FC236}">
                  <a16:creationId xmlns:a16="http://schemas.microsoft.com/office/drawing/2014/main" id="{8141824A-6AD4-4B53-B837-71461DD538C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388691"/>
              <a:ext cx="94161" cy="130778"/>
            </a:xfrm>
            <a:custGeom>
              <a:avLst/>
              <a:gdLst>
                <a:gd name="T0" fmla="*/ 32 w 54"/>
                <a:gd name="T1" fmla="*/ 12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2 h 75"/>
                <a:gd name="T8" fmla="*/ 0 w 54"/>
                <a:gd name="T9" fmla="*/ 12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2 h 75"/>
                <a:gd name="T16" fmla="*/ 32 w 54"/>
                <a:gd name="T17" fmla="*/ 12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2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2"/>
                  </a:lnTo>
                  <a:lnTo>
                    <a:pt x="0" y="12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2"/>
                  </a:lnTo>
                  <a:lnTo>
                    <a:pt x="32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1" name="Freeform 49">
              <a:extLst>
                <a:ext uri="{FF2B5EF4-FFF2-40B4-BE49-F238E27FC236}">
                  <a16:creationId xmlns:a16="http://schemas.microsoft.com/office/drawing/2014/main" id="{1CEF1D95-CD6C-417A-9539-CB4DBAA5E07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383459"/>
              <a:ext cx="78468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9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1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7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7"/>
                    <a:pt x="9" y="17"/>
                  </a:cubicBezTo>
                  <a:cubicBezTo>
                    <a:pt x="10" y="16"/>
                    <a:pt x="10" y="16"/>
                    <a:pt x="11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2" name="Freeform 50">
              <a:extLst>
                <a:ext uri="{FF2B5EF4-FFF2-40B4-BE49-F238E27FC236}">
                  <a16:creationId xmlns:a16="http://schemas.microsoft.com/office/drawing/2014/main" id="{BF6CB5D3-9648-4D73-AB7C-5374814E5BA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418333"/>
              <a:ext cx="85443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7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3 w 33"/>
                <a:gd name="T73" fmla="*/ 8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9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2" y="32"/>
                    <a:pt x="23" y="32"/>
                    <a:pt x="23" y="32"/>
                  </a:cubicBezTo>
                  <a:cubicBezTo>
                    <a:pt x="24" y="31"/>
                    <a:pt x="25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1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5" y="13"/>
                  </a:cubicBezTo>
                  <a:cubicBezTo>
                    <a:pt x="24" y="12"/>
                    <a:pt x="24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3" name="Freeform 51">
              <a:extLst>
                <a:ext uri="{FF2B5EF4-FFF2-40B4-BE49-F238E27FC236}">
                  <a16:creationId xmlns:a16="http://schemas.microsoft.com/office/drawing/2014/main" id="{55F0E322-3AEE-482E-8E59-9FB04FACA93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383459"/>
              <a:ext cx="83698" cy="137753"/>
            </a:xfrm>
            <a:custGeom>
              <a:avLst/>
              <a:gdLst>
                <a:gd name="T0" fmla="*/ 33 w 33"/>
                <a:gd name="T1" fmla="*/ 35 h 54"/>
                <a:gd name="T2" fmla="*/ 31 w 33"/>
                <a:gd name="T3" fmla="*/ 43 h 54"/>
                <a:gd name="T4" fmla="*/ 28 w 33"/>
                <a:gd name="T5" fmla="*/ 49 h 54"/>
                <a:gd name="T6" fmla="*/ 23 w 33"/>
                <a:gd name="T7" fmla="*/ 53 h 54"/>
                <a:gd name="T8" fmla="*/ 17 w 33"/>
                <a:gd name="T9" fmla="*/ 54 h 54"/>
                <a:gd name="T10" fmla="*/ 12 w 33"/>
                <a:gd name="T11" fmla="*/ 53 h 54"/>
                <a:gd name="T12" fmla="*/ 8 w 33"/>
                <a:gd name="T13" fmla="*/ 50 h 54"/>
                <a:gd name="T14" fmla="*/ 8 w 33"/>
                <a:gd name="T15" fmla="*/ 53 h 54"/>
                <a:gd name="T16" fmla="*/ 0 w 33"/>
                <a:gd name="T17" fmla="*/ 53 h 54"/>
                <a:gd name="T18" fmla="*/ 0 w 33"/>
                <a:gd name="T19" fmla="*/ 4 h 54"/>
                <a:gd name="T20" fmla="*/ 8 w 33"/>
                <a:gd name="T21" fmla="*/ 0 h 54"/>
                <a:gd name="T22" fmla="*/ 8 w 33"/>
                <a:gd name="T23" fmla="*/ 19 h 54"/>
                <a:gd name="T24" fmla="*/ 10 w 33"/>
                <a:gd name="T25" fmla="*/ 17 h 54"/>
                <a:gd name="T26" fmla="*/ 12 w 33"/>
                <a:gd name="T27" fmla="*/ 16 h 54"/>
                <a:gd name="T28" fmla="*/ 14 w 33"/>
                <a:gd name="T29" fmla="*/ 14 h 54"/>
                <a:gd name="T30" fmla="*/ 18 w 33"/>
                <a:gd name="T31" fmla="*/ 14 h 54"/>
                <a:gd name="T32" fmla="*/ 24 w 33"/>
                <a:gd name="T33" fmla="*/ 15 h 54"/>
                <a:gd name="T34" fmla="*/ 28 w 33"/>
                <a:gd name="T35" fmla="*/ 19 h 54"/>
                <a:gd name="T36" fmla="*/ 31 w 33"/>
                <a:gd name="T37" fmla="*/ 25 h 54"/>
                <a:gd name="T38" fmla="*/ 33 w 33"/>
                <a:gd name="T39" fmla="*/ 35 h 54"/>
                <a:gd name="T40" fmla="*/ 25 w 33"/>
                <a:gd name="T41" fmla="*/ 35 h 54"/>
                <a:gd name="T42" fmla="*/ 23 w 33"/>
                <a:gd name="T43" fmla="*/ 24 h 54"/>
                <a:gd name="T44" fmla="*/ 16 w 33"/>
                <a:gd name="T45" fmla="*/ 21 h 54"/>
                <a:gd name="T46" fmla="*/ 14 w 33"/>
                <a:gd name="T47" fmla="*/ 21 h 54"/>
                <a:gd name="T48" fmla="*/ 11 w 33"/>
                <a:gd name="T49" fmla="*/ 23 h 54"/>
                <a:gd name="T50" fmla="*/ 9 w 33"/>
                <a:gd name="T51" fmla="*/ 24 h 54"/>
                <a:gd name="T52" fmla="*/ 8 w 33"/>
                <a:gd name="T53" fmla="*/ 26 h 54"/>
                <a:gd name="T54" fmla="*/ 8 w 33"/>
                <a:gd name="T55" fmla="*/ 42 h 54"/>
                <a:gd name="T56" fmla="*/ 9 w 33"/>
                <a:gd name="T57" fmla="*/ 44 h 54"/>
                <a:gd name="T58" fmla="*/ 11 w 33"/>
                <a:gd name="T59" fmla="*/ 45 h 54"/>
                <a:gd name="T60" fmla="*/ 14 w 33"/>
                <a:gd name="T61" fmla="*/ 47 h 54"/>
                <a:gd name="T62" fmla="*/ 17 w 33"/>
                <a:gd name="T63" fmla="*/ 47 h 54"/>
                <a:gd name="T64" fmla="*/ 23 w 33"/>
                <a:gd name="T65" fmla="*/ 44 h 54"/>
                <a:gd name="T66" fmla="*/ 25 w 33"/>
                <a:gd name="T67" fmla="*/ 35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4">
                  <a:moveTo>
                    <a:pt x="33" y="35"/>
                  </a:moveTo>
                  <a:cubicBezTo>
                    <a:pt x="33" y="38"/>
                    <a:pt x="32" y="41"/>
                    <a:pt x="31" y="43"/>
                  </a:cubicBezTo>
                  <a:cubicBezTo>
                    <a:pt x="30" y="46"/>
                    <a:pt x="29" y="48"/>
                    <a:pt x="28" y="49"/>
                  </a:cubicBezTo>
                  <a:cubicBezTo>
                    <a:pt x="27" y="51"/>
                    <a:pt x="25" y="52"/>
                    <a:pt x="23" y="53"/>
                  </a:cubicBezTo>
                  <a:cubicBezTo>
                    <a:pt x="21" y="54"/>
                    <a:pt x="19" y="54"/>
                    <a:pt x="17" y="54"/>
                  </a:cubicBezTo>
                  <a:cubicBezTo>
                    <a:pt x="16" y="54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7"/>
                    <a:pt x="10" y="17"/>
                  </a:cubicBezTo>
                  <a:cubicBezTo>
                    <a:pt x="11" y="16"/>
                    <a:pt x="11" y="16"/>
                    <a:pt x="12" y="16"/>
                  </a:cubicBezTo>
                  <a:cubicBezTo>
                    <a:pt x="13" y="15"/>
                    <a:pt x="13" y="15"/>
                    <a:pt x="14" y="14"/>
                  </a:cubicBezTo>
                  <a:cubicBezTo>
                    <a:pt x="15" y="14"/>
                    <a:pt x="16" y="14"/>
                    <a:pt x="18" y="14"/>
                  </a:cubicBezTo>
                  <a:cubicBezTo>
                    <a:pt x="20" y="14"/>
                    <a:pt x="22" y="14"/>
                    <a:pt x="24" y="15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30" y="21"/>
                    <a:pt x="31" y="23"/>
                    <a:pt x="31" y="25"/>
                  </a:cubicBezTo>
                  <a:cubicBezTo>
                    <a:pt x="32" y="28"/>
                    <a:pt x="33" y="31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0"/>
                    <a:pt x="24" y="27"/>
                    <a:pt x="23" y="24"/>
                  </a:cubicBezTo>
                  <a:cubicBezTo>
                    <a:pt x="21" y="22"/>
                    <a:pt x="19" y="21"/>
                    <a:pt x="16" y="21"/>
                  </a:cubicBezTo>
                  <a:cubicBezTo>
                    <a:pt x="15" y="21"/>
                    <a:pt x="15" y="21"/>
                    <a:pt x="14" y="21"/>
                  </a:cubicBezTo>
                  <a:cubicBezTo>
                    <a:pt x="13" y="22"/>
                    <a:pt x="12" y="22"/>
                    <a:pt x="11" y="23"/>
                  </a:cubicBezTo>
                  <a:cubicBezTo>
                    <a:pt x="11" y="23"/>
                    <a:pt x="10" y="24"/>
                    <a:pt x="9" y="24"/>
                  </a:cubicBezTo>
                  <a:cubicBezTo>
                    <a:pt x="9" y="25"/>
                    <a:pt x="8" y="25"/>
                    <a:pt x="8" y="26"/>
                  </a:cubicBezTo>
                  <a:cubicBezTo>
                    <a:pt x="8" y="42"/>
                    <a:pt x="8" y="42"/>
                    <a:pt x="8" y="42"/>
                  </a:cubicBezTo>
                  <a:cubicBezTo>
                    <a:pt x="8" y="43"/>
                    <a:pt x="9" y="43"/>
                    <a:pt x="9" y="44"/>
                  </a:cubicBezTo>
                  <a:cubicBezTo>
                    <a:pt x="10" y="44"/>
                    <a:pt x="11" y="45"/>
                    <a:pt x="11" y="45"/>
                  </a:cubicBezTo>
                  <a:cubicBezTo>
                    <a:pt x="12" y="46"/>
                    <a:pt x="13" y="46"/>
                    <a:pt x="14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9" y="47"/>
                    <a:pt x="21" y="46"/>
                    <a:pt x="23" y="44"/>
                  </a:cubicBezTo>
                  <a:cubicBezTo>
                    <a:pt x="24" y="42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4" name="Freeform 52">
              <a:extLst>
                <a:ext uri="{FF2B5EF4-FFF2-40B4-BE49-F238E27FC236}">
                  <a16:creationId xmlns:a16="http://schemas.microsoft.com/office/drawing/2014/main" id="{0D3C59AD-7CCF-4166-9D21-3C348488931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1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4" y="31"/>
                    <a:pt x="24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5" name="Freeform 53">
              <a:extLst>
                <a:ext uri="{FF2B5EF4-FFF2-40B4-BE49-F238E27FC236}">
                  <a16:creationId xmlns:a16="http://schemas.microsoft.com/office/drawing/2014/main" id="{9C9DA4CE-7B4D-42AE-9264-92B7D7757DD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1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2" y="54"/>
                    <a:pt x="11" y="54"/>
                  </a:cubicBezTo>
                  <a:cubicBezTo>
                    <a:pt x="10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2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6" name="Freeform 54">
              <a:extLst>
                <a:ext uri="{FF2B5EF4-FFF2-40B4-BE49-F238E27FC236}">
                  <a16:creationId xmlns:a16="http://schemas.microsoft.com/office/drawing/2014/main" id="{DBCBD0D2-5C9C-4B12-8CF8-9CA320825ED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7" name="Freeform 55">
              <a:extLst>
                <a:ext uri="{FF2B5EF4-FFF2-40B4-BE49-F238E27FC236}">
                  <a16:creationId xmlns:a16="http://schemas.microsoft.com/office/drawing/2014/main" id="{CDCFBD31-7961-4587-876E-1FAFC4E74AB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0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2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0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3" y="31"/>
                    <a:pt x="24" y="31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0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7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8" name="Freeform 56">
              <a:extLst>
                <a:ext uri="{FF2B5EF4-FFF2-40B4-BE49-F238E27FC236}">
                  <a16:creationId xmlns:a16="http://schemas.microsoft.com/office/drawing/2014/main" id="{52482C08-723A-4738-9787-3516B3C1714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418333"/>
              <a:ext cx="55799" cy="101135"/>
            </a:xfrm>
            <a:custGeom>
              <a:avLst/>
              <a:gdLst>
                <a:gd name="T0" fmla="*/ 20 w 22"/>
                <a:gd name="T1" fmla="*/ 9 h 39"/>
                <a:gd name="T2" fmla="*/ 18 w 22"/>
                <a:gd name="T3" fmla="*/ 8 h 39"/>
                <a:gd name="T4" fmla="*/ 15 w 22"/>
                <a:gd name="T5" fmla="*/ 7 h 39"/>
                <a:gd name="T6" fmla="*/ 9 w 22"/>
                <a:gd name="T7" fmla="*/ 10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1 h 39"/>
                <a:gd name="T16" fmla="*/ 7 w 22"/>
                <a:gd name="T17" fmla="*/ 1 h 39"/>
                <a:gd name="T18" fmla="*/ 7 w 22"/>
                <a:gd name="T19" fmla="*/ 5 h 39"/>
                <a:gd name="T20" fmla="*/ 9 w 22"/>
                <a:gd name="T21" fmla="*/ 3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1 h 39"/>
                <a:gd name="T30" fmla="*/ 22 w 22"/>
                <a:gd name="T31" fmla="*/ 2 h 39"/>
                <a:gd name="T32" fmla="*/ 20 w 22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7" y="8"/>
                    <a:pt x="16" y="7"/>
                    <a:pt x="15" y="7"/>
                  </a:cubicBezTo>
                  <a:cubicBezTo>
                    <a:pt x="12" y="7"/>
                    <a:pt x="10" y="8"/>
                    <a:pt x="9" y="10"/>
                  </a:cubicBezTo>
                  <a:cubicBezTo>
                    <a:pt x="8" y="12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8" y="4"/>
                    <a:pt x="8" y="3"/>
                    <a:pt x="9" y="3"/>
                  </a:cubicBezTo>
                  <a:cubicBezTo>
                    <a:pt x="9" y="2"/>
                    <a:pt x="10" y="2"/>
                    <a:pt x="11" y="1"/>
                  </a:cubicBezTo>
                  <a:cubicBezTo>
                    <a:pt x="11" y="1"/>
                    <a:pt x="12" y="1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1"/>
                  </a:cubicBezTo>
                  <a:cubicBezTo>
                    <a:pt x="21" y="1"/>
                    <a:pt x="22" y="1"/>
                    <a:pt x="22" y="2"/>
                  </a:cubicBezTo>
                  <a:lnTo>
                    <a:pt x="20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9" name="Freeform 57">
              <a:extLst>
                <a:ext uri="{FF2B5EF4-FFF2-40B4-BE49-F238E27FC236}">
                  <a16:creationId xmlns:a16="http://schemas.microsoft.com/office/drawing/2014/main" id="{5B72A8F0-33E3-42CD-88C2-C35BEC0E983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40" name="Freeform 58">
              <a:extLst>
                <a:ext uri="{FF2B5EF4-FFF2-40B4-BE49-F238E27FC236}">
                  <a16:creationId xmlns:a16="http://schemas.microsoft.com/office/drawing/2014/main" id="{73FC54A2-6588-499B-968A-79F4CA9CF5F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383459"/>
              <a:ext cx="80211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10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2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8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7"/>
                    <a:pt x="9" y="17"/>
                  </a:cubicBezTo>
                  <a:cubicBezTo>
                    <a:pt x="10" y="16"/>
                    <a:pt x="11" y="16"/>
                    <a:pt x="12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41" name="Freeform 59">
              <a:extLst>
                <a:ext uri="{FF2B5EF4-FFF2-40B4-BE49-F238E27FC236}">
                  <a16:creationId xmlns:a16="http://schemas.microsoft.com/office/drawing/2014/main" id="{1E6AB002-C130-4648-A18E-BA496FF1756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8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2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6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1 w 33"/>
                <a:gd name="T69" fmla="*/ 8 h 40"/>
                <a:gd name="T70" fmla="*/ 17 w 33"/>
                <a:gd name="T71" fmla="*/ 7 h 40"/>
                <a:gd name="T72" fmla="*/ 13 w 33"/>
                <a:gd name="T73" fmla="*/ 8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6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10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3" y="32"/>
                    <a:pt x="23" y="32"/>
                    <a:pt x="24" y="32"/>
                  </a:cubicBezTo>
                  <a:cubicBezTo>
                    <a:pt x="24" y="31"/>
                    <a:pt x="25" y="31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7" y="38"/>
                    <a:pt x="26" y="38"/>
                    <a:pt x="25" y="39"/>
                  </a:cubicBezTo>
                  <a:cubicBezTo>
                    <a:pt x="24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4" y="40"/>
                    <a:pt x="12" y="39"/>
                  </a:cubicBezTo>
                  <a:cubicBezTo>
                    <a:pt x="11" y="39"/>
                    <a:pt x="10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4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5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6" y="17"/>
                  </a:moveTo>
                  <a:cubicBezTo>
                    <a:pt x="26" y="15"/>
                    <a:pt x="25" y="14"/>
                    <a:pt x="25" y="13"/>
                  </a:cubicBezTo>
                  <a:cubicBezTo>
                    <a:pt x="25" y="12"/>
                    <a:pt x="24" y="11"/>
                    <a:pt x="23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20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6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42" name="Freeform 60">
              <a:extLst>
                <a:ext uri="{FF2B5EF4-FFF2-40B4-BE49-F238E27FC236}">
                  <a16:creationId xmlns:a16="http://schemas.microsoft.com/office/drawing/2014/main" id="{B0044278-9F7F-4596-96D2-ACFBE0DEC0B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7435" y="6421821"/>
              <a:ext cx="122060" cy="97648"/>
            </a:xfrm>
            <a:custGeom>
              <a:avLst/>
              <a:gdLst>
                <a:gd name="T0" fmla="*/ 56 w 70"/>
                <a:gd name="T1" fmla="*/ 56 h 56"/>
                <a:gd name="T2" fmla="*/ 46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5 w 70"/>
                <a:gd name="T9" fmla="*/ 56 h 56"/>
                <a:gd name="T10" fmla="*/ 0 w 70"/>
                <a:gd name="T11" fmla="*/ 0 h 56"/>
                <a:gd name="T12" fmla="*/ 10 w 70"/>
                <a:gd name="T13" fmla="*/ 0 h 56"/>
                <a:gd name="T14" fmla="*/ 21 w 70"/>
                <a:gd name="T15" fmla="*/ 38 h 56"/>
                <a:gd name="T16" fmla="*/ 31 w 70"/>
                <a:gd name="T17" fmla="*/ 0 h 56"/>
                <a:gd name="T18" fmla="*/ 40 w 70"/>
                <a:gd name="T19" fmla="*/ 0 h 56"/>
                <a:gd name="T20" fmla="*/ 50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6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6" y="56"/>
                  </a:moveTo>
                  <a:lnTo>
                    <a:pt x="46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5" y="56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1" y="38"/>
                  </a:lnTo>
                  <a:lnTo>
                    <a:pt x="31" y="0"/>
                  </a:lnTo>
                  <a:lnTo>
                    <a:pt x="40" y="0"/>
                  </a:lnTo>
                  <a:lnTo>
                    <a:pt x="50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6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43" name="Freeform 61">
              <a:extLst>
                <a:ext uri="{FF2B5EF4-FFF2-40B4-BE49-F238E27FC236}">
                  <a16:creationId xmlns:a16="http://schemas.microsoft.com/office/drawing/2014/main" id="{79F75E0D-27A7-44C1-BF19-495F4768F99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859957" y="6418333"/>
              <a:ext cx="87186" cy="102879"/>
            </a:xfrm>
            <a:custGeom>
              <a:avLst/>
              <a:gdLst>
                <a:gd name="T0" fmla="*/ 34 w 34"/>
                <a:gd name="T1" fmla="*/ 20 h 40"/>
                <a:gd name="T2" fmla="*/ 33 w 34"/>
                <a:gd name="T3" fmla="*/ 28 h 40"/>
                <a:gd name="T4" fmla="*/ 29 w 34"/>
                <a:gd name="T5" fmla="*/ 35 h 40"/>
                <a:gd name="T6" fmla="*/ 24 w 34"/>
                <a:gd name="T7" fmla="*/ 39 h 40"/>
                <a:gd name="T8" fmla="*/ 17 w 34"/>
                <a:gd name="T9" fmla="*/ 40 h 40"/>
                <a:gd name="T10" fmla="*/ 10 w 34"/>
                <a:gd name="T11" fmla="*/ 39 h 40"/>
                <a:gd name="T12" fmla="*/ 5 w 34"/>
                <a:gd name="T13" fmla="*/ 35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2 h 40"/>
                <a:gd name="T20" fmla="*/ 5 w 34"/>
                <a:gd name="T21" fmla="*/ 5 h 40"/>
                <a:gd name="T22" fmla="*/ 11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2 h 40"/>
                <a:gd name="T32" fmla="*/ 34 w 34"/>
                <a:gd name="T33" fmla="*/ 20 h 40"/>
                <a:gd name="T34" fmla="*/ 27 w 34"/>
                <a:gd name="T35" fmla="*/ 20 h 40"/>
                <a:gd name="T36" fmla="*/ 26 w 34"/>
                <a:gd name="T37" fmla="*/ 15 h 40"/>
                <a:gd name="T38" fmla="*/ 24 w 34"/>
                <a:gd name="T39" fmla="*/ 11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1 h 40"/>
                <a:gd name="T48" fmla="*/ 8 w 34"/>
                <a:gd name="T49" fmla="*/ 15 h 40"/>
                <a:gd name="T50" fmla="*/ 8 w 34"/>
                <a:gd name="T51" fmla="*/ 20 h 40"/>
                <a:gd name="T52" fmla="*/ 8 w 34"/>
                <a:gd name="T53" fmla="*/ 26 h 40"/>
                <a:gd name="T54" fmla="*/ 10 w 34"/>
                <a:gd name="T55" fmla="*/ 30 h 40"/>
                <a:gd name="T56" fmla="*/ 13 w 34"/>
                <a:gd name="T57" fmla="*/ 32 h 40"/>
                <a:gd name="T58" fmla="*/ 17 w 34"/>
                <a:gd name="T59" fmla="*/ 33 h 40"/>
                <a:gd name="T60" fmla="*/ 21 w 34"/>
                <a:gd name="T61" fmla="*/ 32 h 40"/>
                <a:gd name="T62" fmla="*/ 24 w 34"/>
                <a:gd name="T63" fmla="*/ 29 h 40"/>
                <a:gd name="T64" fmla="*/ 26 w 34"/>
                <a:gd name="T65" fmla="*/ 25 h 40"/>
                <a:gd name="T66" fmla="*/ 27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20"/>
                  </a:moveTo>
                  <a:cubicBezTo>
                    <a:pt x="34" y="23"/>
                    <a:pt x="34" y="26"/>
                    <a:pt x="33" y="28"/>
                  </a:cubicBezTo>
                  <a:cubicBezTo>
                    <a:pt x="32" y="31"/>
                    <a:pt x="31" y="33"/>
                    <a:pt x="29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2" y="40"/>
                    <a:pt x="10" y="39"/>
                  </a:cubicBezTo>
                  <a:cubicBezTo>
                    <a:pt x="8" y="38"/>
                    <a:pt x="6" y="36"/>
                    <a:pt x="5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1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7" y="4"/>
                    <a:pt x="8" y="2"/>
                    <a:pt x="11" y="1"/>
                  </a:cubicBezTo>
                  <a:cubicBezTo>
                    <a:pt x="13" y="1"/>
                    <a:pt x="15" y="0"/>
                    <a:pt x="17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4" y="17"/>
                    <a:pt x="34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3" y="10"/>
                    <a:pt x="22" y="9"/>
                    <a:pt x="21" y="8"/>
                  </a:cubicBezTo>
                  <a:cubicBezTo>
                    <a:pt x="20" y="8"/>
                    <a:pt x="18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9" y="12"/>
                    <a:pt x="9" y="13"/>
                    <a:pt x="8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8" y="26"/>
                  </a:cubicBezTo>
                  <a:cubicBezTo>
                    <a:pt x="9" y="27"/>
                    <a:pt x="10" y="28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44" name="Freeform 62">
              <a:extLst>
                <a:ext uri="{FF2B5EF4-FFF2-40B4-BE49-F238E27FC236}">
                  <a16:creationId xmlns:a16="http://schemas.microsoft.com/office/drawing/2014/main" id="{E5B9E395-C74C-4D98-8911-EE2C765D8B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8067" y="6418333"/>
              <a:ext cx="57543" cy="101135"/>
            </a:xfrm>
            <a:custGeom>
              <a:avLst/>
              <a:gdLst>
                <a:gd name="T0" fmla="*/ 21 w 23"/>
                <a:gd name="T1" fmla="*/ 9 h 39"/>
                <a:gd name="T2" fmla="*/ 18 w 23"/>
                <a:gd name="T3" fmla="*/ 8 h 39"/>
                <a:gd name="T4" fmla="*/ 15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9 w 23"/>
                <a:gd name="T21" fmla="*/ 3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8" y="8"/>
                    <a:pt x="17" y="7"/>
                    <a:pt x="15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8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9" y="3"/>
                  </a:cubicBezTo>
                  <a:cubicBezTo>
                    <a:pt x="10" y="2"/>
                    <a:pt x="11" y="2"/>
                    <a:pt x="11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1"/>
                  </a:cubicBezTo>
                  <a:cubicBezTo>
                    <a:pt x="21" y="1"/>
                    <a:pt x="22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45" name="Freeform 63">
              <a:extLst>
                <a:ext uri="{FF2B5EF4-FFF2-40B4-BE49-F238E27FC236}">
                  <a16:creationId xmlns:a16="http://schemas.microsoft.com/office/drawing/2014/main" id="{53BB8418-388C-4142-9A80-8BF00A87F7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3046" y="6383459"/>
              <a:ext cx="19181" cy="136010"/>
            </a:xfrm>
            <a:custGeom>
              <a:avLst/>
              <a:gdLst>
                <a:gd name="T0" fmla="*/ 0 w 11"/>
                <a:gd name="T1" fmla="*/ 78 h 78"/>
                <a:gd name="T2" fmla="*/ 0 w 11"/>
                <a:gd name="T3" fmla="*/ 6 h 78"/>
                <a:gd name="T4" fmla="*/ 11 w 11"/>
                <a:gd name="T5" fmla="*/ 0 h 78"/>
                <a:gd name="T6" fmla="*/ 11 w 11"/>
                <a:gd name="T7" fmla="*/ 78 h 78"/>
                <a:gd name="T8" fmla="*/ 0 w 11"/>
                <a:gd name="T9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78">
                  <a:moveTo>
                    <a:pt x="0" y="78"/>
                  </a:moveTo>
                  <a:lnTo>
                    <a:pt x="0" y="6"/>
                  </a:lnTo>
                  <a:lnTo>
                    <a:pt x="11" y="0"/>
                  </a:lnTo>
                  <a:lnTo>
                    <a:pt x="11" y="78"/>
                  </a:lnTo>
                  <a:lnTo>
                    <a:pt x="0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46" name="Freeform 64">
              <a:extLst>
                <a:ext uri="{FF2B5EF4-FFF2-40B4-BE49-F238E27FC236}">
                  <a16:creationId xmlns:a16="http://schemas.microsoft.com/office/drawing/2014/main" id="{0256DB41-B3C1-4FEB-B394-9762C00E7F7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084896" y="6383459"/>
              <a:ext cx="80211" cy="137753"/>
            </a:xfrm>
            <a:custGeom>
              <a:avLst/>
              <a:gdLst>
                <a:gd name="T0" fmla="*/ 24 w 32"/>
                <a:gd name="T1" fmla="*/ 53 h 54"/>
                <a:gd name="T2" fmla="*/ 24 w 32"/>
                <a:gd name="T3" fmla="*/ 50 h 54"/>
                <a:gd name="T4" fmla="*/ 22 w 32"/>
                <a:gd name="T5" fmla="*/ 51 h 54"/>
                <a:gd name="T6" fmla="*/ 20 w 32"/>
                <a:gd name="T7" fmla="*/ 53 h 54"/>
                <a:gd name="T8" fmla="*/ 17 w 32"/>
                <a:gd name="T9" fmla="*/ 54 h 54"/>
                <a:gd name="T10" fmla="*/ 14 w 32"/>
                <a:gd name="T11" fmla="*/ 54 h 54"/>
                <a:gd name="T12" fmla="*/ 9 w 32"/>
                <a:gd name="T13" fmla="*/ 53 h 54"/>
                <a:gd name="T14" fmla="*/ 4 w 32"/>
                <a:gd name="T15" fmla="*/ 49 h 54"/>
                <a:gd name="T16" fmla="*/ 1 w 32"/>
                <a:gd name="T17" fmla="*/ 43 h 54"/>
                <a:gd name="T18" fmla="*/ 0 w 32"/>
                <a:gd name="T19" fmla="*/ 33 h 54"/>
                <a:gd name="T20" fmla="*/ 1 w 32"/>
                <a:gd name="T21" fmla="*/ 25 h 54"/>
                <a:gd name="T22" fmla="*/ 4 w 32"/>
                <a:gd name="T23" fmla="*/ 19 h 54"/>
                <a:gd name="T24" fmla="*/ 9 w 32"/>
                <a:gd name="T25" fmla="*/ 15 h 54"/>
                <a:gd name="T26" fmla="*/ 15 w 32"/>
                <a:gd name="T27" fmla="*/ 14 h 54"/>
                <a:gd name="T28" fmla="*/ 18 w 32"/>
                <a:gd name="T29" fmla="*/ 14 h 54"/>
                <a:gd name="T30" fmla="*/ 20 w 32"/>
                <a:gd name="T31" fmla="*/ 15 h 54"/>
                <a:gd name="T32" fmla="*/ 22 w 32"/>
                <a:gd name="T33" fmla="*/ 17 h 54"/>
                <a:gd name="T34" fmla="*/ 24 w 32"/>
                <a:gd name="T35" fmla="*/ 18 h 54"/>
                <a:gd name="T36" fmla="*/ 24 w 32"/>
                <a:gd name="T37" fmla="*/ 4 h 54"/>
                <a:gd name="T38" fmla="*/ 32 w 32"/>
                <a:gd name="T39" fmla="*/ 0 h 54"/>
                <a:gd name="T40" fmla="*/ 32 w 32"/>
                <a:gd name="T41" fmla="*/ 53 h 54"/>
                <a:gd name="T42" fmla="*/ 24 w 32"/>
                <a:gd name="T43" fmla="*/ 53 h 54"/>
                <a:gd name="T44" fmla="*/ 24 w 32"/>
                <a:gd name="T45" fmla="*/ 26 h 54"/>
                <a:gd name="T46" fmla="*/ 23 w 32"/>
                <a:gd name="T47" fmla="*/ 24 h 54"/>
                <a:gd name="T48" fmla="*/ 21 w 32"/>
                <a:gd name="T49" fmla="*/ 23 h 54"/>
                <a:gd name="T50" fmla="*/ 18 w 32"/>
                <a:gd name="T51" fmla="*/ 22 h 54"/>
                <a:gd name="T52" fmla="*/ 15 w 32"/>
                <a:gd name="T53" fmla="*/ 21 h 54"/>
                <a:gd name="T54" fmla="*/ 9 w 32"/>
                <a:gd name="T55" fmla="*/ 24 h 54"/>
                <a:gd name="T56" fmla="*/ 7 w 32"/>
                <a:gd name="T57" fmla="*/ 33 h 54"/>
                <a:gd name="T58" fmla="*/ 8 w 32"/>
                <a:gd name="T59" fmla="*/ 39 h 54"/>
                <a:gd name="T60" fmla="*/ 9 w 32"/>
                <a:gd name="T61" fmla="*/ 44 h 54"/>
                <a:gd name="T62" fmla="*/ 12 w 32"/>
                <a:gd name="T63" fmla="*/ 46 h 54"/>
                <a:gd name="T64" fmla="*/ 16 w 32"/>
                <a:gd name="T65" fmla="*/ 47 h 54"/>
                <a:gd name="T66" fmla="*/ 18 w 32"/>
                <a:gd name="T67" fmla="*/ 47 h 54"/>
                <a:gd name="T68" fmla="*/ 21 w 32"/>
                <a:gd name="T69" fmla="*/ 46 h 54"/>
                <a:gd name="T70" fmla="*/ 23 w 32"/>
                <a:gd name="T71" fmla="*/ 44 h 54"/>
                <a:gd name="T72" fmla="*/ 24 w 32"/>
                <a:gd name="T73" fmla="*/ 42 h 54"/>
                <a:gd name="T74" fmla="*/ 24 w 32"/>
                <a:gd name="T75" fmla="*/ 2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2" h="54">
                  <a:moveTo>
                    <a:pt x="24" y="53"/>
                  </a:moveTo>
                  <a:cubicBezTo>
                    <a:pt x="24" y="50"/>
                    <a:pt x="24" y="50"/>
                    <a:pt x="24" y="50"/>
                  </a:cubicBezTo>
                  <a:cubicBezTo>
                    <a:pt x="24" y="50"/>
                    <a:pt x="23" y="51"/>
                    <a:pt x="22" y="51"/>
                  </a:cubicBezTo>
                  <a:cubicBezTo>
                    <a:pt x="21" y="52"/>
                    <a:pt x="21" y="52"/>
                    <a:pt x="20" y="53"/>
                  </a:cubicBezTo>
                  <a:cubicBezTo>
                    <a:pt x="19" y="53"/>
                    <a:pt x="18" y="54"/>
                    <a:pt x="17" y="54"/>
                  </a:cubicBezTo>
                  <a:cubicBezTo>
                    <a:pt x="16" y="54"/>
                    <a:pt x="15" y="54"/>
                    <a:pt x="14" y="54"/>
                  </a:cubicBezTo>
                  <a:cubicBezTo>
                    <a:pt x="12" y="54"/>
                    <a:pt x="10" y="54"/>
                    <a:pt x="9" y="53"/>
                  </a:cubicBezTo>
                  <a:cubicBezTo>
                    <a:pt x="7" y="52"/>
                    <a:pt x="5" y="51"/>
                    <a:pt x="4" y="49"/>
                  </a:cubicBezTo>
                  <a:cubicBezTo>
                    <a:pt x="3" y="48"/>
                    <a:pt x="1" y="45"/>
                    <a:pt x="1" y="43"/>
                  </a:cubicBezTo>
                  <a:cubicBezTo>
                    <a:pt x="0" y="40"/>
                    <a:pt x="0" y="37"/>
                    <a:pt x="0" y="33"/>
                  </a:cubicBezTo>
                  <a:cubicBezTo>
                    <a:pt x="0" y="30"/>
                    <a:pt x="0" y="27"/>
                    <a:pt x="1" y="25"/>
                  </a:cubicBezTo>
                  <a:cubicBezTo>
                    <a:pt x="2" y="22"/>
                    <a:pt x="3" y="20"/>
                    <a:pt x="4" y="19"/>
                  </a:cubicBezTo>
                  <a:cubicBezTo>
                    <a:pt x="6" y="17"/>
                    <a:pt x="7" y="16"/>
                    <a:pt x="9" y="15"/>
                  </a:cubicBezTo>
                  <a:cubicBezTo>
                    <a:pt x="11" y="14"/>
                    <a:pt x="13" y="14"/>
                    <a:pt x="15" y="14"/>
                  </a:cubicBezTo>
                  <a:cubicBezTo>
                    <a:pt x="16" y="14"/>
                    <a:pt x="17" y="14"/>
                    <a:pt x="18" y="14"/>
                  </a:cubicBezTo>
                  <a:cubicBezTo>
                    <a:pt x="18" y="15"/>
                    <a:pt x="19" y="15"/>
                    <a:pt x="20" y="15"/>
                  </a:cubicBezTo>
                  <a:cubicBezTo>
                    <a:pt x="21" y="16"/>
                    <a:pt x="22" y="16"/>
                    <a:pt x="22" y="17"/>
                  </a:cubicBezTo>
                  <a:cubicBezTo>
                    <a:pt x="23" y="17"/>
                    <a:pt x="24" y="18"/>
                    <a:pt x="24" y="18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53"/>
                    <a:pt x="32" y="53"/>
                    <a:pt x="32" y="53"/>
                  </a:cubicBezTo>
                  <a:lnTo>
                    <a:pt x="24" y="53"/>
                  </a:lnTo>
                  <a:close/>
                  <a:moveTo>
                    <a:pt x="24" y="26"/>
                  </a:moveTo>
                  <a:cubicBezTo>
                    <a:pt x="24" y="26"/>
                    <a:pt x="23" y="25"/>
                    <a:pt x="23" y="24"/>
                  </a:cubicBezTo>
                  <a:cubicBezTo>
                    <a:pt x="22" y="24"/>
                    <a:pt x="22" y="23"/>
                    <a:pt x="21" y="23"/>
                  </a:cubicBezTo>
                  <a:cubicBezTo>
                    <a:pt x="20" y="22"/>
                    <a:pt x="19" y="22"/>
                    <a:pt x="18" y="22"/>
                  </a:cubicBezTo>
                  <a:cubicBezTo>
                    <a:pt x="17" y="21"/>
                    <a:pt x="16" y="21"/>
                    <a:pt x="15" y="21"/>
                  </a:cubicBezTo>
                  <a:cubicBezTo>
                    <a:pt x="13" y="21"/>
                    <a:pt x="11" y="22"/>
                    <a:pt x="9" y="24"/>
                  </a:cubicBezTo>
                  <a:cubicBezTo>
                    <a:pt x="8" y="26"/>
                    <a:pt x="7" y="29"/>
                    <a:pt x="7" y="33"/>
                  </a:cubicBezTo>
                  <a:cubicBezTo>
                    <a:pt x="7" y="36"/>
                    <a:pt x="7" y="38"/>
                    <a:pt x="8" y="39"/>
                  </a:cubicBezTo>
                  <a:cubicBezTo>
                    <a:pt x="8" y="41"/>
                    <a:pt x="9" y="43"/>
                    <a:pt x="9" y="44"/>
                  </a:cubicBezTo>
                  <a:cubicBezTo>
                    <a:pt x="10" y="45"/>
                    <a:pt x="11" y="46"/>
                    <a:pt x="12" y="46"/>
                  </a:cubicBezTo>
                  <a:cubicBezTo>
                    <a:pt x="13" y="47"/>
                    <a:pt x="14" y="47"/>
                    <a:pt x="16" y="47"/>
                  </a:cubicBezTo>
                  <a:cubicBezTo>
                    <a:pt x="17" y="47"/>
                    <a:pt x="18" y="47"/>
                    <a:pt x="18" y="47"/>
                  </a:cubicBezTo>
                  <a:cubicBezTo>
                    <a:pt x="19" y="46"/>
                    <a:pt x="20" y="46"/>
                    <a:pt x="21" y="46"/>
                  </a:cubicBezTo>
                  <a:cubicBezTo>
                    <a:pt x="21" y="45"/>
                    <a:pt x="22" y="45"/>
                    <a:pt x="23" y="44"/>
                  </a:cubicBezTo>
                  <a:cubicBezTo>
                    <a:pt x="23" y="43"/>
                    <a:pt x="24" y="43"/>
                    <a:pt x="24" y="42"/>
                  </a:cubicBezTo>
                  <a:lnTo>
                    <a:pt x="24" y="2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47" name="Freeform 65">
              <a:extLst>
                <a:ext uri="{FF2B5EF4-FFF2-40B4-BE49-F238E27FC236}">
                  <a16:creationId xmlns:a16="http://schemas.microsoft.com/office/drawing/2014/main" id="{F2BC9C1F-3F30-47A6-B503-20FB179B7F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29624" y="6421821"/>
              <a:ext cx="122060" cy="97648"/>
            </a:xfrm>
            <a:custGeom>
              <a:avLst/>
              <a:gdLst>
                <a:gd name="T0" fmla="*/ 55 w 70"/>
                <a:gd name="T1" fmla="*/ 56 h 56"/>
                <a:gd name="T2" fmla="*/ 45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6 w 70"/>
                <a:gd name="T9" fmla="*/ 56 h 56"/>
                <a:gd name="T10" fmla="*/ 0 w 70"/>
                <a:gd name="T11" fmla="*/ 0 h 56"/>
                <a:gd name="T12" fmla="*/ 12 w 70"/>
                <a:gd name="T13" fmla="*/ 0 h 56"/>
                <a:gd name="T14" fmla="*/ 20 w 70"/>
                <a:gd name="T15" fmla="*/ 38 h 56"/>
                <a:gd name="T16" fmla="*/ 31 w 70"/>
                <a:gd name="T17" fmla="*/ 0 h 56"/>
                <a:gd name="T18" fmla="*/ 39 w 70"/>
                <a:gd name="T19" fmla="*/ 0 h 56"/>
                <a:gd name="T20" fmla="*/ 51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5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5" y="56"/>
                  </a:moveTo>
                  <a:lnTo>
                    <a:pt x="45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6" y="56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0" y="38"/>
                  </a:lnTo>
                  <a:lnTo>
                    <a:pt x="31" y="0"/>
                  </a:lnTo>
                  <a:lnTo>
                    <a:pt x="39" y="0"/>
                  </a:lnTo>
                  <a:lnTo>
                    <a:pt x="51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48" name="Freeform 66">
              <a:extLst>
                <a:ext uri="{FF2B5EF4-FFF2-40B4-BE49-F238E27FC236}">
                  <a16:creationId xmlns:a16="http://schemas.microsoft.com/office/drawing/2014/main" id="{F2E1921C-CA0E-4886-93CA-956A6497CF0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62147" y="6418333"/>
              <a:ext cx="88930" cy="102879"/>
            </a:xfrm>
            <a:custGeom>
              <a:avLst/>
              <a:gdLst>
                <a:gd name="T0" fmla="*/ 35 w 35"/>
                <a:gd name="T1" fmla="*/ 20 h 40"/>
                <a:gd name="T2" fmla="*/ 33 w 35"/>
                <a:gd name="T3" fmla="*/ 28 h 40"/>
                <a:gd name="T4" fmla="*/ 30 w 35"/>
                <a:gd name="T5" fmla="*/ 35 h 40"/>
                <a:gd name="T6" fmla="*/ 24 w 35"/>
                <a:gd name="T7" fmla="*/ 39 h 40"/>
                <a:gd name="T8" fmla="*/ 17 w 35"/>
                <a:gd name="T9" fmla="*/ 40 h 40"/>
                <a:gd name="T10" fmla="*/ 11 w 35"/>
                <a:gd name="T11" fmla="*/ 39 h 40"/>
                <a:gd name="T12" fmla="*/ 5 w 35"/>
                <a:gd name="T13" fmla="*/ 35 h 40"/>
                <a:gd name="T14" fmla="*/ 2 w 35"/>
                <a:gd name="T15" fmla="*/ 28 h 40"/>
                <a:gd name="T16" fmla="*/ 0 w 35"/>
                <a:gd name="T17" fmla="*/ 20 h 40"/>
                <a:gd name="T18" fmla="*/ 2 w 35"/>
                <a:gd name="T19" fmla="*/ 12 h 40"/>
                <a:gd name="T20" fmla="*/ 5 w 35"/>
                <a:gd name="T21" fmla="*/ 5 h 40"/>
                <a:gd name="T22" fmla="*/ 11 w 35"/>
                <a:gd name="T23" fmla="*/ 1 h 40"/>
                <a:gd name="T24" fmla="*/ 18 w 35"/>
                <a:gd name="T25" fmla="*/ 0 h 40"/>
                <a:gd name="T26" fmla="*/ 24 w 35"/>
                <a:gd name="T27" fmla="*/ 1 h 40"/>
                <a:gd name="T28" fmla="*/ 30 w 35"/>
                <a:gd name="T29" fmla="*/ 5 h 40"/>
                <a:gd name="T30" fmla="*/ 33 w 35"/>
                <a:gd name="T31" fmla="*/ 12 h 40"/>
                <a:gd name="T32" fmla="*/ 35 w 35"/>
                <a:gd name="T33" fmla="*/ 20 h 40"/>
                <a:gd name="T34" fmla="*/ 27 w 35"/>
                <a:gd name="T35" fmla="*/ 20 h 40"/>
                <a:gd name="T36" fmla="*/ 26 w 35"/>
                <a:gd name="T37" fmla="*/ 15 h 40"/>
                <a:gd name="T38" fmla="*/ 24 w 35"/>
                <a:gd name="T39" fmla="*/ 11 h 40"/>
                <a:gd name="T40" fmla="*/ 21 w 35"/>
                <a:gd name="T41" fmla="*/ 8 h 40"/>
                <a:gd name="T42" fmla="*/ 17 w 35"/>
                <a:gd name="T43" fmla="*/ 7 h 40"/>
                <a:gd name="T44" fmla="*/ 13 w 35"/>
                <a:gd name="T45" fmla="*/ 8 h 40"/>
                <a:gd name="T46" fmla="*/ 10 w 35"/>
                <a:gd name="T47" fmla="*/ 11 h 40"/>
                <a:gd name="T48" fmla="*/ 9 w 35"/>
                <a:gd name="T49" fmla="*/ 15 h 40"/>
                <a:gd name="T50" fmla="*/ 8 w 35"/>
                <a:gd name="T51" fmla="*/ 20 h 40"/>
                <a:gd name="T52" fmla="*/ 9 w 35"/>
                <a:gd name="T53" fmla="*/ 26 h 40"/>
                <a:gd name="T54" fmla="*/ 11 w 35"/>
                <a:gd name="T55" fmla="*/ 30 h 40"/>
                <a:gd name="T56" fmla="*/ 14 w 35"/>
                <a:gd name="T57" fmla="*/ 32 h 40"/>
                <a:gd name="T58" fmla="*/ 18 w 35"/>
                <a:gd name="T59" fmla="*/ 33 h 40"/>
                <a:gd name="T60" fmla="*/ 21 w 35"/>
                <a:gd name="T61" fmla="*/ 32 h 40"/>
                <a:gd name="T62" fmla="*/ 24 w 35"/>
                <a:gd name="T63" fmla="*/ 29 h 40"/>
                <a:gd name="T64" fmla="*/ 26 w 35"/>
                <a:gd name="T65" fmla="*/ 25 h 40"/>
                <a:gd name="T66" fmla="*/ 27 w 35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5" h="40">
                  <a:moveTo>
                    <a:pt x="35" y="20"/>
                  </a:moveTo>
                  <a:cubicBezTo>
                    <a:pt x="35" y="23"/>
                    <a:pt x="34" y="26"/>
                    <a:pt x="33" y="28"/>
                  </a:cubicBezTo>
                  <a:cubicBezTo>
                    <a:pt x="32" y="31"/>
                    <a:pt x="31" y="33"/>
                    <a:pt x="30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3" y="40"/>
                    <a:pt x="11" y="39"/>
                  </a:cubicBezTo>
                  <a:cubicBezTo>
                    <a:pt x="8" y="38"/>
                    <a:pt x="7" y="36"/>
                    <a:pt x="5" y="35"/>
                  </a:cubicBezTo>
                  <a:cubicBezTo>
                    <a:pt x="4" y="33"/>
                    <a:pt x="2" y="31"/>
                    <a:pt x="2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3" y="9"/>
                    <a:pt x="4" y="7"/>
                    <a:pt x="5" y="5"/>
                  </a:cubicBezTo>
                  <a:cubicBezTo>
                    <a:pt x="7" y="4"/>
                    <a:pt x="9" y="2"/>
                    <a:pt x="11" y="1"/>
                  </a:cubicBezTo>
                  <a:cubicBezTo>
                    <a:pt x="13" y="1"/>
                    <a:pt x="15" y="0"/>
                    <a:pt x="18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30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5" y="17"/>
                    <a:pt x="35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4" y="10"/>
                    <a:pt x="23" y="9"/>
                    <a:pt x="21" y="8"/>
                  </a:cubicBezTo>
                  <a:cubicBezTo>
                    <a:pt x="20" y="8"/>
                    <a:pt x="19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10" y="12"/>
                    <a:pt x="9" y="13"/>
                    <a:pt x="9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9" y="26"/>
                  </a:cubicBezTo>
                  <a:cubicBezTo>
                    <a:pt x="9" y="27"/>
                    <a:pt x="10" y="28"/>
                    <a:pt x="11" y="30"/>
                  </a:cubicBezTo>
                  <a:cubicBezTo>
                    <a:pt x="11" y="31"/>
                    <a:pt x="12" y="32"/>
                    <a:pt x="14" y="32"/>
                  </a:cubicBezTo>
                  <a:cubicBezTo>
                    <a:pt x="15" y="33"/>
                    <a:pt x="16" y="33"/>
                    <a:pt x="18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3" y="31"/>
                    <a:pt x="24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49" name="Freeform 67">
              <a:extLst>
                <a:ext uri="{FF2B5EF4-FFF2-40B4-BE49-F238E27FC236}">
                  <a16:creationId xmlns:a16="http://schemas.microsoft.com/office/drawing/2014/main" id="{33147323-CD74-4B45-8B3D-9FC2D6ABC4D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68514" y="6418333"/>
              <a:ext cx="59286" cy="101135"/>
            </a:xfrm>
            <a:custGeom>
              <a:avLst/>
              <a:gdLst>
                <a:gd name="T0" fmla="*/ 21 w 23"/>
                <a:gd name="T1" fmla="*/ 9 h 39"/>
                <a:gd name="T2" fmla="*/ 19 w 23"/>
                <a:gd name="T3" fmla="*/ 8 h 39"/>
                <a:gd name="T4" fmla="*/ 16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10 w 23"/>
                <a:gd name="T21" fmla="*/ 3 h 39"/>
                <a:gd name="T22" fmla="*/ 12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1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20" y="8"/>
                    <a:pt x="19" y="8"/>
                  </a:cubicBezTo>
                  <a:cubicBezTo>
                    <a:pt x="18" y="8"/>
                    <a:pt x="17" y="7"/>
                    <a:pt x="16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9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10" y="3"/>
                  </a:cubicBezTo>
                  <a:cubicBezTo>
                    <a:pt x="10" y="2"/>
                    <a:pt x="11" y="2"/>
                    <a:pt x="12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20" y="0"/>
                    <a:pt x="21" y="1"/>
                  </a:cubicBezTo>
                  <a:cubicBezTo>
                    <a:pt x="22" y="1"/>
                    <a:pt x="23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50" name="Freeform 68">
              <a:extLst>
                <a:ext uri="{FF2B5EF4-FFF2-40B4-BE49-F238E27FC236}">
                  <a16:creationId xmlns:a16="http://schemas.microsoft.com/office/drawing/2014/main" id="{646502BE-8655-4E99-B8D3-19E6C1D2B9F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5237" y="6383459"/>
              <a:ext cx="76723" cy="136010"/>
            </a:xfrm>
            <a:custGeom>
              <a:avLst/>
              <a:gdLst>
                <a:gd name="T0" fmla="*/ 31 w 44"/>
                <a:gd name="T1" fmla="*/ 78 h 78"/>
                <a:gd name="T2" fmla="*/ 19 w 44"/>
                <a:gd name="T3" fmla="*/ 50 h 78"/>
                <a:gd name="T4" fmla="*/ 10 w 44"/>
                <a:gd name="T5" fmla="*/ 61 h 78"/>
                <a:gd name="T6" fmla="*/ 10 w 44"/>
                <a:gd name="T7" fmla="*/ 78 h 78"/>
                <a:gd name="T8" fmla="*/ 0 w 44"/>
                <a:gd name="T9" fmla="*/ 78 h 78"/>
                <a:gd name="T10" fmla="*/ 0 w 44"/>
                <a:gd name="T11" fmla="*/ 6 h 78"/>
                <a:gd name="T12" fmla="*/ 10 w 44"/>
                <a:gd name="T13" fmla="*/ 0 h 78"/>
                <a:gd name="T14" fmla="*/ 10 w 44"/>
                <a:gd name="T15" fmla="*/ 47 h 78"/>
                <a:gd name="T16" fmla="*/ 28 w 44"/>
                <a:gd name="T17" fmla="*/ 22 h 78"/>
                <a:gd name="T18" fmla="*/ 41 w 44"/>
                <a:gd name="T19" fmla="*/ 22 h 78"/>
                <a:gd name="T20" fmla="*/ 26 w 44"/>
                <a:gd name="T21" fmla="*/ 41 h 78"/>
                <a:gd name="T22" fmla="*/ 44 w 44"/>
                <a:gd name="T23" fmla="*/ 78 h 78"/>
                <a:gd name="T24" fmla="*/ 31 w 44"/>
                <a:gd name="T25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4" h="78">
                  <a:moveTo>
                    <a:pt x="31" y="78"/>
                  </a:moveTo>
                  <a:lnTo>
                    <a:pt x="19" y="50"/>
                  </a:lnTo>
                  <a:lnTo>
                    <a:pt x="10" y="61"/>
                  </a:lnTo>
                  <a:lnTo>
                    <a:pt x="10" y="78"/>
                  </a:lnTo>
                  <a:lnTo>
                    <a:pt x="0" y="78"/>
                  </a:lnTo>
                  <a:lnTo>
                    <a:pt x="0" y="6"/>
                  </a:lnTo>
                  <a:lnTo>
                    <a:pt x="10" y="0"/>
                  </a:lnTo>
                  <a:lnTo>
                    <a:pt x="10" y="47"/>
                  </a:lnTo>
                  <a:lnTo>
                    <a:pt x="28" y="22"/>
                  </a:lnTo>
                  <a:lnTo>
                    <a:pt x="41" y="22"/>
                  </a:lnTo>
                  <a:lnTo>
                    <a:pt x="26" y="41"/>
                  </a:lnTo>
                  <a:lnTo>
                    <a:pt x="44" y="78"/>
                  </a:lnTo>
                  <a:lnTo>
                    <a:pt x="31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51" name="Freeform 69">
              <a:extLst>
                <a:ext uri="{FF2B5EF4-FFF2-40B4-BE49-F238E27FC236}">
                  <a16:creationId xmlns:a16="http://schemas.microsoft.com/office/drawing/2014/main" id="{7B89F1B5-6B06-45D2-838B-039A44EFFD1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28936" y="6418333"/>
              <a:ext cx="74980" cy="102879"/>
            </a:xfrm>
            <a:custGeom>
              <a:avLst/>
              <a:gdLst>
                <a:gd name="T0" fmla="*/ 28 w 29"/>
                <a:gd name="T1" fmla="*/ 4 h 40"/>
                <a:gd name="T2" fmla="*/ 25 w 29"/>
                <a:gd name="T3" fmla="*/ 10 h 40"/>
                <a:gd name="T4" fmla="*/ 20 w 29"/>
                <a:gd name="T5" fmla="*/ 8 h 40"/>
                <a:gd name="T6" fmla="*/ 15 w 29"/>
                <a:gd name="T7" fmla="*/ 7 h 40"/>
                <a:gd name="T8" fmla="*/ 11 w 29"/>
                <a:gd name="T9" fmla="*/ 8 h 40"/>
                <a:gd name="T10" fmla="*/ 9 w 29"/>
                <a:gd name="T11" fmla="*/ 10 h 40"/>
                <a:gd name="T12" fmla="*/ 10 w 29"/>
                <a:gd name="T13" fmla="*/ 12 h 40"/>
                <a:gd name="T14" fmla="*/ 11 w 29"/>
                <a:gd name="T15" fmla="*/ 13 h 40"/>
                <a:gd name="T16" fmla="*/ 13 w 29"/>
                <a:gd name="T17" fmla="*/ 14 h 40"/>
                <a:gd name="T18" fmla="*/ 17 w 29"/>
                <a:gd name="T19" fmla="*/ 16 h 40"/>
                <a:gd name="T20" fmla="*/ 22 w 29"/>
                <a:gd name="T21" fmla="*/ 18 h 40"/>
                <a:gd name="T22" fmla="*/ 26 w 29"/>
                <a:gd name="T23" fmla="*/ 21 h 40"/>
                <a:gd name="T24" fmla="*/ 29 w 29"/>
                <a:gd name="T25" fmla="*/ 24 h 40"/>
                <a:gd name="T26" fmla="*/ 29 w 29"/>
                <a:gd name="T27" fmla="*/ 29 h 40"/>
                <a:gd name="T28" fmla="*/ 28 w 29"/>
                <a:gd name="T29" fmla="*/ 34 h 40"/>
                <a:gd name="T30" fmla="*/ 25 w 29"/>
                <a:gd name="T31" fmla="*/ 38 h 40"/>
                <a:gd name="T32" fmla="*/ 21 w 29"/>
                <a:gd name="T33" fmla="*/ 40 h 40"/>
                <a:gd name="T34" fmla="*/ 15 w 29"/>
                <a:gd name="T35" fmla="*/ 40 h 40"/>
                <a:gd name="T36" fmla="*/ 7 w 29"/>
                <a:gd name="T37" fmla="*/ 39 h 40"/>
                <a:gd name="T38" fmla="*/ 0 w 29"/>
                <a:gd name="T39" fmla="*/ 35 h 40"/>
                <a:gd name="T40" fmla="*/ 4 w 29"/>
                <a:gd name="T41" fmla="*/ 30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20 w 29"/>
                <a:gd name="T53" fmla="*/ 26 h 40"/>
                <a:gd name="T54" fmla="*/ 17 w 29"/>
                <a:gd name="T55" fmla="*/ 24 h 40"/>
                <a:gd name="T56" fmla="*/ 13 w 29"/>
                <a:gd name="T57" fmla="*/ 23 h 40"/>
                <a:gd name="T58" fmla="*/ 8 w 29"/>
                <a:gd name="T59" fmla="*/ 20 h 40"/>
                <a:gd name="T60" fmla="*/ 4 w 29"/>
                <a:gd name="T61" fmla="*/ 18 h 40"/>
                <a:gd name="T62" fmla="*/ 2 w 29"/>
                <a:gd name="T63" fmla="*/ 15 h 40"/>
                <a:gd name="T64" fmla="*/ 2 w 29"/>
                <a:gd name="T65" fmla="*/ 11 h 40"/>
                <a:gd name="T66" fmla="*/ 3 w 29"/>
                <a:gd name="T67" fmla="*/ 6 h 40"/>
                <a:gd name="T68" fmla="*/ 6 w 29"/>
                <a:gd name="T69" fmla="*/ 3 h 40"/>
                <a:gd name="T70" fmla="*/ 10 w 29"/>
                <a:gd name="T71" fmla="*/ 1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5" y="10"/>
                    <a:pt x="25" y="10"/>
                    <a:pt x="25" y="10"/>
                  </a:cubicBezTo>
                  <a:cubicBezTo>
                    <a:pt x="23" y="9"/>
                    <a:pt x="22" y="8"/>
                    <a:pt x="20" y="8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2" y="7"/>
                    <a:pt x="11" y="8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1"/>
                    <a:pt x="10" y="11"/>
                    <a:pt x="10" y="12"/>
                  </a:cubicBezTo>
                  <a:cubicBezTo>
                    <a:pt x="10" y="12"/>
                    <a:pt x="10" y="13"/>
                    <a:pt x="11" y="13"/>
                  </a:cubicBezTo>
                  <a:cubicBezTo>
                    <a:pt x="11" y="13"/>
                    <a:pt x="12" y="14"/>
                    <a:pt x="13" y="14"/>
                  </a:cubicBezTo>
                  <a:cubicBezTo>
                    <a:pt x="14" y="15"/>
                    <a:pt x="15" y="15"/>
                    <a:pt x="17" y="16"/>
                  </a:cubicBezTo>
                  <a:cubicBezTo>
                    <a:pt x="19" y="17"/>
                    <a:pt x="21" y="18"/>
                    <a:pt x="22" y="18"/>
                  </a:cubicBezTo>
                  <a:cubicBezTo>
                    <a:pt x="24" y="19"/>
                    <a:pt x="25" y="20"/>
                    <a:pt x="26" y="21"/>
                  </a:cubicBezTo>
                  <a:cubicBezTo>
                    <a:pt x="27" y="22"/>
                    <a:pt x="28" y="23"/>
                    <a:pt x="29" y="24"/>
                  </a:cubicBezTo>
                  <a:cubicBezTo>
                    <a:pt x="29" y="25"/>
                    <a:pt x="29" y="27"/>
                    <a:pt x="29" y="29"/>
                  </a:cubicBezTo>
                  <a:cubicBezTo>
                    <a:pt x="29" y="31"/>
                    <a:pt x="29" y="33"/>
                    <a:pt x="28" y="34"/>
                  </a:cubicBezTo>
                  <a:cubicBezTo>
                    <a:pt x="28" y="36"/>
                    <a:pt x="26" y="37"/>
                    <a:pt x="25" y="38"/>
                  </a:cubicBezTo>
                  <a:cubicBezTo>
                    <a:pt x="24" y="39"/>
                    <a:pt x="22" y="39"/>
                    <a:pt x="21" y="40"/>
                  </a:cubicBezTo>
                  <a:cubicBezTo>
                    <a:pt x="19" y="40"/>
                    <a:pt x="17" y="40"/>
                    <a:pt x="15" y="40"/>
                  </a:cubicBezTo>
                  <a:cubicBezTo>
                    <a:pt x="13" y="40"/>
                    <a:pt x="10" y="40"/>
                    <a:pt x="7" y="39"/>
                  </a:cubicBezTo>
                  <a:cubicBezTo>
                    <a:pt x="5" y="38"/>
                    <a:pt x="2" y="37"/>
                    <a:pt x="0" y="35"/>
                  </a:cubicBezTo>
                  <a:cubicBezTo>
                    <a:pt x="4" y="30"/>
                    <a:pt x="4" y="30"/>
                    <a:pt x="4" y="30"/>
                  </a:cubicBezTo>
                  <a:cubicBezTo>
                    <a:pt x="6" y="31"/>
                    <a:pt x="7" y="32"/>
                    <a:pt x="9" y="32"/>
                  </a:cubicBezTo>
                  <a:cubicBezTo>
                    <a:pt x="11" y="33"/>
                    <a:pt x="13" y="33"/>
                    <a:pt x="15" y="33"/>
                  </a:cubicBezTo>
                  <a:cubicBezTo>
                    <a:pt x="17" y="33"/>
                    <a:pt x="19" y="33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8"/>
                    <a:pt x="21" y="27"/>
                  </a:cubicBezTo>
                  <a:cubicBezTo>
                    <a:pt x="21" y="27"/>
                    <a:pt x="20" y="26"/>
                    <a:pt x="20" y="26"/>
                  </a:cubicBezTo>
                  <a:cubicBezTo>
                    <a:pt x="19" y="25"/>
                    <a:pt x="18" y="25"/>
                    <a:pt x="17" y="24"/>
                  </a:cubicBezTo>
                  <a:cubicBezTo>
                    <a:pt x="16" y="24"/>
                    <a:pt x="15" y="23"/>
                    <a:pt x="13" y="23"/>
                  </a:cubicBezTo>
                  <a:cubicBezTo>
                    <a:pt x="11" y="22"/>
                    <a:pt x="9" y="21"/>
                    <a:pt x="8" y="20"/>
                  </a:cubicBezTo>
                  <a:cubicBezTo>
                    <a:pt x="6" y="19"/>
                    <a:pt x="5" y="19"/>
                    <a:pt x="4" y="18"/>
                  </a:cubicBezTo>
                  <a:cubicBezTo>
                    <a:pt x="3" y="17"/>
                    <a:pt x="3" y="16"/>
                    <a:pt x="2" y="15"/>
                  </a:cubicBezTo>
                  <a:cubicBezTo>
                    <a:pt x="2" y="13"/>
                    <a:pt x="2" y="12"/>
                    <a:pt x="2" y="11"/>
                  </a:cubicBezTo>
                  <a:cubicBezTo>
                    <a:pt x="2" y="9"/>
                    <a:pt x="2" y="7"/>
                    <a:pt x="3" y="6"/>
                  </a:cubicBezTo>
                  <a:cubicBezTo>
                    <a:pt x="3" y="5"/>
                    <a:pt x="4" y="4"/>
                    <a:pt x="6" y="3"/>
                  </a:cubicBezTo>
                  <a:cubicBezTo>
                    <a:pt x="7" y="2"/>
                    <a:pt x="8" y="1"/>
                    <a:pt x="10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20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52" name="Freeform 70">
              <a:extLst>
                <a:ext uri="{FF2B5EF4-FFF2-40B4-BE49-F238E27FC236}">
                  <a16:creationId xmlns:a16="http://schemas.microsoft.com/office/drawing/2014/main" id="{07A005EC-C937-4146-8D02-C00C5931EB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23096" y="6489826"/>
              <a:ext cx="27899" cy="31387"/>
            </a:xfrm>
            <a:custGeom>
              <a:avLst/>
              <a:gdLst>
                <a:gd name="T0" fmla="*/ 11 w 11"/>
                <a:gd name="T1" fmla="*/ 6 h 12"/>
                <a:gd name="T2" fmla="*/ 11 w 11"/>
                <a:gd name="T3" fmla="*/ 9 h 12"/>
                <a:gd name="T4" fmla="*/ 10 w 11"/>
                <a:gd name="T5" fmla="*/ 10 h 12"/>
                <a:gd name="T6" fmla="*/ 8 w 11"/>
                <a:gd name="T7" fmla="*/ 12 h 12"/>
                <a:gd name="T8" fmla="*/ 6 w 11"/>
                <a:gd name="T9" fmla="*/ 12 h 12"/>
                <a:gd name="T10" fmla="*/ 3 w 11"/>
                <a:gd name="T11" fmla="*/ 12 h 12"/>
                <a:gd name="T12" fmla="*/ 1 w 11"/>
                <a:gd name="T13" fmla="*/ 10 h 12"/>
                <a:gd name="T14" fmla="*/ 0 w 11"/>
                <a:gd name="T15" fmla="*/ 9 h 12"/>
                <a:gd name="T16" fmla="*/ 0 w 11"/>
                <a:gd name="T17" fmla="*/ 6 h 12"/>
                <a:gd name="T18" fmla="*/ 0 w 11"/>
                <a:gd name="T19" fmla="*/ 4 h 12"/>
                <a:gd name="T20" fmla="*/ 1 w 11"/>
                <a:gd name="T21" fmla="*/ 2 h 12"/>
                <a:gd name="T22" fmla="*/ 3 w 11"/>
                <a:gd name="T23" fmla="*/ 1 h 12"/>
                <a:gd name="T24" fmla="*/ 6 w 11"/>
                <a:gd name="T25" fmla="*/ 0 h 12"/>
                <a:gd name="T26" fmla="*/ 8 w 11"/>
                <a:gd name="T27" fmla="*/ 1 h 12"/>
                <a:gd name="T28" fmla="*/ 10 w 11"/>
                <a:gd name="T29" fmla="*/ 2 h 12"/>
                <a:gd name="T30" fmla="*/ 11 w 11"/>
                <a:gd name="T31" fmla="*/ 4 h 12"/>
                <a:gd name="T32" fmla="*/ 11 w 11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" h="12">
                  <a:moveTo>
                    <a:pt x="11" y="6"/>
                  </a:moveTo>
                  <a:cubicBezTo>
                    <a:pt x="11" y="7"/>
                    <a:pt x="11" y="8"/>
                    <a:pt x="11" y="9"/>
                  </a:cubicBezTo>
                  <a:cubicBezTo>
                    <a:pt x="11" y="9"/>
                    <a:pt x="10" y="10"/>
                    <a:pt x="10" y="10"/>
                  </a:cubicBezTo>
                  <a:cubicBezTo>
                    <a:pt x="9" y="11"/>
                    <a:pt x="9" y="11"/>
                    <a:pt x="8" y="12"/>
                  </a:cubicBezTo>
                  <a:cubicBezTo>
                    <a:pt x="7" y="12"/>
                    <a:pt x="6" y="12"/>
                    <a:pt x="6" y="12"/>
                  </a:cubicBezTo>
                  <a:cubicBezTo>
                    <a:pt x="5" y="12"/>
                    <a:pt x="4" y="12"/>
                    <a:pt x="3" y="12"/>
                  </a:cubicBezTo>
                  <a:cubicBezTo>
                    <a:pt x="3" y="11"/>
                    <a:pt x="2" y="11"/>
                    <a:pt x="1" y="10"/>
                  </a:cubicBezTo>
                  <a:cubicBezTo>
                    <a:pt x="1" y="10"/>
                    <a:pt x="1" y="9"/>
                    <a:pt x="0" y="9"/>
                  </a:cubicBezTo>
                  <a:cubicBezTo>
                    <a:pt x="0" y="8"/>
                    <a:pt x="0" y="7"/>
                    <a:pt x="0" y="6"/>
                  </a:cubicBezTo>
                  <a:cubicBezTo>
                    <a:pt x="0" y="6"/>
                    <a:pt x="0" y="5"/>
                    <a:pt x="0" y="4"/>
                  </a:cubicBezTo>
                  <a:cubicBezTo>
                    <a:pt x="1" y="3"/>
                    <a:pt x="1" y="3"/>
                    <a:pt x="1" y="2"/>
                  </a:cubicBezTo>
                  <a:cubicBezTo>
                    <a:pt x="2" y="2"/>
                    <a:pt x="3" y="1"/>
                    <a:pt x="3" y="1"/>
                  </a:cubicBezTo>
                  <a:cubicBezTo>
                    <a:pt x="4" y="1"/>
                    <a:pt x="5" y="0"/>
                    <a:pt x="6" y="0"/>
                  </a:cubicBezTo>
                  <a:cubicBezTo>
                    <a:pt x="6" y="0"/>
                    <a:pt x="7" y="1"/>
                    <a:pt x="8" y="1"/>
                  </a:cubicBezTo>
                  <a:cubicBezTo>
                    <a:pt x="9" y="1"/>
                    <a:pt x="9" y="2"/>
                    <a:pt x="10" y="2"/>
                  </a:cubicBezTo>
                  <a:cubicBezTo>
                    <a:pt x="10" y="3"/>
                    <a:pt x="11" y="3"/>
                    <a:pt x="11" y="4"/>
                  </a:cubicBezTo>
                  <a:cubicBezTo>
                    <a:pt x="11" y="5"/>
                    <a:pt x="11" y="6"/>
                    <a:pt x="11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</p:grpSp>
      <p:sp>
        <p:nvSpPr>
          <p:cNvPr id="263" name="Title 1">
            <a:extLst>
              <a:ext uri="{FF2B5EF4-FFF2-40B4-BE49-F238E27FC236}">
                <a16:creationId xmlns:a16="http://schemas.microsoft.com/office/drawing/2014/main" id="{3F36D6CC-3534-47CC-AECE-83EDA4639FB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44388" y="2158329"/>
            <a:ext cx="3998354" cy="860400"/>
          </a:xfrm>
          <a:prstGeom prst="rect">
            <a:avLst/>
          </a:prstGeom>
        </p:spPr>
        <p:txBody>
          <a:bodyPr/>
          <a:lstStyle>
            <a:lvl1pPr>
              <a:defRPr sz="2999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264" name="Subtitle 2">
            <a:extLst>
              <a:ext uri="{FF2B5EF4-FFF2-40B4-BE49-F238E27FC236}">
                <a16:creationId xmlns:a16="http://schemas.microsoft.com/office/drawing/2014/main" id="{C26FB38E-4E99-4AFB-8C8C-F03F7A963D9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44580" y="3200329"/>
            <a:ext cx="4018535" cy="64574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999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  <a:lvl2pPr marL="0" indent="0" algn="l">
              <a:buNone/>
              <a:defRPr sz="1599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913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9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8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8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7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subtitle style</a:t>
            </a:r>
            <a:endParaRPr lang="en-GB" dirty="0"/>
          </a:p>
        </p:txBody>
      </p:sp>
      <p:grpSp>
        <p:nvGrpSpPr>
          <p:cNvPr id="77" name="Group 76">
            <a:extLst>
              <a:ext uri="{FF2B5EF4-FFF2-40B4-BE49-F238E27FC236}">
                <a16:creationId xmlns:a16="http://schemas.microsoft.com/office/drawing/2014/main" id="{AE95BC52-A56D-4358-A294-750179EBB698}"/>
              </a:ext>
            </a:extLst>
          </p:cNvPr>
          <p:cNvGrpSpPr/>
          <p:nvPr userDrawn="1"/>
        </p:nvGrpSpPr>
        <p:grpSpPr>
          <a:xfrm>
            <a:off x="489112" y="876059"/>
            <a:ext cx="4852768" cy="3374475"/>
            <a:chOff x="6855933" y="899048"/>
            <a:chExt cx="4855295" cy="3374475"/>
          </a:xfrm>
          <a:solidFill>
            <a:schemeClr val="tx2"/>
          </a:solidFill>
        </p:grpSpPr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ECBD2AD5-9A79-4CFE-A808-769ADC8898F3}"/>
                </a:ext>
              </a:extLst>
            </p:cNvPr>
            <p:cNvSpPr/>
            <p:nvPr/>
          </p:nvSpPr>
          <p:spPr>
            <a:xfrm>
              <a:off x="6855933" y="899048"/>
              <a:ext cx="4855295" cy="3374475"/>
            </a:xfrm>
            <a:custGeom>
              <a:avLst/>
              <a:gdLst>
                <a:gd name="connsiteX0" fmla="*/ 6731 w 4855294"/>
                <a:gd name="connsiteY0" fmla="*/ 863542 h 3374474"/>
                <a:gd name="connsiteX1" fmla="*/ 6731 w 4855294"/>
                <a:gd name="connsiteY1" fmla="*/ 3095901 h 3374474"/>
                <a:gd name="connsiteX2" fmla="*/ 145659 w 4855294"/>
                <a:gd name="connsiteY2" fmla="*/ 3095901 h 3374474"/>
                <a:gd name="connsiteX3" fmla="*/ 145659 w 4855294"/>
                <a:gd name="connsiteY3" fmla="*/ 988380 h 3374474"/>
                <a:gd name="connsiteX4" fmla="*/ 4715918 w 4855294"/>
                <a:gd name="connsiteY4" fmla="*/ 179673 h 3374474"/>
                <a:gd name="connsiteX5" fmla="*/ 4715918 w 4855294"/>
                <a:gd name="connsiteY5" fmla="*/ 3234829 h 3374474"/>
                <a:gd name="connsiteX6" fmla="*/ 840208 w 4855294"/>
                <a:gd name="connsiteY6" fmla="*/ 3234829 h 3374474"/>
                <a:gd name="connsiteX7" fmla="*/ 840208 w 4855294"/>
                <a:gd name="connsiteY7" fmla="*/ 3373757 h 3374474"/>
                <a:gd name="connsiteX8" fmla="*/ 4854846 w 4855294"/>
                <a:gd name="connsiteY8" fmla="*/ 3373757 h 3374474"/>
                <a:gd name="connsiteX9" fmla="*/ 4854846 w 4855294"/>
                <a:gd name="connsiteY9" fmla="*/ 6731 h 3374474"/>
                <a:gd name="connsiteX10" fmla="*/ 6731 w 4855294"/>
                <a:gd name="connsiteY10" fmla="*/ 863542 h 33744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855294" h="3374474">
                  <a:moveTo>
                    <a:pt x="6731" y="863542"/>
                  </a:moveTo>
                  <a:lnTo>
                    <a:pt x="6731" y="3095901"/>
                  </a:lnTo>
                  <a:lnTo>
                    <a:pt x="145659" y="3095901"/>
                  </a:lnTo>
                  <a:lnTo>
                    <a:pt x="145659" y="988380"/>
                  </a:lnTo>
                  <a:lnTo>
                    <a:pt x="4715918" y="179673"/>
                  </a:lnTo>
                  <a:lnTo>
                    <a:pt x="4715918" y="3234829"/>
                  </a:lnTo>
                  <a:lnTo>
                    <a:pt x="840208" y="3234829"/>
                  </a:lnTo>
                  <a:lnTo>
                    <a:pt x="840208" y="3373757"/>
                  </a:lnTo>
                  <a:lnTo>
                    <a:pt x="4854846" y="3373757"/>
                  </a:lnTo>
                  <a:lnTo>
                    <a:pt x="4854846" y="6731"/>
                  </a:lnTo>
                  <a:lnTo>
                    <a:pt x="6731" y="86354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799"/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9EE673CB-A779-4F64-B72D-93428DD2B26D}"/>
                </a:ext>
              </a:extLst>
            </p:cNvPr>
            <p:cNvSpPr/>
            <p:nvPr/>
          </p:nvSpPr>
          <p:spPr>
            <a:xfrm>
              <a:off x="6855933" y="4127146"/>
              <a:ext cx="143595" cy="143595"/>
            </a:xfrm>
            <a:custGeom>
              <a:avLst/>
              <a:gdLst>
                <a:gd name="connsiteX0" fmla="*/ 6731 w 143594"/>
                <a:gd name="connsiteY0" fmla="*/ 6731 h 143594"/>
                <a:gd name="connsiteX1" fmla="*/ 145659 w 143594"/>
                <a:gd name="connsiteY1" fmla="*/ 6731 h 143594"/>
                <a:gd name="connsiteX2" fmla="*/ 145659 w 143594"/>
                <a:gd name="connsiteY2" fmla="*/ 145659 h 143594"/>
                <a:gd name="connsiteX3" fmla="*/ 6731 w 143594"/>
                <a:gd name="connsiteY3" fmla="*/ 145659 h 143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3594" h="143594">
                  <a:moveTo>
                    <a:pt x="6731" y="6731"/>
                  </a:moveTo>
                  <a:lnTo>
                    <a:pt x="145659" y="6731"/>
                  </a:lnTo>
                  <a:lnTo>
                    <a:pt x="145659" y="145659"/>
                  </a:lnTo>
                  <a:lnTo>
                    <a:pt x="6731" y="14565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799"/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88144C98-507D-403B-8819-FBBF64A82FA3}"/>
                </a:ext>
              </a:extLst>
            </p:cNvPr>
            <p:cNvSpPr/>
            <p:nvPr/>
          </p:nvSpPr>
          <p:spPr>
            <a:xfrm>
              <a:off x="7133789" y="4127146"/>
              <a:ext cx="143595" cy="143595"/>
            </a:xfrm>
            <a:custGeom>
              <a:avLst/>
              <a:gdLst>
                <a:gd name="connsiteX0" fmla="*/ 6731 w 143594"/>
                <a:gd name="connsiteY0" fmla="*/ 6731 h 143594"/>
                <a:gd name="connsiteX1" fmla="*/ 145659 w 143594"/>
                <a:gd name="connsiteY1" fmla="*/ 6731 h 143594"/>
                <a:gd name="connsiteX2" fmla="*/ 145659 w 143594"/>
                <a:gd name="connsiteY2" fmla="*/ 145659 h 143594"/>
                <a:gd name="connsiteX3" fmla="*/ 6731 w 143594"/>
                <a:gd name="connsiteY3" fmla="*/ 145659 h 143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3594" h="143594">
                  <a:moveTo>
                    <a:pt x="6731" y="6731"/>
                  </a:moveTo>
                  <a:lnTo>
                    <a:pt x="145659" y="6731"/>
                  </a:lnTo>
                  <a:lnTo>
                    <a:pt x="145659" y="145659"/>
                  </a:lnTo>
                  <a:lnTo>
                    <a:pt x="6731" y="14565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799"/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21919CB3-2430-4DA6-BF41-59A1EF9C03CB}"/>
                </a:ext>
              </a:extLst>
            </p:cNvPr>
            <p:cNvSpPr/>
            <p:nvPr/>
          </p:nvSpPr>
          <p:spPr>
            <a:xfrm>
              <a:off x="7411555" y="4127146"/>
              <a:ext cx="143595" cy="143595"/>
            </a:xfrm>
            <a:custGeom>
              <a:avLst/>
              <a:gdLst>
                <a:gd name="connsiteX0" fmla="*/ 6731 w 143594"/>
                <a:gd name="connsiteY0" fmla="*/ 6731 h 143594"/>
                <a:gd name="connsiteX1" fmla="*/ 145659 w 143594"/>
                <a:gd name="connsiteY1" fmla="*/ 6731 h 143594"/>
                <a:gd name="connsiteX2" fmla="*/ 145659 w 143594"/>
                <a:gd name="connsiteY2" fmla="*/ 145659 h 143594"/>
                <a:gd name="connsiteX3" fmla="*/ 6731 w 143594"/>
                <a:gd name="connsiteY3" fmla="*/ 145659 h 143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3594" h="143594">
                  <a:moveTo>
                    <a:pt x="6731" y="6731"/>
                  </a:moveTo>
                  <a:lnTo>
                    <a:pt x="145659" y="6731"/>
                  </a:lnTo>
                  <a:lnTo>
                    <a:pt x="145659" y="145659"/>
                  </a:lnTo>
                  <a:lnTo>
                    <a:pt x="6731" y="14565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799"/>
            </a:p>
          </p:txBody>
        </p:sp>
      </p:grpSp>
      <p:grpSp>
        <p:nvGrpSpPr>
          <p:cNvPr id="82" name="Group 4">
            <a:extLst>
              <a:ext uri="{FF2B5EF4-FFF2-40B4-BE49-F238E27FC236}">
                <a16:creationId xmlns:a16="http://schemas.microsoft.com/office/drawing/2014/main" id="{C5FADEE5-07C4-41A9-88D6-C6D2ED1362B8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59392" y="4960938"/>
            <a:ext cx="1224912" cy="1435100"/>
            <a:chOff x="6529" y="3125"/>
            <a:chExt cx="772" cy="904"/>
          </a:xfrm>
        </p:grpSpPr>
        <p:sp>
          <p:nvSpPr>
            <p:cNvPr id="83" name="Freeform 5">
              <a:extLst>
                <a:ext uri="{FF2B5EF4-FFF2-40B4-BE49-F238E27FC236}">
                  <a16:creationId xmlns:a16="http://schemas.microsoft.com/office/drawing/2014/main" id="{5A2C465B-7D43-431D-A35E-50762E7696F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84" name="Freeform 6">
              <a:extLst>
                <a:ext uri="{FF2B5EF4-FFF2-40B4-BE49-F238E27FC236}">
                  <a16:creationId xmlns:a16="http://schemas.microsoft.com/office/drawing/2014/main" id="{AC35E6C1-71A8-4C9D-A1A5-682B0BD0A03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</p:grpSp>
    </p:spTree>
    <p:extLst>
      <p:ext uri="{BB962C8B-B14F-4D97-AF65-F5344CB8AC3E}">
        <p14:creationId xmlns:p14="http://schemas.microsoft.com/office/powerpoint/2010/main" val="279848695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697C43D-4F1B-43DA-A0C6-DA6B6708E16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2616" y="2851522"/>
            <a:ext cx="4445485" cy="1202318"/>
          </a:xfrm>
        </p:spPr>
        <p:txBody>
          <a:bodyPr vert="horz" lIns="0" tIns="0" rIns="0" bIns="0" rtlCol="0" anchor="ctr" anchorCtr="0">
            <a:noAutofit/>
          </a:bodyPr>
          <a:lstStyle>
            <a:lvl1pPr marL="0" indent="0">
              <a:buNone/>
              <a:defRPr kumimoji="0" lang="en-IN" sz="3598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 panose="02000506000000020004" pitchFamily="2" charset="0"/>
                <a:ea typeface="+mj-ea"/>
                <a:cs typeface="+mj-cs"/>
              </a:defRPr>
            </a:lvl1pPr>
          </a:lstStyle>
          <a:p>
            <a:pPr marL="356438" marR="0" lvl="0" indent="-356438" defTabSz="1007383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</a:pPr>
            <a:r>
              <a:rPr lang="en-US" dirty="0"/>
              <a:t>Chapter Title</a:t>
            </a:r>
            <a:endParaRPr lang="en-IN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8C87A56-4269-4E89-A9DC-9C8F44424A9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BBFBFE83-FB75-47BB-81F0-F0FF13E5BA5A}" type="datetime3">
              <a:rPr lang="en-US" smtClean="0"/>
              <a:t>5 August 2022</a:t>
            </a:fld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0FA45C8-6E1A-407F-B671-050EFF08143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IN" dirty="0"/>
              <a:t>Presentation tit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1A593FC-3F10-4238-9F6D-C447302109D8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574857306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11">
            <a:extLst>
              <a:ext uri="{FF2B5EF4-FFF2-40B4-BE49-F238E27FC236}">
                <a16:creationId xmlns:a16="http://schemas.microsoft.com/office/drawing/2014/main" id="{8F291EB0-15F5-4E9A-A38B-CE3AC1452E21}"/>
              </a:ext>
            </a:extLst>
          </p:cNvPr>
          <p:cNvSpPr txBox="1">
            <a:spLocks/>
          </p:cNvSpPr>
          <p:nvPr userDrawn="1"/>
        </p:nvSpPr>
        <p:spPr>
          <a:xfrm>
            <a:off x="477102" y="1488927"/>
            <a:ext cx="2337171" cy="858838"/>
          </a:xfrm>
          <a:prstGeom prst="rect">
            <a:avLst/>
          </a:prstGeom>
        </p:spPr>
        <p:txBody>
          <a:bodyPr/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11194" dirty="0">
                <a:solidFill>
                  <a:schemeClr val="tx2"/>
                </a:solidFill>
                <a:latin typeface="Georgia" panose="02040502050405020303" pitchFamily="18" charset="0"/>
              </a:rPr>
              <a:t>“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B5D2AC0-B4F7-4455-9AE0-201966050A6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13083" y="2526765"/>
            <a:ext cx="5289245" cy="1800000"/>
          </a:xfrm>
        </p:spPr>
        <p:txBody>
          <a:bodyPr lIns="90000" tIns="46800" rIns="90000" bIns="46800"/>
          <a:lstStyle>
            <a:lvl1pPr marL="0" indent="0">
              <a:buNone/>
              <a:defRPr lang="en-US" sz="2799" dirty="0" smtClean="0">
                <a:latin typeface="Georgia" panose="02040502050405020303" pitchFamily="18" charset="0"/>
              </a:defRPr>
            </a:lvl1pPr>
          </a:lstStyle>
          <a:p>
            <a:pPr marL="356438" lvl="0" indent="-356438">
              <a:spcBef>
                <a:spcPts val="0"/>
              </a:spcBef>
            </a:pPr>
            <a:r>
              <a:rPr lang="en-US" dirty="0"/>
              <a:t>Edit Master text styles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F1BA83A2-78F0-4F7E-836B-9B4B87820F9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3083" y="4632765"/>
            <a:ext cx="5289245" cy="316838"/>
          </a:xfrm>
        </p:spPr>
        <p:txBody>
          <a:bodyPr lIns="90000" tIns="46800" rIns="90000" bIns="46800"/>
          <a:lstStyle>
            <a:lvl1pPr marL="0" indent="0" algn="l" defTabSz="913943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70000"/>
              <a:buFont typeface="Arial" pitchFamily="34" charset="0"/>
              <a:buNone/>
              <a:defRPr lang="en-US" sz="1599" kern="1200" dirty="0" smtClean="0">
                <a:solidFill>
                  <a:srgbClr val="2E2E38"/>
                </a:solidFill>
                <a:latin typeface="+mn-lt"/>
                <a:ea typeface="+mn-ea"/>
                <a:cs typeface="+mn-cs"/>
              </a:defRPr>
            </a:lvl1pPr>
            <a:lvl2pPr marL="356438" indent="0">
              <a:buNone/>
              <a:defRPr lang="en-US" sz="1999" smtClean="0">
                <a:latin typeface="+mn-lt"/>
              </a:defRPr>
            </a:lvl2pPr>
            <a:lvl3pPr>
              <a:defRPr lang="en-US" sz="1799" smtClean="0">
                <a:latin typeface="+mn-lt"/>
              </a:defRPr>
            </a:lvl3pPr>
            <a:lvl4pPr>
              <a:defRPr lang="en-US" sz="1599" smtClean="0">
                <a:latin typeface="+mn-lt"/>
              </a:defRPr>
            </a:lvl4pPr>
            <a:lvl5pPr>
              <a:defRPr lang="en-IN" sz="1599">
                <a:latin typeface="+mn-lt"/>
              </a:defRPr>
            </a:lvl5pPr>
          </a:lstStyle>
          <a:p>
            <a:pPr marL="0" lvl="0" indent="0">
              <a:spcBef>
                <a:spcPts val="0"/>
              </a:spcBef>
              <a:buNone/>
            </a:pPr>
            <a:r>
              <a:rPr lang="en-US" dirty="0"/>
              <a:t>Name Surname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034CE9DD-CE12-4D9F-8FD6-A2522F36C8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13083" y="4971442"/>
            <a:ext cx="5289245" cy="316838"/>
          </a:xfrm>
        </p:spPr>
        <p:txBody>
          <a:bodyPr lIns="90000" tIns="46800" rIns="90000" bIns="46800"/>
          <a:lstStyle>
            <a:lvl1pPr marL="0" indent="0" algn="l" defTabSz="913943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70000"/>
              <a:buFont typeface="Arial" pitchFamily="34" charset="0"/>
              <a:buNone/>
              <a:defRPr lang="en-US" sz="1599" kern="1200" dirty="0" smtClean="0">
                <a:solidFill>
                  <a:srgbClr val="2E2E38"/>
                </a:solidFill>
                <a:latin typeface="+mn-lt"/>
                <a:ea typeface="+mn-ea"/>
                <a:cs typeface="+mn-cs"/>
              </a:defRPr>
            </a:lvl1pPr>
            <a:lvl2pPr marL="356438" indent="0">
              <a:buNone/>
              <a:defRPr lang="en-US" sz="1999" smtClean="0">
                <a:latin typeface="+mn-lt"/>
              </a:defRPr>
            </a:lvl2pPr>
            <a:lvl3pPr>
              <a:defRPr lang="en-US" sz="1799" smtClean="0">
                <a:latin typeface="+mn-lt"/>
              </a:defRPr>
            </a:lvl3pPr>
            <a:lvl4pPr>
              <a:defRPr lang="en-US" sz="1599" smtClean="0">
                <a:latin typeface="+mn-lt"/>
              </a:defRPr>
            </a:lvl4pPr>
            <a:lvl5pPr>
              <a:defRPr lang="en-IN" sz="1599">
                <a:latin typeface="+mn-lt"/>
              </a:defRPr>
            </a:lvl5pPr>
          </a:lstStyle>
          <a:p>
            <a:pPr marL="0" lvl="0" indent="0">
              <a:spcBef>
                <a:spcPts val="0"/>
              </a:spcBef>
              <a:buNone/>
            </a:pPr>
            <a:r>
              <a:rPr lang="en-US" dirty="0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2779877128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E28D7EA5-A532-4D8B-9984-8F3D1FEA98D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451378" y="2060235"/>
            <a:ext cx="5289245" cy="3025522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lang="en-US" sz="2799" dirty="0" smtClean="0">
                <a:latin typeface="Georgia" panose="02040502050405020303" pitchFamily="18" charset="0"/>
              </a:defRPr>
            </a:lvl1pPr>
          </a:lstStyle>
          <a:p>
            <a:pPr marL="356438" lvl="0" indent="-356438" algn="ctr">
              <a:spcBef>
                <a:spcPts val="0"/>
              </a:spcBef>
            </a:pPr>
            <a:r>
              <a:rPr lang="en-US" dirty="0"/>
              <a:t>Edit Master text styles</a:t>
            </a:r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9F9B9C3C-16F2-40B2-A460-0480520ECF8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451378" y="5506678"/>
            <a:ext cx="5289245" cy="316838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lang="en-US" sz="1599" dirty="0" smtClean="0">
                <a:solidFill>
                  <a:srgbClr val="2E2E38"/>
                </a:solidFill>
                <a:latin typeface="+mn-lt"/>
              </a:defRPr>
            </a:lvl1pPr>
          </a:lstStyle>
          <a:p>
            <a:pPr marL="356438" lvl="0" indent="-356438" algn="ctr">
              <a:spcBef>
                <a:spcPts val="0"/>
              </a:spcBef>
              <a:spcAft>
                <a:spcPts val="600"/>
              </a:spcAft>
            </a:pPr>
            <a:r>
              <a:rPr lang="en-US" dirty="0"/>
              <a:t>Name Surname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8E04541C-CC5D-4455-8271-73223AE0A88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451378" y="5818717"/>
            <a:ext cx="5289245" cy="316838"/>
          </a:xfrm>
        </p:spPr>
        <p:txBody>
          <a:bodyPr vert="horz" lIns="0" tIns="0" rIns="0" bIns="0" rtlCol="0" anchor="t" anchorCtr="0">
            <a:noAutofit/>
          </a:bodyPr>
          <a:lstStyle>
            <a:lvl1pPr marL="0" indent="0" algn="ctr">
              <a:buNone/>
              <a:defRPr lang="en-US" sz="1599" dirty="0" smtClean="0">
                <a:solidFill>
                  <a:srgbClr val="2E2E38"/>
                </a:solidFill>
                <a:latin typeface="+mn-lt"/>
              </a:defRPr>
            </a:lvl1pPr>
          </a:lstStyle>
          <a:p>
            <a:pPr marL="356438" lvl="0" indent="-356438" algn="ctr">
              <a:spcBef>
                <a:spcPts val="0"/>
              </a:spcBef>
              <a:spcAft>
                <a:spcPts val="600"/>
              </a:spcAft>
            </a:pPr>
            <a:r>
              <a:rPr lang="en-US" dirty="0"/>
              <a:t>Job Title</a:t>
            </a:r>
          </a:p>
        </p:txBody>
      </p:sp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FBD672D3-B116-471A-8511-D80D5D920D93}"/>
              </a:ext>
            </a:extLst>
          </p:cNvPr>
          <p:cNvSpPr txBox="1">
            <a:spLocks/>
          </p:cNvSpPr>
          <p:nvPr userDrawn="1"/>
        </p:nvSpPr>
        <p:spPr>
          <a:xfrm>
            <a:off x="4927415" y="979788"/>
            <a:ext cx="2337171" cy="8826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GB" sz="11194" dirty="0">
                <a:solidFill>
                  <a:schemeClr val="tx2"/>
                </a:solidFill>
                <a:latin typeface="Georgia" panose="02040502050405020303" pitchFamily="18" charset="0"/>
              </a:rPr>
              <a:t>“ </a:t>
            </a:r>
          </a:p>
        </p:txBody>
      </p:sp>
    </p:spTree>
    <p:extLst>
      <p:ext uri="{BB962C8B-B14F-4D97-AF65-F5344CB8AC3E}">
        <p14:creationId xmlns:p14="http://schemas.microsoft.com/office/powerpoint/2010/main" val="675277179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628F8CDB-776D-4811-AE2C-217236ECDEC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223938" y="0"/>
            <a:ext cx="5968062" cy="6858000"/>
          </a:xfrm>
        </p:spPr>
        <p:txBody>
          <a:bodyPr/>
          <a:lstStyle/>
          <a:p>
            <a:endParaRPr lang="en-IN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26E96BA-E9E4-496B-8CA5-6DA27B8AD7E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69513" y="2578743"/>
            <a:ext cx="4535597" cy="1055708"/>
          </a:xfrm>
        </p:spPr>
        <p:txBody>
          <a:bodyPr/>
          <a:lstStyle>
            <a:lvl1pPr marL="0" indent="0">
              <a:buNone/>
              <a:defRPr sz="2999"/>
            </a:lvl1pPr>
          </a:lstStyle>
          <a:p>
            <a:pPr lvl="0"/>
            <a:r>
              <a:rPr lang="en-IN" dirty="0"/>
              <a:t>Chapter Title</a:t>
            </a:r>
          </a:p>
          <a:p>
            <a:pPr lvl="0"/>
            <a:r>
              <a:rPr lang="en-IN" dirty="0"/>
              <a:t>EY Interstate Light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1173C8A3-BA2F-497B-A214-45B02D73AF2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9513" y="3840384"/>
            <a:ext cx="4535597" cy="1055708"/>
          </a:xfrm>
        </p:spPr>
        <p:txBody>
          <a:bodyPr/>
          <a:lstStyle>
            <a:lvl1pPr marL="0" indent="0">
              <a:buNone/>
              <a:defRPr sz="1599"/>
            </a:lvl1pPr>
          </a:lstStyle>
          <a:p>
            <a:pPr lvl="0"/>
            <a:r>
              <a:rPr lang="en-IN" dirty="0"/>
              <a:t>text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3EABBDA-A77F-45A2-9996-90CD0EE5C388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1057AB47-DE48-402E-B5B7-CB9A0D0B7D44}" type="datetime3">
              <a:rPr lang="en-US" smtClean="0"/>
              <a:t>5 August 2022</a:t>
            </a:fld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F883B36-3BA3-42B4-A811-65C0AF01A86F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IN" dirty="0"/>
              <a:t>Presentation tit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9D9C98C-F30E-45BC-A1D9-67DB57119DCE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712727074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94200"/>
            <a:ext cx="10972800" cy="590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5" name="Table Placeholder 4">
            <a:extLst>
              <a:ext uri="{FF2B5EF4-FFF2-40B4-BE49-F238E27FC236}">
                <a16:creationId xmlns:a16="http://schemas.microsoft.com/office/drawing/2014/main" id="{95A2BE92-ABF7-4A82-BC35-00F28F500FED}"/>
              </a:ext>
            </a:extLst>
          </p:cNvPr>
          <p:cNvSpPr>
            <a:spLocks noGrp="1"/>
          </p:cNvSpPr>
          <p:nvPr>
            <p:ph type="tbl" sz="quarter" idx="10"/>
          </p:nvPr>
        </p:nvSpPr>
        <p:spPr>
          <a:xfrm>
            <a:off x="609600" y="1137921"/>
            <a:ext cx="4954924" cy="4267457"/>
          </a:xfrm>
        </p:spPr>
        <p:txBody>
          <a:bodyPr/>
          <a:lstStyle/>
          <a:p>
            <a:endParaRPr lang="en-IN" dirty="0"/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DA81FCAA-64D2-4A9C-B16E-9C4E3BB431B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129748" y="3813288"/>
            <a:ext cx="3087667" cy="180000"/>
          </a:xfrm>
        </p:spPr>
        <p:txBody>
          <a:bodyPr/>
          <a:lstStyle>
            <a:lvl1pPr marL="0" indent="0">
              <a:buNone/>
              <a:defRPr sz="1199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03CDC117-35F2-47B2-85B2-29CB8EE7E09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129748" y="4055931"/>
            <a:ext cx="3087667" cy="180000"/>
          </a:xfrm>
        </p:spPr>
        <p:txBody>
          <a:bodyPr/>
          <a:lstStyle>
            <a:lvl1pPr marL="0" indent="0">
              <a:buNone/>
              <a:defRPr sz="1199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Job Title to go here</a:t>
            </a:r>
            <a:endParaRPr lang="en-GB" dirty="0"/>
          </a:p>
        </p:txBody>
      </p:sp>
      <p:sp>
        <p:nvSpPr>
          <p:cNvPr id="14" name="Picture Placeholder 19">
            <a:extLst>
              <a:ext uri="{FF2B5EF4-FFF2-40B4-BE49-F238E27FC236}">
                <a16:creationId xmlns:a16="http://schemas.microsoft.com/office/drawing/2014/main" id="{00A15EA9-2372-4E06-83C2-1E13AB1FA62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19820" y="3578084"/>
            <a:ext cx="778554" cy="778959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9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DB83DAE-9FEB-4E9C-85BA-A34BD239275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19821" y="1137921"/>
            <a:ext cx="5462580" cy="37380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Key Takeaways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C1ABE303-7041-4312-AD03-0E872AEF99B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119821" y="1635009"/>
            <a:ext cx="5462580" cy="1611554"/>
          </a:xfrm>
        </p:spPr>
        <p:txBody>
          <a:bodyPr/>
          <a:lstStyle>
            <a:lvl1pPr marL="0" indent="0">
              <a:buNone/>
              <a:defRPr sz="1599"/>
            </a:lvl1pPr>
          </a:lstStyle>
          <a:p>
            <a:pPr lvl="0"/>
            <a:r>
              <a:rPr lang="en-US" dirty="0"/>
              <a:t>Content EY Interstate Light, 16pt, Lorem ipsum dolor, 12pt, </a:t>
            </a:r>
            <a:r>
              <a:rPr lang="en-US" dirty="0" err="1"/>
              <a:t>Utinam</a:t>
            </a:r>
            <a:r>
              <a:rPr lang="en-US" dirty="0"/>
              <a:t> </a:t>
            </a:r>
            <a:r>
              <a:rPr lang="en-US" dirty="0" err="1"/>
              <a:t>nonumy</a:t>
            </a:r>
            <a:r>
              <a:rPr lang="en-US" dirty="0"/>
              <a:t> </a:t>
            </a:r>
            <a:r>
              <a:rPr lang="en-US" dirty="0" err="1"/>
              <a:t>abhorreant</a:t>
            </a:r>
            <a:r>
              <a:rPr lang="en-US" dirty="0"/>
              <a:t> </a:t>
            </a:r>
            <a:r>
              <a:rPr lang="en-US" dirty="0" err="1"/>
              <a:t>sead</a:t>
            </a:r>
            <a:r>
              <a:rPr lang="en-US" dirty="0"/>
              <a:t>. </a:t>
            </a:r>
            <a:r>
              <a:rPr lang="en-US" dirty="0" err="1"/>
              <a:t>Putant</a:t>
            </a:r>
            <a:r>
              <a:rPr lang="en-US" dirty="0"/>
              <a:t> </a:t>
            </a:r>
            <a:r>
              <a:rPr lang="en-US" dirty="0" err="1"/>
              <a:t>probatus</a:t>
            </a:r>
            <a:r>
              <a:rPr lang="en-US" dirty="0"/>
              <a:t> id vis, ad his </a:t>
            </a:r>
            <a:r>
              <a:rPr lang="en-US" dirty="0" err="1"/>
              <a:t>meis</a:t>
            </a:r>
            <a:r>
              <a:rPr lang="en-US" dirty="0"/>
              <a:t> </a:t>
            </a:r>
            <a:r>
              <a:rPr lang="en-US" dirty="0" err="1"/>
              <a:t>habemus</a:t>
            </a:r>
            <a:r>
              <a:rPr lang="en-US" dirty="0"/>
              <a:t> </a:t>
            </a:r>
            <a:r>
              <a:rPr lang="en-US" dirty="0" err="1"/>
              <a:t>repudiare</a:t>
            </a:r>
            <a:r>
              <a:rPr lang="en-US" dirty="0"/>
              <a:t>, has an </a:t>
            </a:r>
            <a:r>
              <a:rPr lang="en-US" dirty="0" err="1"/>
              <a:t>pericula</a:t>
            </a:r>
            <a:r>
              <a:rPr lang="en-US" dirty="0"/>
              <a:t> </a:t>
            </a:r>
            <a:r>
              <a:rPr lang="en-US" dirty="0" err="1"/>
              <a:t>tractatos</a:t>
            </a:r>
            <a:r>
              <a:rPr lang="en-US" dirty="0"/>
              <a:t>. </a:t>
            </a:r>
            <a:r>
              <a:rPr lang="en-US" dirty="0" err="1"/>
              <a:t>Nec</a:t>
            </a:r>
            <a:r>
              <a:rPr lang="en-US" dirty="0"/>
              <a:t> </a:t>
            </a:r>
            <a:r>
              <a:rPr lang="en-US" dirty="0" err="1"/>
              <a:t>debitis</a:t>
            </a:r>
            <a:r>
              <a:rPr lang="en-US" dirty="0"/>
              <a:t> </a:t>
            </a:r>
            <a:r>
              <a:rPr lang="en-US" dirty="0" err="1"/>
              <a:t>dissentias</a:t>
            </a:r>
            <a:r>
              <a:rPr lang="en-US" dirty="0"/>
              <a:t> ad. </a:t>
            </a:r>
            <a:r>
              <a:rPr lang="en-US" dirty="0" err="1"/>
              <a:t>Patrioque</a:t>
            </a:r>
            <a:r>
              <a:rPr lang="en-US" dirty="0"/>
              <a:t> </a:t>
            </a:r>
            <a:r>
              <a:rPr lang="en-US" dirty="0" err="1"/>
              <a:t>voluptatum</a:t>
            </a:r>
            <a:r>
              <a:rPr lang="en-US" dirty="0"/>
              <a:t> </a:t>
            </a:r>
            <a:r>
              <a:rPr lang="en-US" dirty="0" err="1"/>
              <a:t>sed</a:t>
            </a:r>
            <a:r>
              <a:rPr lang="en-US" dirty="0"/>
              <a:t> ex, id </a:t>
            </a:r>
            <a:r>
              <a:rPr lang="en-US" dirty="0" err="1"/>
              <a:t>admodum</a:t>
            </a:r>
            <a:r>
              <a:rPr lang="en-US" dirty="0"/>
              <a:t>.</a:t>
            </a:r>
          </a:p>
          <a:p>
            <a:pPr lvl="0"/>
            <a:endParaRPr lang="en-US" dirty="0"/>
          </a:p>
        </p:txBody>
      </p:sp>
      <p:sp>
        <p:nvSpPr>
          <p:cNvPr id="20" name="Line 10">
            <a:extLst>
              <a:ext uri="{FF2B5EF4-FFF2-40B4-BE49-F238E27FC236}">
                <a16:creationId xmlns:a16="http://schemas.microsoft.com/office/drawing/2014/main" id="{B69EB865-6B86-419B-923C-F7DDC68C9C66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601" y="907750"/>
            <a:ext cx="10974284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 dirty="0">
              <a:solidFill>
                <a:schemeClr val="bg1"/>
              </a:solidFill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A661012-3455-4F88-94AD-14869D2D5405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86AD1DFC-053D-4B86-B715-9C611EC38679}" type="datetime3">
              <a:rPr lang="en-US" smtClean="0"/>
              <a:t>5 August 2022</a:t>
            </a:fld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21FBA45-9D10-4CA1-B5FE-DF08BC4B79DE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IN" dirty="0"/>
              <a:t>Presentation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11C45D8-BA71-4A92-82B2-C059AF6B6702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200776554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2">
            <a:extLst>
              <a:ext uri="{FF2B5EF4-FFF2-40B4-BE49-F238E27FC236}">
                <a16:creationId xmlns:a16="http://schemas.microsoft.com/office/drawing/2014/main" id="{4C1DA39D-5D13-4872-BC0A-CB8AB5BA72E1}"/>
              </a:ext>
            </a:extLst>
          </p:cNvPr>
          <p:cNvSpPr>
            <a:spLocks noGrp="1"/>
          </p:cNvSpPr>
          <p:nvPr>
            <p:ph type="dt" sz="half" idx="19"/>
          </p:nvPr>
        </p:nvSpPr>
        <p:spPr>
          <a:xfrm>
            <a:off x="1428184" y="6471244"/>
            <a:ext cx="1190638" cy="180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6AD1DFC-053D-4B86-B715-9C611EC38679}" type="datetime3">
              <a:rPr lang="en-US" smtClean="0"/>
              <a:pPr/>
              <a:t>5 August 2022</a:t>
            </a:fld>
            <a:endParaRPr lang="en-US" dirty="0"/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C6805F9C-AE33-484C-B4D0-CAEB9CD9CE08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>
          <a:xfrm>
            <a:off x="3237502" y="6471244"/>
            <a:ext cx="3084493" cy="180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IN" dirty="0"/>
              <a:t>Presentation title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12804EB2-F7DB-4D56-A6D4-7706480DB272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>
          <a:xfrm>
            <a:off x="616900" y="6471244"/>
            <a:ext cx="662721" cy="180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652051978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andard slide_no_first_level_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94200"/>
            <a:ext cx="10972800" cy="590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1" y="1137920"/>
            <a:ext cx="8234455" cy="483480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356438">
              <a:defRPr>
                <a:solidFill>
                  <a:schemeClr val="bg1"/>
                </a:solidFill>
              </a:defRPr>
            </a:lvl2pPr>
            <a:lvl3pPr marL="712875">
              <a:defRPr>
                <a:solidFill>
                  <a:schemeClr val="bg1"/>
                </a:solidFill>
              </a:defRPr>
            </a:lvl3pPr>
            <a:lvl4pPr marL="1069313">
              <a:defRPr>
                <a:solidFill>
                  <a:schemeClr val="bg1"/>
                </a:solidFill>
              </a:defRPr>
            </a:lvl4pPr>
            <a:lvl5pPr marL="1425751"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1" name="Line 10">
            <a:extLst>
              <a:ext uri="{FF2B5EF4-FFF2-40B4-BE49-F238E27FC236}">
                <a16:creationId xmlns:a16="http://schemas.microsoft.com/office/drawing/2014/main" id="{8D4CA674-C969-4C5C-9EA4-6D41FE961DE2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601" y="907750"/>
            <a:ext cx="10974284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 dirty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BEFDBB3-7C34-4E5E-AD13-1B49910A265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C4D46D-36B7-425F-AEB7-676F0E436ACC}" type="datetime3">
              <a:rPr lang="en-US" smtClean="0"/>
              <a:t>5 August 2022</a:t>
            </a:fld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AD0F565-A080-4523-A04C-6DEE2789C3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 dirty="0"/>
              <a:t>Presentation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6977AFB-BAAB-4831-9B67-3646A934EC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432661824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, no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94200"/>
            <a:ext cx="10972800" cy="59088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6" name="Line 10">
            <a:extLst>
              <a:ext uri="{FF2B5EF4-FFF2-40B4-BE49-F238E27FC236}">
                <a16:creationId xmlns:a16="http://schemas.microsoft.com/office/drawing/2014/main" id="{97A26880-8DD7-4A78-ADAF-91ED2E744A7C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601" y="907750"/>
            <a:ext cx="10974284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 dirty="0">
              <a:solidFill>
                <a:schemeClr val="bg1"/>
              </a:solidFill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C197511-0A94-4CF5-9020-59041E7FD0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683591-978A-463D-B9B3-9852A288C9B6}" type="datetime3">
              <a:rPr lang="en-US" smtClean="0"/>
              <a:t>5 August 2022</a:t>
            </a:fld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2EEF30F-48C0-4828-BF78-0AF655745C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 dirty="0"/>
              <a:t>Presentation tit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284586F-9A9C-4BEB-AF2F-2F8B1B885C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899732444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lumns, no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94200"/>
            <a:ext cx="10972800" cy="59088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1" y="1137919"/>
            <a:ext cx="5384800" cy="4834800"/>
          </a:xfrm>
        </p:spPr>
        <p:txBody>
          <a:bodyPr/>
          <a:lstStyle>
            <a:lvl1pPr>
              <a:defRPr sz="1999">
                <a:solidFill>
                  <a:schemeClr val="bg1"/>
                </a:solidFill>
              </a:defRPr>
            </a:lvl1pPr>
            <a:lvl2pPr>
              <a:defRPr sz="1799">
                <a:solidFill>
                  <a:schemeClr val="bg1"/>
                </a:solidFill>
              </a:defRPr>
            </a:lvl2pPr>
            <a:lvl3pPr>
              <a:defRPr sz="1599">
                <a:solidFill>
                  <a:schemeClr val="bg1"/>
                </a:solidFill>
              </a:defRPr>
            </a:lvl3pPr>
            <a:lvl4pPr>
              <a:defRPr sz="1399">
                <a:solidFill>
                  <a:schemeClr val="bg1"/>
                </a:solidFill>
              </a:defRPr>
            </a:lvl4pPr>
            <a:lvl5pPr>
              <a:defRPr sz="1199">
                <a:solidFill>
                  <a:schemeClr val="bg1"/>
                </a:solidFill>
              </a:defRPr>
            </a:lvl5pPr>
            <a:lvl6pPr>
              <a:defRPr sz="1799"/>
            </a:lvl6pPr>
            <a:lvl7pPr>
              <a:defRPr sz="1799"/>
            </a:lvl7pPr>
            <a:lvl8pPr>
              <a:defRPr sz="1799"/>
            </a:lvl8pPr>
            <a:lvl9pPr>
              <a:defRPr sz="1799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1" y="1137919"/>
            <a:ext cx="5384800" cy="4834800"/>
          </a:xfrm>
        </p:spPr>
        <p:txBody>
          <a:bodyPr/>
          <a:lstStyle>
            <a:lvl1pPr>
              <a:defRPr sz="1999">
                <a:solidFill>
                  <a:schemeClr val="bg1"/>
                </a:solidFill>
              </a:defRPr>
            </a:lvl1pPr>
            <a:lvl2pPr>
              <a:defRPr sz="1799">
                <a:solidFill>
                  <a:schemeClr val="bg1"/>
                </a:solidFill>
              </a:defRPr>
            </a:lvl2pPr>
            <a:lvl3pPr>
              <a:defRPr sz="1599">
                <a:solidFill>
                  <a:schemeClr val="bg1"/>
                </a:solidFill>
              </a:defRPr>
            </a:lvl3pPr>
            <a:lvl4pPr>
              <a:defRPr sz="1399">
                <a:solidFill>
                  <a:schemeClr val="bg1"/>
                </a:solidFill>
              </a:defRPr>
            </a:lvl4pPr>
            <a:lvl5pPr>
              <a:defRPr sz="1199">
                <a:solidFill>
                  <a:schemeClr val="bg1"/>
                </a:solidFill>
              </a:defRPr>
            </a:lvl5pPr>
            <a:lvl6pPr>
              <a:defRPr sz="1799"/>
            </a:lvl6pPr>
            <a:lvl7pPr>
              <a:defRPr sz="1799"/>
            </a:lvl7pPr>
            <a:lvl8pPr>
              <a:defRPr sz="1799"/>
            </a:lvl8pPr>
            <a:lvl9pPr>
              <a:defRPr sz="1799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0" name="Line 10">
            <a:extLst>
              <a:ext uri="{FF2B5EF4-FFF2-40B4-BE49-F238E27FC236}">
                <a16:creationId xmlns:a16="http://schemas.microsoft.com/office/drawing/2014/main" id="{9B070B28-7AAC-47E5-9EB5-96B8B8B88057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601" y="907750"/>
            <a:ext cx="10974284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 dirty="0">
              <a:solidFill>
                <a:schemeClr val="bg1"/>
              </a:solidFill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64DE21E-2E07-4ED3-B534-8AED469C8F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E6CAE4F-17A3-4837-8418-FB6AD56A8907}" type="datetime3">
              <a:rPr lang="en-US" smtClean="0"/>
              <a:t>5 August 2022</a:t>
            </a:fld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8601461-720E-4840-BF9B-D9C7BF8C9E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 dirty="0"/>
              <a:t>Presentation titl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AACE970-AAFF-42C7-8A32-759BAA7BA4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698570440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with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12329" y="1869441"/>
            <a:ext cx="5390400" cy="4256075"/>
          </a:xfrm>
        </p:spPr>
        <p:txBody>
          <a:bodyPr/>
          <a:lstStyle>
            <a:lvl1pPr>
              <a:defRPr sz="1999">
                <a:solidFill>
                  <a:schemeClr val="bg1"/>
                </a:solidFill>
              </a:defRPr>
            </a:lvl1pPr>
            <a:lvl2pPr>
              <a:defRPr sz="1799">
                <a:solidFill>
                  <a:schemeClr val="bg1"/>
                </a:solidFill>
              </a:defRPr>
            </a:lvl2pPr>
            <a:lvl3pPr>
              <a:defRPr sz="1599">
                <a:solidFill>
                  <a:schemeClr val="bg1"/>
                </a:solidFill>
              </a:defRPr>
            </a:lvl3pPr>
            <a:lvl4pPr>
              <a:defRPr sz="1399">
                <a:solidFill>
                  <a:schemeClr val="bg1"/>
                </a:solidFill>
              </a:defRPr>
            </a:lvl4pPr>
            <a:lvl5pPr>
              <a:defRPr sz="1199">
                <a:solidFill>
                  <a:schemeClr val="bg1"/>
                </a:solidFill>
              </a:defRPr>
            </a:lvl5pPr>
            <a:lvl6pPr>
              <a:defRPr sz="1799"/>
            </a:lvl6pPr>
            <a:lvl7pPr>
              <a:defRPr sz="1799"/>
            </a:lvl7pPr>
            <a:lvl8pPr>
              <a:defRPr sz="1799"/>
            </a:lvl8pPr>
            <a:lvl9pPr>
              <a:defRPr sz="1799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6405" y="1869441"/>
            <a:ext cx="5390400" cy="4256075"/>
          </a:xfrm>
        </p:spPr>
        <p:txBody>
          <a:bodyPr/>
          <a:lstStyle>
            <a:lvl1pPr>
              <a:defRPr sz="1999">
                <a:solidFill>
                  <a:schemeClr val="bg1"/>
                </a:solidFill>
              </a:defRPr>
            </a:lvl1pPr>
            <a:lvl2pPr>
              <a:defRPr sz="1799">
                <a:solidFill>
                  <a:schemeClr val="bg1"/>
                </a:solidFill>
              </a:defRPr>
            </a:lvl2pPr>
            <a:lvl3pPr>
              <a:defRPr sz="1599">
                <a:solidFill>
                  <a:schemeClr val="bg1"/>
                </a:solidFill>
              </a:defRPr>
            </a:lvl3pPr>
            <a:lvl4pPr>
              <a:defRPr sz="1399">
                <a:solidFill>
                  <a:schemeClr val="bg1"/>
                </a:solidFill>
              </a:defRPr>
            </a:lvl4pPr>
            <a:lvl5pPr>
              <a:defRPr sz="1199">
                <a:solidFill>
                  <a:schemeClr val="bg1"/>
                </a:solidFill>
              </a:defRPr>
            </a:lvl5pPr>
            <a:lvl6pPr>
              <a:defRPr sz="1799"/>
            </a:lvl6pPr>
            <a:lvl7pPr>
              <a:defRPr sz="1799"/>
            </a:lvl7pPr>
            <a:lvl8pPr>
              <a:defRPr sz="1799"/>
            </a:lvl8pPr>
            <a:lvl9pPr>
              <a:defRPr sz="1799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609601" y="1137920"/>
            <a:ext cx="5390400" cy="640800"/>
          </a:xfrm>
        </p:spPr>
        <p:txBody>
          <a:bodyPr anchor="t" anchorCtr="0"/>
          <a:lstStyle>
            <a:lvl1pPr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endParaRPr lang="en-GB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196405" y="1137920"/>
            <a:ext cx="5390400" cy="640800"/>
          </a:xfrm>
        </p:spPr>
        <p:txBody>
          <a:bodyPr anchor="t" anchorCtr="0"/>
          <a:lstStyle>
            <a:lvl1pPr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94200"/>
            <a:ext cx="10972800" cy="59088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4" name="Line 10">
            <a:extLst>
              <a:ext uri="{FF2B5EF4-FFF2-40B4-BE49-F238E27FC236}">
                <a16:creationId xmlns:a16="http://schemas.microsoft.com/office/drawing/2014/main" id="{9773E7D9-2434-4381-A00D-27B62C086733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601" y="907750"/>
            <a:ext cx="10974284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 dirty="0">
              <a:solidFill>
                <a:schemeClr val="bg1"/>
              </a:solidFill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A3CD3F7-62DC-4CC4-8F34-C353DB087D7C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029E1942-EB53-47E3-BCA7-F99D05C795EC}" type="datetime3">
              <a:rPr lang="en-US" smtClean="0"/>
              <a:t>5 August 2022</a:t>
            </a:fld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BD2EC01-3D34-4D32-9B76-5269D1AA465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IN" dirty="0"/>
              <a:t>Presentation titl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4BE1C2B-4DA4-468F-9976-85F6CBF826F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4936728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94200"/>
            <a:ext cx="10972800" cy="590400"/>
          </a:xfrm>
        </p:spPr>
        <p:txBody>
          <a:bodyPr/>
          <a:lstStyle>
            <a:lvl1pPr>
              <a:defRPr sz="2399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2" name="Line 10">
            <a:extLst>
              <a:ext uri="{FF2B5EF4-FFF2-40B4-BE49-F238E27FC236}">
                <a16:creationId xmlns:a16="http://schemas.microsoft.com/office/drawing/2014/main" id="{DA9741B6-D337-4A18-8ECB-FB21A6953E44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601" y="907750"/>
            <a:ext cx="10974284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 dirty="0">
              <a:solidFill>
                <a:schemeClr val="bg1"/>
              </a:solidFill>
            </a:endParaRP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90356C28-34FC-48BD-943E-82B485EB0C4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1" y="1137920"/>
            <a:ext cx="10972800" cy="49479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9369FE1-2141-4E78-8B01-84E57EEFE06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D63E5D-D4D4-47A0-B3D2-9C348E301267}" type="datetime3">
              <a:rPr lang="en-US" smtClean="0"/>
              <a:t>5 August 2022</a:t>
            </a:fld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14482B3-B946-42D6-98EA-72EE48EEB8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/>
              <a:t>Presentation title</a:t>
            </a:r>
            <a:endParaRPr lang="en-IN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72DD5AC-66F0-425C-A9DE-0484513193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982253952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37B5C6B-B98B-4A4C-A8A7-B006989B59B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7C88E1-FE33-48AD-9218-9258D62CDCC4}" type="datetime3">
              <a:rPr lang="en-US" smtClean="0"/>
              <a:t>5 August 2022</a:t>
            </a:fld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CEF6675-2050-4038-B9E1-B80DB63D73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 dirty="0"/>
              <a:t>Presentation titl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BA4D6F3-1431-4069-B814-2558466772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64019681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cused da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897186E-D73E-46D0-965A-D83686BA73F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2FE8F4A-3FA1-4A64-AE77-2254BB85F3D2}" type="datetime3">
              <a:rPr lang="en-US" smtClean="0"/>
              <a:t>5 August 2022</a:t>
            </a:fld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DEF40EA-FE63-4D50-8C90-EC25A860C0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 dirty="0"/>
              <a:t>Presentation tit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F37420B-CF82-4784-8E9C-5C496E27C5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035182845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BD5388A-86DF-494E-B137-EE20B7E1CF9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1FBADE3-2F67-4EB8-B1F9-B00F8B809757}" type="datetime3">
              <a:rPr lang="en-US" smtClean="0"/>
              <a:t>5 August 2022</a:t>
            </a:fld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297E548-6FF4-4D89-ADE0-60181F5365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 dirty="0"/>
              <a:t>Presentation tit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10B0A8B-D001-432B-877C-21558412BB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6008649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2D9F631-BCA2-47E9-B382-A1254CE498E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6D9080-1DFC-4303-893C-6B8A3FEC05E8}" type="datetime3">
              <a:rPr lang="en-US" smtClean="0"/>
              <a:t>5 August 2022</a:t>
            </a:fld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C1D1872-1F65-44DE-8D43-3328C27B587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 dirty="0"/>
              <a:t>Presentation tit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06C50CF-7368-4D25-B2B5-360BA59E76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97181442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24964671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edia Placeholder 2">
            <a:extLst>
              <a:ext uri="{FF2B5EF4-FFF2-40B4-BE49-F238E27FC236}">
                <a16:creationId xmlns:a16="http://schemas.microsoft.com/office/drawing/2014/main" id="{0052CFA6-7CF5-41BD-9D94-2D0DAE108428}"/>
              </a:ext>
            </a:extLst>
          </p:cNvPr>
          <p:cNvSpPr>
            <a:spLocks noGrp="1"/>
          </p:cNvSpPr>
          <p:nvPr>
            <p:ph type="media" sz="quarter" idx="10" hasCustomPrompt="1"/>
          </p:nvPr>
        </p:nvSpPr>
        <p:spPr>
          <a:xfrm>
            <a:off x="0" y="0"/>
            <a:ext cx="12192000" cy="6858000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IN" dirty="0"/>
              <a:t>Video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943830C-23AE-48E4-B9DE-E91E6CE0B8B9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A8381BA6-C3FD-495B-9B56-A30783EC7416}" type="datetime3">
              <a:rPr lang="en-US" smtClean="0"/>
              <a:t>5 August 2022</a:t>
            </a:fld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0F742A9-BF69-4BF2-966C-3D76FC687FBA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IN" dirty="0"/>
              <a:t>Presentation tit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B65F912-EBE8-413B-A241-0FB3A540BA82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944576435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nal leg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F4223874-3AD1-4756-B25E-8234DD3717B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74" y="0"/>
            <a:ext cx="12185653" cy="6858000"/>
          </a:xfrm>
          <a:prstGeom prst="rect">
            <a:avLst/>
          </a:prstGeom>
        </p:spPr>
      </p:pic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607483" y="719139"/>
            <a:ext cx="4675200" cy="5210062"/>
          </a:xfrm>
        </p:spPr>
        <p:txBody>
          <a:bodyPr/>
          <a:lstStyle>
            <a:lvl1pPr marL="0" indent="0" algn="l" defTabSz="994865" rtl="0" fontAlgn="base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SzPct val="100000"/>
              <a:buNone/>
              <a:defRPr lang="en-US" sz="1199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1pPr>
            <a:lvl2pPr marL="0" indent="0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900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2pPr>
            <a:lvl3pPr marL="176125" indent="-176125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900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3pPr>
            <a:lvl4pPr marL="0" indent="0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8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4pPr>
            <a:lvl5pPr marL="188819" indent="-188819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800" kern="1200" noProof="0" dirty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90742277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inal leg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Content Placeholder 3">
            <a:extLst>
              <a:ext uri="{FF2B5EF4-FFF2-40B4-BE49-F238E27FC236}">
                <a16:creationId xmlns:a16="http://schemas.microsoft.com/office/drawing/2014/main" id="{C94B4409-2B48-4C2E-B122-78CAC0F697B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0" y="0"/>
            <a:ext cx="12185653" cy="6858000"/>
          </a:xfrm>
          <a:prstGeom prst="rect">
            <a:avLst/>
          </a:prstGeom>
        </p:spPr>
      </p:pic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607483" y="719139"/>
            <a:ext cx="4675200" cy="5210062"/>
          </a:xfrm>
        </p:spPr>
        <p:txBody>
          <a:bodyPr/>
          <a:lstStyle>
            <a:lvl1pPr marL="0" indent="0" algn="l" defTabSz="994865" rtl="0" fontAlgn="base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SzPct val="100000"/>
              <a:buNone/>
              <a:defRPr lang="en-US" sz="1199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1pPr>
            <a:lvl2pPr marL="0" indent="0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900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2pPr>
            <a:lvl3pPr marL="176125" indent="-176125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900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3pPr>
            <a:lvl4pPr marL="0" indent="0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8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4pPr>
            <a:lvl5pPr marL="188819" indent="-188819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800" kern="1200" noProof="0" dirty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85429672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Final leg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Content Placeholder 3">
            <a:extLst>
              <a:ext uri="{FF2B5EF4-FFF2-40B4-BE49-F238E27FC236}">
                <a16:creationId xmlns:a16="http://schemas.microsoft.com/office/drawing/2014/main" id="{512A84B0-F10A-4A02-AD57-E01F7676B6B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49" y="0"/>
            <a:ext cx="12185658" cy="6858000"/>
          </a:xfrm>
          <a:prstGeom prst="rect">
            <a:avLst/>
          </a:prstGeom>
        </p:spPr>
      </p:pic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607483" y="719139"/>
            <a:ext cx="4675200" cy="5210062"/>
          </a:xfrm>
        </p:spPr>
        <p:txBody>
          <a:bodyPr/>
          <a:lstStyle>
            <a:lvl1pPr marL="0" indent="0" algn="l" defTabSz="994865" rtl="0" fontAlgn="base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SzPct val="100000"/>
              <a:buNone/>
              <a:defRPr lang="en-US" sz="1199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1pPr>
            <a:lvl2pPr marL="0" indent="0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900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2pPr>
            <a:lvl3pPr marL="176125" indent="-176125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900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3pPr>
            <a:lvl4pPr marL="0" indent="0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8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4pPr>
            <a:lvl5pPr marL="188819" indent="-188819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800" kern="1200" noProof="0" dirty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772048963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4733416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601" y="294200"/>
            <a:ext cx="10972800" cy="590400"/>
          </a:xfrm>
        </p:spPr>
        <p:txBody>
          <a:bodyPr/>
          <a:lstStyle>
            <a:lvl1pPr>
              <a:defRPr sz="2399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tandard slide</a:t>
            </a:r>
            <a:endParaRPr lang="en-GB" dirty="0"/>
          </a:p>
        </p:txBody>
      </p:sp>
      <p:sp>
        <p:nvSpPr>
          <p:cNvPr id="80" name="Line 10">
            <a:extLst>
              <a:ext uri="{FF2B5EF4-FFF2-40B4-BE49-F238E27FC236}">
                <a16:creationId xmlns:a16="http://schemas.microsoft.com/office/drawing/2014/main" id="{EF8E9275-C0E0-4ABA-8699-73E5E292EC85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601" y="907750"/>
            <a:ext cx="10974284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 dirty="0">
              <a:solidFill>
                <a:schemeClr val="bg1"/>
              </a:solidFill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BD5E823-546D-4100-9D33-42F450A382E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A9E02A-78D6-48B7-A389-464ED573BA5D}" type="datetime3">
              <a:rPr lang="en-US" smtClean="0"/>
              <a:t>5 August 2022</a:t>
            </a:fld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4EEA008-3E80-49A8-A128-C1EEB8A02F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/>
              <a:t>Presentation title</a:t>
            </a:r>
            <a:endParaRPr lang="en-IN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A192330-2E70-49F4-A5DA-F82320E708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562288461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Cover altern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56">
            <a:extLst>
              <a:ext uri="{FF2B5EF4-FFF2-40B4-BE49-F238E27FC236}">
                <a16:creationId xmlns:a16="http://schemas.microsoft.com/office/drawing/2014/main" id="{13A7AC18-CF42-4EC5-8D40-441EAE30A06C}"/>
              </a:ext>
            </a:extLst>
          </p:cNvPr>
          <p:cNvSpPr/>
          <p:nvPr userDrawn="1"/>
        </p:nvSpPr>
        <p:spPr>
          <a:xfrm>
            <a:off x="497856" y="795662"/>
            <a:ext cx="4927845" cy="3581484"/>
          </a:xfrm>
          <a:custGeom>
            <a:avLst/>
            <a:gdLst>
              <a:gd name="connsiteX0" fmla="*/ 4238387 w 4257675"/>
              <a:gd name="connsiteY0" fmla="*/ 0 h 3092804"/>
              <a:gd name="connsiteX1" fmla="*/ 4257675 w 4257675"/>
              <a:gd name="connsiteY1" fmla="*/ 0 h 3092804"/>
              <a:gd name="connsiteX2" fmla="*/ 4257675 w 4257675"/>
              <a:gd name="connsiteY2" fmla="*/ 3092804 h 3092804"/>
              <a:gd name="connsiteX3" fmla="*/ 0 w 4257675"/>
              <a:gd name="connsiteY3" fmla="*/ 3092804 h 3092804"/>
              <a:gd name="connsiteX4" fmla="*/ 0 w 4257675"/>
              <a:gd name="connsiteY4" fmla="*/ 747342 h 30928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7675" h="3092804">
                <a:moveTo>
                  <a:pt x="4238387" y="0"/>
                </a:moveTo>
                <a:lnTo>
                  <a:pt x="4257675" y="0"/>
                </a:lnTo>
                <a:lnTo>
                  <a:pt x="4257675" y="3092804"/>
                </a:lnTo>
                <a:lnTo>
                  <a:pt x="0" y="3092804"/>
                </a:lnTo>
                <a:lnTo>
                  <a:pt x="0" y="747342"/>
                </a:lnTo>
                <a:close/>
              </a:path>
            </a:pathLst>
          </a:custGeom>
          <a:solidFill>
            <a:srgbClr val="FFE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 dirty="0"/>
          </a:p>
        </p:txBody>
      </p:sp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775100" y="1954221"/>
            <a:ext cx="4326679" cy="979702"/>
          </a:xfrm>
        </p:spPr>
        <p:txBody>
          <a:bodyPr/>
          <a:lstStyle>
            <a:lvl1pPr>
              <a:defRPr sz="2999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2" name="Subtitle 2"/>
          <p:cNvSpPr>
            <a:spLocks noGrp="1"/>
          </p:cNvSpPr>
          <p:nvPr>
            <p:ph type="subTitle" idx="1"/>
          </p:nvPr>
        </p:nvSpPr>
        <p:spPr>
          <a:xfrm>
            <a:off x="775100" y="3046159"/>
            <a:ext cx="4326679" cy="1046323"/>
          </a:xfrm>
        </p:spPr>
        <p:txBody>
          <a:bodyPr/>
          <a:lstStyle>
            <a:lvl1pPr marL="0" indent="0" algn="l">
              <a:spcAft>
                <a:spcPts val="1199"/>
              </a:spcAft>
              <a:buNone/>
              <a:defRPr sz="1999">
                <a:solidFill>
                  <a:schemeClr val="bg1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599" b="1">
                <a:solidFill>
                  <a:srgbClr val="404040"/>
                </a:solidFill>
              </a:defRPr>
            </a:lvl2pPr>
            <a:lvl3pPr marL="913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9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8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8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7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subtitle style</a:t>
            </a:r>
            <a:endParaRPr lang="en-GB" dirty="0"/>
          </a:p>
        </p:txBody>
      </p:sp>
      <p:grpSp>
        <p:nvGrpSpPr>
          <p:cNvPr id="14" name="Group 4">
            <a:extLst>
              <a:ext uri="{FF2B5EF4-FFF2-40B4-BE49-F238E27FC236}">
                <a16:creationId xmlns:a16="http://schemas.microsoft.com/office/drawing/2014/main" id="{C8422AE9-8257-41A9-AB41-1F10585C886F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59392" y="4960938"/>
            <a:ext cx="1224912" cy="1435100"/>
            <a:chOff x="6529" y="3125"/>
            <a:chExt cx="772" cy="904"/>
          </a:xfrm>
        </p:grpSpPr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D19659BD-653C-4300-9060-420AFAE3958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/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A4669336-72A1-4233-827A-C41AB4C1CC0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/>
            </a:p>
          </p:txBody>
        </p:sp>
      </p:grpSp>
    </p:spTree>
    <p:extLst>
      <p:ext uri="{BB962C8B-B14F-4D97-AF65-F5344CB8AC3E}">
        <p14:creationId xmlns:p14="http://schemas.microsoft.com/office/powerpoint/2010/main" val="1366728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2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Approved question tall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9F0DE042-7748-4A4D-98C5-C92ADB5B92A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1"/>
            <a:ext cx="12192000" cy="6858001"/>
          </a:xfrm>
          <a:prstGeom prst="rect">
            <a:avLst/>
          </a:prstGeom>
        </p:spPr>
      </p:pic>
      <p:pic>
        <p:nvPicPr>
          <p:cNvPr id="85" name="Graphic 84">
            <a:extLst>
              <a:ext uri="{FF2B5EF4-FFF2-40B4-BE49-F238E27FC236}">
                <a16:creationId xmlns:a16="http://schemas.microsoft.com/office/drawing/2014/main" id="{819BCB30-E1AA-4383-BEF0-0BE30C6425D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89111" y="869579"/>
            <a:ext cx="4845500" cy="3933825"/>
          </a:xfrm>
          <a:prstGeom prst="rect">
            <a:avLst/>
          </a:prstGeom>
        </p:spPr>
      </p:pic>
      <p:grpSp>
        <p:nvGrpSpPr>
          <p:cNvPr id="186" name="Group 185">
            <a:extLst>
              <a:ext uri="{FF2B5EF4-FFF2-40B4-BE49-F238E27FC236}">
                <a16:creationId xmlns:a16="http://schemas.microsoft.com/office/drawing/2014/main" id="{9CDE954B-B280-441B-9B2D-3DC58AAE3926}"/>
              </a:ext>
            </a:extLst>
          </p:cNvPr>
          <p:cNvGrpSpPr/>
          <p:nvPr userDrawn="1"/>
        </p:nvGrpSpPr>
        <p:grpSpPr>
          <a:xfrm>
            <a:off x="497856" y="5826615"/>
            <a:ext cx="3876004" cy="570195"/>
            <a:chOff x="498115" y="5951018"/>
            <a:chExt cx="3878023" cy="570195"/>
          </a:xfrm>
        </p:grpSpPr>
        <p:sp>
          <p:nvSpPr>
            <p:cNvPr id="187" name="Rectangle 186">
              <a:extLst>
                <a:ext uri="{FF2B5EF4-FFF2-40B4-BE49-F238E27FC236}">
                  <a16:creationId xmlns:a16="http://schemas.microsoft.com/office/drawing/2014/main" id="{93D8FAC8-9530-49D4-8284-D35D1B1509D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98115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/>
            </a:p>
          </p:txBody>
        </p:sp>
        <p:sp>
          <p:nvSpPr>
            <p:cNvPr id="188" name="Rectangle 6">
              <a:extLst>
                <a:ext uri="{FF2B5EF4-FFF2-40B4-BE49-F238E27FC236}">
                  <a16:creationId xmlns:a16="http://schemas.microsoft.com/office/drawing/2014/main" id="{FD924F44-93C1-4254-B594-53DB14FD995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9341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/>
            </a:p>
          </p:txBody>
        </p:sp>
        <p:sp>
          <p:nvSpPr>
            <p:cNvPr id="189" name="Rectangle 7">
              <a:extLst>
                <a:ext uri="{FF2B5EF4-FFF2-40B4-BE49-F238E27FC236}">
                  <a16:creationId xmlns:a16="http://schemas.microsoft.com/office/drawing/2014/main" id="{2A2DA425-7935-45A1-B63F-2D14CF8D5F9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9045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/>
            </a:p>
          </p:txBody>
        </p:sp>
        <p:sp>
          <p:nvSpPr>
            <p:cNvPr id="190" name="Freeform 8">
              <a:extLst>
                <a:ext uri="{FF2B5EF4-FFF2-40B4-BE49-F238E27FC236}">
                  <a16:creationId xmlns:a16="http://schemas.microsoft.com/office/drawing/2014/main" id="{91EFF75E-13E7-4E35-B108-D9FD5E9C802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181188"/>
              <a:ext cx="94161" cy="130778"/>
            </a:xfrm>
            <a:custGeom>
              <a:avLst/>
              <a:gdLst>
                <a:gd name="T0" fmla="*/ 32 w 54"/>
                <a:gd name="T1" fmla="*/ 11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1 h 75"/>
                <a:gd name="T8" fmla="*/ 0 w 54"/>
                <a:gd name="T9" fmla="*/ 11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1 h 75"/>
                <a:gd name="T16" fmla="*/ 32 w 54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1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1"/>
                  </a:lnTo>
                  <a:lnTo>
                    <a:pt x="32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191" name="Freeform 9">
              <a:extLst>
                <a:ext uri="{FF2B5EF4-FFF2-40B4-BE49-F238E27FC236}">
                  <a16:creationId xmlns:a16="http://schemas.microsoft.com/office/drawing/2014/main" id="{4411951F-E009-4FE7-B2EC-47771CA8E17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174213"/>
              <a:ext cx="78468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192" name="Freeform 10">
              <a:extLst>
                <a:ext uri="{FF2B5EF4-FFF2-40B4-BE49-F238E27FC236}">
                  <a16:creationId xmlns:a16="http://schemas.microsoft.com/office/drawing/2014/main" id="{B28EE49C-5F5A-49C6-AEB8-6D12DDF344E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193" name="Freeform 11">
              <a:extLst>
                <a:ext uri="{FF2B5EF4-FFF2-40B4-BE49-F238E27FC236}">
                  <a16:creationId xmlns:a16="http://schemas.microsoft.com/office/drawing/2014/main" id="{6E2B7D76-D660-491F-8B04-169C6F138B0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174213"/>
              <a:ext cx="83698" cy="139497"/>
            </a:xfrm>
            <a:custGeom>
              <a:avLst/>
              <a:gdLst>
                <a:gd name="T0" fmla="*/ 33 w 33"/>
                <a:gd name="T1" fmla="*/ 35 h 55"/>
                <a:gd name="T2" fmla="*/ 31 w 33"/>
                <a:gd name="T3" fmla="*/ 44 h 55"/>
                <a:gd name="T4" fmla="*/ 28 w 33"/>
                <a:gd name="T5" fmla="*/ 50 h 55"/>
                <a:gd name="T6" fmla="*/ 23 w 33"/>
                <a:gd name="T7" fmla="*/ 53 h 55"/>
                <a:gd name="T8" fmla="*/ 17 w 33"/>
                <a:gd name="T9" fmla="*/ 55 h 55"/>
                <a:gd name="T10" fmla="*/ 12 w 33"/>
                <a:gd name="T11" fmla="*/ 53 h 55"/>
                <a:gd name="T12" fmla="*/ 8 w 33"/>
                <a:gd name="T13" fmla="*/ 50 h 55"/>
                <a:gd name="T14" fmla="*/ 8 w 33"/>
                <a:gd name="T15" fmla="*/ 54 h 55"/>
                <a:gd name="T16" fmla="*/ 0 w 33"/>
                <a:gd name="T17" fmla="*/ 54 h 55"/>
                <a:gd name="T18" fmla="*/ 0 w 33"/>
                <a:gd name="T19" fmla="*/ 4 h 55"/>
                <a:gd name="T20" fmla="*/ 8 w 33"/>
                <a:gd name="T21" fmla="*/ 0 h 55"/>
                <a:gd name="T22" fmla="*/ 8 w 33"/>
                <a:gd name="T23" fmla="*/ 19 h 55"/>
                <a:gd name="T24" fmla="*/ 10 w 33"/>
                <a:gd name="T25" fmla="*/ 17 h 55"/>
                <a:gd name="T26" fmla="*/ 12 w 33"/>
                <a:gd name="T27" fmla="*/ 16 h 55"/>
                <a:gd name="T28" fmla="*/ 14 w 33"/>
                <a:gd name="T29" fmla="*/ 15 h 55"/>
                <a:gd name="T30" fmla="*/ 18 w 33"/>
                <a:gd name="T31" fmla="*/ 15 h 55"/>
                <a:gd name="T32" fmla="*/ 24 w 33"/>
                <a:gd name="T33" fmla="*/ 16 h 55"/>
                <a:gd name="T34" fmla="*/ 28 w 33"/>
                <a:gd name="T35" fmla="*/ 19 h 55"/>
                <a:gd name="T36" fmla="*/ 31 w 33"/>
                <a:gd name="T37" fmla="*/ 26 h 55"/>
                <a:gd name="T38" fmla="*/ 33 w 33"/>
                <a:gd name="T39" fmla="*/ 35 h 55"/>
                <a:gd name="T40" fmla="*/ 25 w 33"/>
                <a:gd name="T41" fmla="*/ 35 h 55"/>
                <a:gd name="T42" fmla="*/ 23 w 33"/>
                <a:gd name="T43" fmla="*/ 25 h 55"/>
                <a:gd name="T44" fmla="*/ 16 w 33"/>
                <a:gd name="T45" fmla="*/ 22 h 55"/>
                <a:gd name="T46" fmla="*/ 14 w 33"/>
                <a:gd name="T47" fmla="*/ 22 h 55"/>
                <a:gd name="T48" fmla="*/ 11 w 33"/>
                <a:gd name="T49" fmla="*/ 23 h 55"/>
                <a:gd name="T50" fmla="*/ 9 w 33"/>
                <a:gd name="T51" fmla="*/ 25 h 55"/>
                <a:gd name="T52" fmla="*/ 8 w 33"/>
                <a:gd name="T53" fmla="*/ 26 h 55"/>
                <a:gd name="T54" fmla="*/ 8 w 33"/>
                <a:gd name="T55" fmla="*/ 43 h 55"/>
                <a:gd name="T56" fmla="*/ 9 w 33"/>
                <a:gd name="T57" fmla="*/ 44 h 55"/>
                <a:gd name="T58" fmla="*/ 11 w 33"/>
                <a:gd name="T59" fmla="*/ 46 h 55"/>
                <a:gd name="T60" fmla="*/ 14 w 33"/>
                <a:gd name="T61" fmla="*/ 47 h 55"/>
                <a:gd name="T62" fmla="*/ 17 w 33"/>
                <a:gd name="T63" fmla="*/ 48 h 55"/>
                <a:gd name="T64" fmla="*/ 23 w 33"/>
                <a:gd name="T65" fmla="*/ 45 h 55"/>
                <a:gd name="T66" fmla="*/ 25 w 33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5">
                  <a:moveTo>
                    <a:pt x="33" y="35"/>
                  </a:moveTo>
                  <a:cubicBezTo>
                    <a:pt x="33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7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6" y="55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8"/>
                    <a:pt x="10" y="17"/>
                  </a:cubicBezTo>
                  <a:cubicBezTo>
                    <a:pt x="11" y="17"/>
                    <a:pt x="11" y="16"/>
                    <a:pt x="12" y="16"/>
                  </a:cubicBezTo>
                  <a:cubicBezTo>
                    <a:pt x="13" y="16"/>
                    <a:pt x="13" y="15"/>
                    <a:pt x="14" y="15"/>
                  </a:cubicBezTo>
                  <a:cubicBezTo>
                    <a:pt x="15" y="15"/>
                    <a:pt x="16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30" y="21"/>
                    <a:pt x="31" y="23"/>
                    <a:pt x="31" y="26"/>
                  </a:cubicBezTo>
                  <a:cubicBezTo>
                    <a:pt x="32" y="28"/>
                    <a:pt x="33" y="32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5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1" y="23"/>
                    <a:pt x="10" y="24"/>
                    <a:pt x="9" y="25"/>
                  </a:cubicBezTo>
                  <a:cubicBezTo>
                    <a:pt x="9" y="25"/>
                    <a:pt x="8" y="26"/>
                    <a:pt x="8" y="26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8" y="43"/>
                    <a:pt x="9" y="44"/>
                    <a:pt x="9" y="44"/>
                  </a:cubicBezTo>
                  <a:cubicBezTo>
                    <a:pt x="10" y="45"/>
                    <a:pt x="11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6" y="48"/>
                    <a:pt x="17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194" name="Freeform 12">
              <a:extLst>
                <a:ext uri="{FF2B5EF4-FFF2-40B4-BE49-F238E27FC236}">
                  <a16:creationId xmlns:a16="http://schemas.microsoft.com/office/drawing/2014/main" id="{41BE51DE-402B-48B5-99C8-D8BB9A32DF3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195" name="Freeform 13">
              <a:extLst>
                <a:ext uri="{FF2B5EF4-FFF2-40B4-BE49-F238E27FC236}">
                  <a16:creationId xmlns:a16="http://schemas.microsoft.com/office/drawing/2014/main" id="{8D5E878B-8859-44FA-A69D-DCE630AAB0D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1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2" y="54"/>
                    <a:pt x="11" y="54"/>
                  </a:cubicBezTo>
                  <a:cubicBezTo>
                    <a:pt x="10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2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196" name="Freeform 14">
              <a:extLst>
                <a:ext uri="{FF2B5EF4-FFF2-40B4-BE49-F238E27FC236}">
                  <a16:creationId xmlns:a16="http://schemas.microsoft.com/office/drawing/2014/main" id="{08D55808-ECDC-4E9B-84ED-7301E9E716C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197" name="Freeform 15">
              <a:extLst>
                <a:ext uri="{FF2B5EF4-FFF2-40B4-BE49-F238E27FC236}">
                  <a16:creationId xmlns:a16="http://schemas.microsoft.com/office/drawing/2014/main" id="{3436B310-313E-4A53-A70D-CA0D0D97FE7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0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2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0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3" y="31"/>
                    <a:pt x="24" y="30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0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7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198" name="Freeform 16">
              <a:extLst>
                <a:ext uri="{FF2B5EF4-FFF2-40B4-BE49-F238E27FC236}">
                  <a16:creationId xmlns:a16="http://schemas.microsoft.com/office/drawing/2014/main" id="{F3CE55A9-AE55-4169-A58D-8171D9916EC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212575"/>
              <a:ext cx="55799" cy="99391"/>
            </a:xfrm>
            <a:custGeom>
              <a:avLst/>
              <a:gdLst>
                <a:gd name="T0" fmla="*/ 20 w 22"/>
                <a:gd name="T1" fmla="*/ 8 h 39"/>
                <a:gd name="T2" fmla="*/ 18 w 22"/>
                <a:gd name="T3" fmla="*/ 7 h 39"/>
                <a:gd name="T4" fmla="*/ 15 w 22"/>
                <a:gd name="T5" fmla="*/ 7 h 39"/>
                <a:gd name="T6" fmla="*/ 9 w 22"/>
                <a:gd name="T7" fmla="*/ 9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0 h 39"/>
                <a:gd name="T16" fmla="*/ 7 w 22"/>
                <a:gd name="T17" fmla="*/ 0 h 39"/>
                <a:gd name="T18" fmla="*/ 7 w 22"/>
                <a:gd name="T19" fmla="*/ 4 h 39"/>
                <a:gd name="T20" fmla="*/ 9 w 22"/>
                <a:gd name="T21" fmla="*/ 2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0 h 39"/>
                <a:gd name="T30" fmla="*/ 22 w 22"/>
                <a:gd name="T31" fmla="*/ 1 h 39"/>
                <a:gd name="T32" fmla="*/ 20 w 22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2" y="7"/>
                    <a:pt x="10" y="8"/>
                    <a:pt x="9" y="9"/>
                  </a:cubicBezTo>
                  <a:cubicBezTo>
                    <a:pt x="8" y="11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9" y="2"/>
                    <a:pt x="10" y="1"/>
                    <a:pt x="11" y="1"/>
                  </a:cubicBezTo>
                  <a:cubicBezTo>
                    <a:pt x="11" y="0"/>
                    <a:pt x="12" y="0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0"/>
                  </a:cubicBezTo>
                  <a:cubicBezTo>
                    <a:pt x="21" y="0"/>
                    <a:pt x="22" y="1"/>
                    <a:pt x="22" y="1"/>
                  </a:cubicBezTo>
                  <a:lnTo>
                    <a:pt x="20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199" name="Freeform 17">
              <a:extLst>
                <a:ext uri="{FF2B5EF4-FFF2-40B4-BE49-F238E27FC236}">
                  <a16:creationId xmlns:a16="http://schemas.microsoft.com/office/drawing/2014/main" id="{FA01BC48-4605-46FC-A7AC-192C7DBCA0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00" name="Freeform 18">
              <a:extLst>
                <a:ext uri="{FF2B5EF4-FFF2-40B4-BE49-F238E27FC236}">
                  <a16:creationId xmlns:a16="http://schemas.microsoft.com/office/drawing/2014/main" id="{870190F3-472B-4296-B88D-D6904B9F30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2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8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9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01" name="Freeform 19">
              <a:extLst>
                <a:ext uri="{FF2B5EF4-FFF2-40B4-BE49-F238E27FC236}">
                  <a16:creationId xmlns:a16="http://schemas.microsoft.com/office/drawing/2014/main" id="{6CEA0F2B-4AAB-4A16-B7F1-CFCB0C0DCEE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02" name="Freeform 20">
              <a:extLst>
                <a:ext uri="{FF2B5EF4-FFF2-40B4-BE49-F238E27FC236}">
                  <a16:creationId xmlns:a16="http://schemas.microsoft.com/office/drawing/2014/main" id="{CD64F657-7EE7-4AF2-ADE4-160C87E64D6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30922" y="6212575"/>
              <a:ext cx="80211" cy="134265"/>
            </a:xfrm>
            <a:custGeom>
              <a:avLst/>
              <a:gdLst>
                <a:gd name="T0" fmla="*/ 25 w 32"/>
                <a:gd name="T1" fmla="*/ 53 h 53"/>
                <a:gd name="T2" fmla="*/ 25 w 32"/>
                <a:gd name="T3" fmla="*/ 35 h 53"/>
                <a:gd name="T4" fmla="*/ 20 w 32"/>
                <a:gd name="T5" fmla="*/ 38 h 53"/>
                <a:gd name="T6" fmla="*/ 15 w 32"/>
                <a:gd name="T7" fmla="*/ 40 h 53"/>
                <a:gd name="T8" fmla="*/ 9 w 32"/>
                <a:gd name="T9" fmla="*/ 38 h 53"/>
                <a:gd name="T10" fmla="*/ 4 w 32"/>
                <a:gd name="T11" fmla="*/ 35 h 53"/>
                <a:gd name="T12" fmla="*/ 1 w 32"/>
                <a:gd name="T13" fmla="*/ 28 h 53"/>
                <a:gd name="T14" fmla="*/ 0 w 32"/>
                <a:gd name="T15" fmla="*/ 19 h 53"/>
                <a:gd name="T16" fmla="*/ 1 w 32"/>
                <a:gd name="T17" fmla="*/ 10 h 53"/>
                <a:gd name="T18" fmla="*/ 4 w 32"/>
                <a:gd name="T19" fmla="*/ 4 h 53"/>
                <a:gd name="T20" fmla="*/ 9 w 32"/>
                <a:gd name="T21" fmla="*/ 1 h 53"/>
                <a:gd name="T22" fmla="*/ 15 w 32"/>
                <a:gd name="T23" fmla="*/ 0 h 53"/>
                <a:gd name="T24" fmla="*/ 18 w 32"/>
                <a:gd name="T25" fmla="*/ 0 h 53"/>
                <a:gd name="T26" fmla="*/ 20 w 32"/>
                <a:gd name="T27" fmla="*/ 1 h 53"/>
                <a:gd name="T28" fmla="*/ 23 w 32"/>
                <a:gd name="T29" fmla="*/ 2 h 53"/>
                <a:gd name="T30" fmla="*/ 25 w 32"/>
                <a:gd name="T31" fmla="*/ 4 h 53"/>
                <a:gd name="T32" fmla="*/ 25 w 32"/>
                <a:gd name="T33" fmla="*/ 0 h 53"/>
                <a:gd name="T34" fmla="*/ 32 w 32"/>
                <a:gd name="T35" fmla="*/ 0 h 53"/>
                <a:gd name="T36" fmla="*/ 32 w 32"/>
                <a:gd name="T37" fmla="*/ 49 h 53"/>
                <a:gd name="T38" fmla="*/ 25 w 32"/>
                <a:gd name="T39" fmla="*/ 53 h 53"/>
                <a:gd name="T40" fmla="*/ 25 w 32"/>
                <a:gd name="T41" fmla="*/ 12 h 53"/>
                <a:gd name="T42" fmla="*/ 23 w 32"/>
                <a:gd name="T43" fmla="*/ 10 h 53"/>
                <a:gd name="T44" fmla="*/ 21 w 32"/>
                <a:gd name="T45" fmla="*/ 8 h 53"/>
                <a:gd name="T46" fmla="*/ 18 w 32"/>
                <a:gd name="T47" fmla="*/ 7 h 53"/>
                <a:gd name="T48" fmla="*/ 16 w 32"/>
                <a:gd name="T49" fmla="*/ 7 h 53"/>
                <a:gd name="T50" fmla="*/ 9 w 32"/>
                <a:gd name="T51" fmla="*/ 10 h 53"/>
                <a:gd name="T52" fmla="*/ 7 w 32"/>
                <a:gd name="T53" fmla="*/ 19 h 53"/>
                <a:gd name="T54" fmla="*/ 10 w 32"/>
                <a:gd name="T55" fmla="*/ 29 h 53"/>
                <a:gd name="T56" fmla="*/ 16 w 32"/>
                <a:gd name="T57" fmla="*/ 33 h 53"/>
                <a:gd name="T58" fmla="*/ 21 w 32"/>
                <a:gd name="T59" fmla="*/ 31 h 53"/>
                <a:gd name="T60" fmla="*/ 25 w 32"/>
                <a:gd name="T61" fmla="*/ 28 h 53"/>
                <a:gd name="T62" fmla="*/ 25 w 32"/>
                <a:gd name="T63" fmla="*/ 1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2" h="53">
                  <a:moveTo>
                    <a:pt x="25" y="53"/>
                  </a:moveTo>
                  <a:cubicBezTo>
                    <a:pt x="25" y="35"/>
                    <a:pt x="25" y="35"/>
                    <a:pt x="25" y="35"/>
                  </a:cubicBezTo>
                  <a:cubicBezTo>
                    <a:pt x="23" y="36"/>
                    <a:pt x="22" y="37"/>
                    <a:pt x="20" y="38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3" y="40"/>
                    <a:pt x="11" y="39"/>
                    <a:pt x="9" y="38"/>
                  </a:cubicBezTo>
                  <a:cubicBezTo>
                    <a:pt x="7" y="38"/>
                    <a:pt x="5" y="36"/>
                    <a:pt x="4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0" y="26"/>
                    <a:pt x="0" y="23"/>
                    <a:pt x="0" y="19"/>
                  </a:cubicBezTo>
                  <a:cubicBezTo>
                    <a:pt x="0" y="16"/>
                    <a:pt x="0" y="13"/>
                    <a:pt x="1" y="10"/>
                  </a:cubicBezTo>
                  <a:cubicBezTo>
                    <a:pt x="2" y="8"/>
                    <a:pt x="3" y="6"/>
                    <a:pt x="4" y="4"/>
                  </a:cubicBezTo>
                  <a:cubicBezTo>
                    <a:pt x="6" y="3"/>
                    <a:pt x="7" y="2"/>
                    <a:pt x="9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6" y="0"/>
                    <a:pt x="17" y="0"/>
                    <a:pt x="18" y="0"/>
                  </a:cubicBezTo>
                  <a:cubicBezTo>
                    <a:pt x="19" y="0"/>
                    <a:pt x="20" y="0"/>
                    <a:pt x="20" y="1"/>
                  </a:cubicBezTo>
                  <a:cubicBezTo>
                    <a:pt x="21" y="1"/>
                    <a:pt x="22" y="2"/>
                    <a:pt x="23" y="2"/>
                  </a:cubicBezTo>
                  <a:cubicBezTo>
                    <a:pt x="23" y="3"/>
                    <a:pt x="24" y="3"/>
                    <a:pt x="25" y="4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49"/>
                    <a:pt x="32" y="49"/>
                    <a:pt x="32" y="49"/>
                  </a:cubicBezTo>
                  <a:lnTo>
                    <a:pt x="25" y="53"/>
                  </a:lnTo>
                  <a:close/>
                  <a:moveTo>
                    <a:pt x="25" y="12"/>
                  </a:moveTo>
                  <a:cubicBezTo>
                    <a:pt x="24" y="11"/>
                    <a:pt x="24" y="10"/>
                    <a:pt x="23" y="10"/>
                  </a:cubicBezTo>
                  <a:cubicBezTo>
                    <a:pt x="23" y="9"/>
                    <a:pt x="22" y="9"/>
                    <a:pt x="21" y="8"/>
                  </a:cubicBezTo>
                  <a:cubicBezTo>
                    <a:pt x="20" y="8"/>
                    <a:pt x="19" y="7"/>
                    <a:pt x="18" y="7"/>
                  </a:cubicBezTo>
                  <a:cubicBezTo>
                    <a:pt x="18" y="7"/>
                    <a:pt x="17" y="7"/>
                    <a:pt x="16" y="7"/>
                  </a:cubicBezTo>
                  <a:cubicBezTo>
                    <a:pt x="13" y="7"/>
                    <a:pt x="11" y="8"/>
                    <a:pt x="9" y="10"/>
                  </a:cubicBezTo>
                  <a:cubicBezTo>
                    <a:pt x="8" y="12"/>
                    <a:pt x="7" y="15"/>
                    <a:pt x="7" y="19"/>
                  </a:cubicBezTo>
                  <a:cubicBezTo>
                    <a:pt x="7" y="23"/>
                    <a:pt x="8" y="27"/>
                    <a:pt x="10" y="29"/>
                  </a:cubicBezTo>
                  <a:cubicBezTo>
                    <a:pt x="11" y="31"/>
                    <a:pt x="13" y="33"/>
                    <a:pt x="16" y="33"/>
                  </a:cubicBezTo>
                  <a:cubicBezTo>
                    <a:pt x="18" y="33"/>
                    <a:pt x="19" y="32"/>
                    <a:pt x="21" y="31"/>
                  </a:cubicBezTo>
                  <a:cubicBezTo>
                    <a:pt x="22" y="30"/>
                    <a:pt x="24" y="29"/>
                    <a:pt x="25" y="28"/>
                  </a:cubicBezTo>
                  <a:lnTo>
                    <a:pt x="25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03" name="Freeform 21">
              <a:extLst>
                <a:ext uri="{FF2B5EF4-FFF2-40B4-BE49-F238E27FC236}">
                  <a16:creationId xmlns:a16="http://schemas.microsoft.com/office/drawing/2014/main" id="{FA80A690-9084-4519-8D88-A01963C0236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35545" y="6212575"/>
              <a:ext cx="78468" cy="101135"/>
            </a:xfrm>
            <a:custGeom>
              <a:avLst/>
              <a:gdLst>
                <a:gd name="T0" fmla="*/ 24 w 31"/>
                <a:gd name="T1" fmla="*/ 39 h 40"/>
                <a:gd name="T2" fmla="*/ 24 w 31"/>
                <a:gd name="T3" fmla="*/ 35 h 40"/>
                <a:gd name="T4" fmla="*/ 20 w 31"/>
                <a:gd name="T5" fmla="*/ 38 h 40"/>
                <a:gd name="T6" fmla="*/ 14 w 31"/>
                <a:gd name="T7" fmla="*/ 40 h 40"/>
                <a:gd name="T8" fmla="*/ 4 w 31"/>
                <a:gd name="T9" fmla="*/ 35 h 40"/>
                <a:gd name="T10" fmla="*/ 0 w 31"/>
                <a:gd name="T11" fmla="*/ 22 h 40"/>
                <a:gd name="T12" fmla="*/ 0 w 31"/>
                <a:gd name="T13" fmla="*/ 0 h 40"/>
                <a:gd name="T14" fmla="*/ 8 w 31"/>
                <a:gd name="T15" fmla="*/ 0 h 40"/>
                <a:gd name="T16" fmla="*/ 8 w 31"/>
                <a:gd name="T17" fmla="*/ 22 h 40"/>
                <a:gd name="T18" fmla="*/ 10 w 31"/>
                <a:gd name="T19" fmla="*/ 30 h 40"/>
                <a:gd name="T20" fmla="*/ 16 w 31"/>
                <a:gd name="T21" fmla="*/ 33 h 40"/>
                <a:gd name="T22" fmla="*/ 22 w 31"/>
                <a:gd name="T23" fmla="*/ 30 h 40"/>
                <a:gd name="T24" fmla="*/ 24 w 31"/>
                <a:gd name="T25" fmla="*/ 23 h 40"/>
                <a:gd name="T26" fmla="*/ 24 w 31"/>
                <a:gd name="T27" fmla="*/ 0 h 40"/>
                <a:gd name="T28" fmla="*/ 31 w 31"/>
                <a:gd name="T29" fmla="*/ 0 h 40"/>
                <a:gd name="T30" fmla="*/ 31 w 31"/>
                <a:gd name="T31" fmla="*/ 39 h 40"/>
                <a:gd name="T32" fmla="*/ 24 w 31"/>
                <a:gd name="T33" fmla="*/ 39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1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2" y="38"/>
                    <a:pt x="20" y="38"/>
                  </a:cubicBezTo>
                  <a:cubicBezTo>
                    <a:pt x="18" y="39"/>
                    <a:pt x="16" y="40"/>
                    <a:pt x="14" y="40"/>
                  </a:cubicBezTo>
                  <a:cubicBezTo>
                    <a:pt x="10" y="40"/>
                    <a:pt x="6" y="38"/>
                    <a:pt x="4" y="35"/>
                  </a:cubicBezTo>
                  <a:cubicBezTo>
                    <a:pt x="2" y="32"/>
                    <a:pt x="0" y="28"/>
                    <a:pt x="0" y="2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6"/>
                    <a:pt x="9" y="28"/>
                    <a:pt x="10" y="30"/>
                  </a:cubicBezTo>
                  <a:cubicBezTo>
                    <a:pt x="11" y="32"/>
                    <a:pt x="13" y="33"/>
                    <a:pt x="16" y="33"/>
                  </a:cubicBezTo>
                  <a:cubicBezTo>
                    <a:pt x="18" y="33"/>
                    <a:pt x="20" y="32"/>
                    <a:pt x="22" y="30"/>
                  </a:cubicBezTo>
                  <a:cubicBezTo>
                    <a:pt x="23" y="28"/>
                    <a:pt x="24" y="26"/>
                    <a:pt x="24" y="23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4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04" name="Freeform 22">
              <a:extLst>
                <a:ext uri="{FF2B5EF4-FFF2-40B4-BE49-F238E27FC236}">
                  <a16:creationId xmlns:a16="http://schemas.microsoft.com/office/drawing/2014/main" id="{E847401D-2482-482A-AC12-D2E83C13546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93493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1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2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05" name="Freeform 23">
              <a:extLst>
                <a:ext uri="{FF2B5EF4-FFF2-40B4-BE49-F238E27FC236}">
                  <a16:creationId xmlns:a16="http://schemas.microsoft.com/office/drawing/2014/main" id="{86054F72-4509-4465-B9A8-8DAE3EFD35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30841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1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4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7 w 29"/>
                <a:gd name="T55" fmla="*/ 24 h 40"/>
                <a:gd name="T56" fmla="*/ 13 w 29"/>
                <a:gd name="T57" fmla="*/ 22 h 40"/>
                <a:gd name="T58" fmla="*/ 8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2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3" y="6"/>
                    <a:pt x="11" y="7"/>
                    <a:pt x="10" y="7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1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9" y="25"/>
                    <a:pt x="18" y="24"/>
                    <a:pt x="17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8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3" y="15"/>
                    <a:pt x="2" y="14"/>
                  </a:cubicBezTo>
                  <a:cubicBezTo>
                    <a:pt x="2" y="13"/>
                    <a:pt x="2" y="12"/>
                    <a:pt x="2" y="10"/>
                  </a:cubicBezTo>
                  <a:cubicBezTo>
                    <a:pt x="2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06" name="Freeform 24">
              <a:extLst>
                <a:ext uri="{FF2B5EF4-FFF2-40B4-BE49-F238E27FC236}">
                  <a16:creationId xmlns:a16="http://schemas.microsoft.com/office/drawing/2014/main" id="{813850E4-4B62-4FDA-ABD6-F5A5AA5E7C2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1802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07" name="Freeform 25">
              <a:extLst>
                <a:ext uri="{FF2B5EF4-FFF2-40B4-BE49-F238E27FC236}">
                  <a16:creationId xmlns:a16="http://schemas.microsoft.com/office/drawing/2014/main" id="{1B4F0124-2FAE-4D54-9ECC-E88A8031BBD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194750" y="6175958"/>
              <a:ext cx="24412" cy="136010"/>
            </a:xfrm>
            <a:custGeom>
              <a:avLst/>
              <a:gdLst>
                <a:gd name="T0" fmla="*/ 10 w 10"/>
                <a:gd name="T1" fmla="*/ 5 h 53"/>
                <a:gd name="T2" fmla="*/ 9 w 10"/>
                <a:gd name="T3" fmla="*/ 6 h 53"/>
                <a:gd name="T4" fmla="*/ 8 w 10"/>
                <a:gd name="T5" fmla="*/ 8 h 53"/>
                <a:gd name="T6" fmla="*/ 7 w 10"/>
                <a:gd name="T7" fmla="*/ 9 h 53"/>
                <a:gd name="T8" fmla="*/ 5 w 10"/>
                <a:gd name="T9" fmla="*/ 9 h 53"/>
                <a:gd name="T10" fmla="*/ 3 w 10"/>
                <a:gd name="T11" fmla="*/ 9 h 53"/>
                <a:gd name="T12" fmla="*/ 1 w 10"/>
                <a:gd name="T13" fmla="*/ 8 h 53"/>
                <a:gd name="T14" fmla="*/ 0 w 10"/>
                <a:gd name="T15" fmla="*/ 6 h 53"/>
                <a:gd name="T16" fmla="*/ 0 w 10"/>
                <a:gd name="T17" fmla="*/ 5 h 53"/>
                <a:gd name="T18" fmla="*/ 0 w 10"/>
                <a:gd name="T19" fmla="*/ 3 h 53"/>
                <a:gd name="T20" fmla="*/ 1 w 10"/>
                <a:gd name="T21" fmla="*/ 1 h 53"/>
                <a:gd name="T22" fmla="*/ 3 w 10"/>
                <a:gd name="T23" fmla="*/ 0 h 53"/>
                <a:gd name="T24" fmla="*/ 5 w 10"/>
                <a:gd name="T25" fmla="*/ 0 h 53"/>
                <a:gd name="T26" fmla="*/ 7 w 10"/>
                <a:gd name="T27" fmla="*/ 0 h 53"/>
                <a:gd name="T28" fmla="*/ 8 w 10"/>
                <a:gd name="T29" fmla="*/ 1 h 53"/>
                <a:gd name="T30" fmla="*/ 9 w 10"/>
                <a:gd name="T31" fmla="*/ 3 h 53"/>
                <a:gd name="T32" fmla="*/ 10 w 10"/>
                <a:gd name="T33" fmla="*/ 5 h 53"/>
                <a:gd name="T34" fmla="*/ 1 w 10"/>
                <a:gd name="T35" fmla="*/ 53 h 53"/>
                <a:gd name="T36" fmla="*/ 1 w 10"/>
                <a:gd name="T37" fmla="*/ 14 h 53"/>
                <a:gd name="T38" fmla="*/ 9 w 10"/>
                <a:gd name="T39" fmla="*/ 14 h 53"/>
                <a:gd name="T40" fmla="*/ 9 w 10"/>
                <a:gd name="T41" fmla="*/ 53 h 53"/>
                <a:gd name="T42" fmla="*/ 1 w 10"/>
                <a:gd name="T43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" h="53">
                  <a:moveTo>
                    <a:pt x="10" y="5"/>
                  </a:moveTo>
                  <a:cubicBezTo>
                    <a:pt x="10" y="5"/>
                    <a:pt x="10" y="6"/>
                    <a:pt x="9" y="6"/>
                  </a:cubicBezTo>
                  <a:cubicBezTo>
                    <a:pt x="9" y="7"/>
                    <a:pt x="9" y="8"/>
                    <a:pt x="8" y="8"/>
                  </a:cubicBezTo>
                  <a:cubicBezTo>
                    <a:pt x="8" y="8"/>
                    <a:pt x="7" y="9"/>
                    <a:pt x="7" y="9"/>
                  </a:cubicBezTo>
                  <a:cubicBezTo>
                    <a:pt x="6" y="9"/>
                    <a:pt x="6" y="9"/>
                    <a:pt x="5" y="9"/>
                  </a:cubicBezTo>
                  <a:cubicBezTo>
                    <a:pt x="4" y="9"/>
                    <a:pt x="4" y="9"/>
                    <a:pt x="3" y="9"/>
                  </a:cubicBezTo>
                  <a:cubicBezTo>
                    <a:pt x="2" y="9"/>
                    <a:pt x="2" y="8"/>
                    <a:pt x="1" y="8"/>
                  </a:cubicBezTo>
                  <a:cubicBezTo>
                    <a:pt x="1" y="8"/>
                    <a:pt x="1" y="7"/>
                    <a:pt x="0" y="6"/>
                  </a:cubicBezTo>
                  <a:cubicBezTo>
                    <a:pt x="0" y="6"/>
                    <a:pt x="0" y="5"/>
                    <a:pt x="0" y="5"/>
                  </a:cubicBezTo>
                  <a:cubicBezTo>
                    <a:pt x="0" y="4"/>
                    <a:pt x="0" y="3"/>
                    <a:pt x="0" y="3"/>
                  </a:cubicBezTo>
                  <a:cubicBezTo>
                    <a:pt x="1" y="2"/>
                    <a:pt x="1" y="2"/>
                    <a:pt x="1" y="1"/>
                  </a:cubicBezTo>
                  <a:cubicBezTo>
                    <a:pt x="2" y="1"/>
                    <a:pt x="2" y="0"/>
                    <a:pt x="3" y="0"/>
                  </a:cubicBezTo>
                  <a:cubicBezTo>
                    <a:pt x="4" y="0"/>
                    <a:pt x="4" y="0"/>
                    <a:pt x="5" y="0"/>
                  </a:cubicBezTo>
                  <a:cubicBezTo>
                    <a:pt x="6" y="0"/>
                    <a:pt x="6" y="0"/>
                    <a:pt x="7" y="0"/>
                  </a:cubicBezTo>
                  <a:cubicBezTo>
                    <a:pt x="7" y="0"/>
                    <a:pt x="8" y="1"/>
                    <a:pt x="8" y="1"/>
                  </a:cubicBezTo>
                  <a:cubicBezTo>
                    <a:pt x="9" y="2"/>
                    <a:pt x="9" y="2"/>
                    <a:pt x="9" y="3"/>
                  </a:cubicBezTo>
                  <a:cubicBezTo>
                    <a:pt x="10" y="3"/>
                    <a:pt x="10" y="4"/>
                    <a:pt x="10" y="5"/>
                  </a:cubicBezTo>
                  <a:close/>
                  <a:moveTo>
                    <a:pt x="1" y="53"/>
                  </a:moveTo>
                  <a:cubicBezTo>
                    <a:pt x="1" y="14"/>
                    <a:pt x="1" y="14"/>
                    <a:pt x="1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53"/>
                    <a:pt x="9" y="53"/>
                    <a:pt x="9" y="53"/>
                  </a:cubicBezTo>
                  <a:lnTo>
                    <a:pt x="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08" name="Freeform 26">
              <a:extLst>
                <a:ext uri="{FF2B5EF4-FFF2-40B4-BE49-F238E27FC236}">
                  <a16:creationId xmlns:a16="http://schemas.microsoft.com/office/drawing/2014/main" id="{2A730E5F-DF9C-488E-B4E0-EE9F501529E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236599" y="6212575"/>
              <a:ext cx="87186" cy="101135"/>
            </a:xfrm>
            <a:custGeom>
              <a:avLst/>
              <a:gdLst>
                <a:gd name="T0" fmla="*/ 34 w 34"/>
                <a:gd name="T1" fmla="*/ 19 h 40"/>
                <a:gd name="T2" fmla="*/ 33 w 34"/>
                <a:gd name="T3" fmla="*/ 28 h 40"/>
                <a:gd name="T4" fmla="*/ 29 w 34"/>
                <a:gd name="T5" fmla="*/ 34 h 40"/>
                <a:gd name="T6" fmla="*/ 24 w 34"/>
                <a:gd name="T7" fmla="*/ 38 h 40"/>
                <a:gd name="T8" fmla="*/ 17 w 34"/>
                <a:gd name="T9" fmla="*/ 40 h 40"/>
                <a:gd name="T10" fmla="*/ 10 w 34"/>
                <a:gd name="T11" fmla="*/ 38 h 40"/>
                <a:gd name="T12" fmla="*/ 5 w 34"/>
                <a:gd name="T13" fmla="*/ 34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1 h 40"/>
                <a:gd name="T20" fmla="*/ 5 w 34"/>
                <a:gd name="T21" fmla="*/ 5 h 40"/>
                <a:gd name="T22" fmla="*/ 10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1 h 40"/>
                <a:gd name="T32" fmla="*/ 34 w 34"/>
                <a:gd name="T33" fmla="*/ 19 h 40"/>
                <a:gd name="T34" fmla="*/ 26 w 34"/>
                <a:gd name="T35" fmla="*/ 20 h 40"/>
                <a:gd name="T36" fmla="*/ 26 w 34"/>
                <a:gd name="T37" fmla="*/ 14 h 40"/>
                <a:gd name="T38" fmla="*/ 24 w 34"/>
                <a:gd name="T39" fmla="*/ 10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0 h 40"/>
                <a:gd name="T48" fmla="*/ 8 w 34"/>
                <a:gd name="T49" fmla="*/ 14 h 40"/>
                <a:gd name="T50" fmla="*/ 7 w 34"/>
                <a:gd name="T51" fmla="*/ 19 h 40"/>
                <a:gd name="T52" fmla="*/ 8 w 34"/>
                <a:gd name="T53" fmla="*/ 25 h 40"/>
                <a:gd name="T54" fmla="*/ 10 w 34"/>
                <a:gd name="T55" fmla="*/ 29 h 40"/>
                <a:gd name="T56" fmla="*/ 13 w 34"/>
                <a:gd name="T57" fmla="*/ 32 h 40"/>
                <a:gd name="T58" fmla="*/ 17 w 34"/>
                <a:gd name="T59" fmla="*/ 32 h 40"/>
                <a:gd name="T60" fmla="*/ 21 w 34"/>
                <a:gd name="T61" fmla="*/ 31 h 40"/>
                <a:gd name="T62" fmla="*/ 24 w 34"/>
                <a:gd name="T63" fmla="*/ 29 h 40"/>
                <a:gd name="T64" fmla="*/ 26 w 34"/>
                <a:gd name="T65" fmla="*/ 25 h 40"/>
                <a:gd name="T66" fmla="*/ 26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19"/>
                  </a:moveTo>
                  <a:cubicBezTo>
                    <a:pt x="34" y="23"/>
                    <a:pt x="34" y="25"/>
                    <a:pt x="33" y="28"/>
                  </a:cubicBezTo>
                  <a:cubicBezTo>
                    <a:pt x="32" y="30"/>
                    <a:pt x="31" y="33"/>
                    <a:pt x="29" y="34"/>
                  </a:cubicBezTo>
                  <a:cubicBezTo>
                    <a:pt x="28" y="36"/>
                    <a:pt x="26" y="37"/>
                    <a:pt x="24" y="38"/>
                  </a:cubicBezTo>
                  <a:cubicBezTo>
                    <a:pt x="21" y="39"/>
                    <a:pt x="19" y="40"/>
                    <a:pt x="17" y="40"/>
                  </a:cubicBezTo>
                  <a:cubicBezTo>
                    <a:pt x="14" y="40"/>
                    <a:pt x="12" y="39"/>
                    <a:pt x="10" y="38"/>
                  </a:cubicBezTo>
                  <a:cubicBezTo>
                    <a:pt x="8" y="37"/>
                    <a:pt x="6" y="36"/>
                    <a:pt x="5" y="34"/>
                  </a:cubicBezTo>
                  <a:cubicBezTo>
                    <a:pt x="3" y="32"/>
                    <a:pt x="2" y="30"/>
                    <a:pt x="1" y="28"/>
                  </a:cubicBezTo>
                  <a:cubicBezTo>
                    <a:pt x="0" y="25"/>
                    <a:pt x="0" y="23"/>
                    <a:pt x="0" y="20"/>
                  </a:cubicBezTo>
                  <a:cubicBezTo>
                    <a:pt x="0" y="16"/>
                    <a:pt x="0" y="14"/>
                    <a:pt x="1" y="11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8" y="3"/>
                    <a:pt x="29" y="5"/>
                  </a:cubicBezTo>
                  <a:cubicBezTo>
                    <a:pt x="31" y="7"/>
                    <a:pt x="32" y="9"/>
                    <a:pt x="33" y="11"/>
                  </a:cubicBezTo>
                  <a:cubicBezTo>
                    <a:pt x="34" y="14"/>
                    <a:pt x="34" y="16"/>
                    <a:pt x="34" y="19"/>
                  </a:cubicBezTo>
                  <a:close/>
                  <a:moveTo>
                    <a:pt x="26" y="20"/>
                  </a:moveTo>
                  <a:cubicBezTo>
                    <a:pt x="26" y="18"/>
                    <a:pt x="26" y="16"/>
                    <a:pt x="26" y="14"/>
                  </a:cubicBezTo>
                  <a:cubicBezTo>
                    <a:pt x="25" y="13"/>
                    <a:pt x="25" y="11"/>
                    <a:pt x="24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19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11"/>
                    <a:pt x="8" y="13"/>
                    <a:pt x="8" y="14"/>
                  </a:cubicBezTo>
                  <a:cubicBezTo>
                    <a:pt x="8" y="16"/>
                    <a:pt x="7" y="17"/>
                    <a:pt x="7" y="19"/>
                  </a:cubicBezTo>
                  <a:cubicBezTo>
                    <a:pt x="7" y="21"/>
                    <a:pt x="8" y="23"/>
                    <a:pt x="8" y="25"/>
                  </a:cubicBezTo>
                  <a:cubicBezTo>
                    <a:pt x="9" y="27"/>
                    <a:pt x="9" y="28"/>
                    <a:pt x="10" y="29"/>
                  </a:cubicBezTo>
                  <a:cubicBezTo>
                    <a:pt x="11" y="30"/>
                    <a:pt x="12" y="31"/>
                    <a:pt x="13" y="32"/>
                  </a:cubicBezTo>
                  <a:cubicBezTo>
                    <a:pt x="14" y="32"/>
                    <a:pt x="16" y="32"/>
                    <a:pt x="17" y="32"/>
                  </a:cubicBezTo>
                  <a:cubicBezTo>
                    <a:pt x="18" y="32"/>
                    <a:pt x="20" y="32"/>
                    <a:pt x="21" y="31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7"/>
                    <a:pt x="25" y="26"/>
                    <a:pt x="26" y="25"/>
                  </a:cubicBezTo>
                  <a:cubicBezTo>
                    <a:pt x="26" y="23"/>
                    <a:pt x="26" y="21"/>
                    <a:pt x="26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09" name="Freeform 27">
              <a:extLst>
                <a:ext uri="{FF2B5EF4-FFF2-40B4-BE49-F238E27FC236}">
                  <a16:creationId xmlns:a16="http://schemas.microsoft.com/office/drawing/2014/main" id="{39861D7E-D8DA-436F-9E2F-5C08A8BFB4D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44710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1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9 w 31"/>
                <a:gd name="T11" fmla="*/ 9 h 39"/>
                <a:gd name="T12" fmla="*/ 8 w 31"/>
                <a:gd name="T13" fmla="*/ 12 h 39"/>
                <a:gd name="T14" fmla="*/ 7 w 31"/>
                <a:gd name="T15" fmla="*/ 16 h 39"/>
                <a:gd name="T16" fmla="*/ 7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7 w 31"/>
                <a:gd name="T23" fmla="*/ 0 h 39"/>
                <a:gd name="T24" fmla="*/ 7 w 31"/>
                <a:gd name="T25" fmla="*/ 4 h 39"/>
                <a:gd name="T26" fmla="*/ 9 w 31"/>
                <a:gd name="T27" fmla="*/ 2 h 39"/>
                <a:gd name="T28" fmla="*/ 11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7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1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9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7" y="15"/>
                    <a:pt x="7" y="16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9" y="0"/>
                    <a:pt x="21" y="0"/>
                    <a:pt x="23" y="1"/>
                  </a:cubicBezTo>
                  <a:cubicBezTo>
                    <a:pt x="25" y="1"/>
                    <a:pt x="26" y="2"/>
                    <a:pt x="27" y="4"/>
                  </a:cubicBezTo>
                  <a:cubicBezTo>
                    <a:pt x="28" y="5"/>
                    <a:pt x="29" y="7"/>
                    <a:pt x="30" y="9"/>
                  </a:cubicBezTo>
                  <a:cubicBezTo>
                    <a:pt x="30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10" name="Freeform 28">
              <a:extLst>
                <a:ext uri="{FF2B5EF4-FFF2-40B4-BE49-F238E27FC236}">
                  <a16:creationId xmlns:a16="http://schemas.microsoft.com/office/drawing/2014/main" id="{8B038F9F-6A9C-4E57-A659-0090AF47059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45845" y="6284068"/>
              <a:ext cx="31387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4 w 12"/>
                <a:gd name="T11" fmla="*/ 11 h 12"/>
                <a:gd name="T12" fmla="*/ 2 w 12"/>
                <a:gd name="T13" fmla="*/ 10 h 12"/>
                <a:gd name="T14" fmla="*/ 1 w 12"/>
                <a:gd name="T15" fmla="*/ 8 h 12"/>
                <a:gd name="T16" fmla="*/ 0 w 12"/>
                <a:gd name="T17" fmla="*/ 6 h 12"/>
                <a:gd name="T18" fmla="*/ 1 w 12"/>
                <a:gd name="T19" fmla="*/ 4 h 12"/>
                <a:gd name="T20" fmla="*/ 2 w 12"/>
                <a:gd name="T21" fmla="*/ 2 h 12"/>
                <a:gd name="T22" fmla="*/ 4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4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1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1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4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11" name="Freeform 29">
              <a:extLst>
                <a:ext uri="{FF2B5EF4-FFF2-40B4-BE49-F238E27FC236}">
                  <a16:creationId xmlns:a16="http://schemas.microsoft.com/office/drawing/2014/main" id="{15E4EB7D-754D-4053-9A23-596C7CFDA98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0006" y="6181188"/>
              <a:ext cx="97648" cy="130778"/>
            </a:xfrm>
            <a:custGeom>
              <a:avLst/>
              <a:gdLst>
                <a:gd name="T0" fmla="*/ 34 w 56"/>
                <a:gd name="T1" fmla="*/ 11 h 75"/>
                <a:gd name="T2" fmla="*/ 34 w 56"/>
                <a:gd name="T3" fmla="*/ 75 h 75"/>
                <a:gd name="T4" fmla="*/ 22 w 56"/>
                <a:gd name="T5" fmla="*/ 75 h 75"/>
                <a:gd name="T6" fmla="*/ 22 w 56"/>
                <a:gd name="T7" fmla="*/ 11 h 75"/>
                <a:gd name="T8" fmla="*/ 0 w 56"/>
                <a:gd name="T9" fmla="*/ 11 h 75"/>
                <a:gd name="T10" fmla="*/ 0 w 56"/>
                <a:gd name="T11" fmla="*/ 0 h 75"/>
                <a:gd name="T12" fmla="*/ 56 w 56"/>
                <a:gd name="T13" fmla="*/ 0 h 75"/>
                <a:gd name="T14" fmla="*/ 56 w 56"/>
                <a:gd name="T15" fmla="*/ 11 h 75"/>
                <a:gd name="T16" fmla="*/ 34 w 56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6" h="75">
                  <a:moveTo>
                    <a:pt x="34" y="11"/>
                  </a:moveTo>
                  <a:lnTo>
                    <a:pt x="34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6" y="0"/>
                  </a:lnTo>
                  <a:lnTo>
                    <a:pt x="56" y="11"/>
                  </a:lnTo>
                  <a:lnTo>
                    <a:pt x="34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12" name="Freeform 30">
              <a:extLst>
                <a:ext uri="{FF2B5EF4-FFF2-40B4-BE49-F238E27FC236}">
                  <a16:creationId xmlns:a16="http://schemas.microsoft.com/office/drawing/2014/main" id="{28E147CB-2B8F-497B-B00B-C25E679DC5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51603" y="6174213"/>
              <a:ext cx="80211" cy="137753"/>
            </a:xfrm>
            <a:custGeom>
              <a:avLst/>
              <a:gdLst>
                <a:gd name="T0" fmla="*/ 24 w 31"/>
                <a:gd name="T1" fmla="*/ 54 h 54"/>
                <a:gd name="T2" fmla="*/ 24 w 31"/>
                <a:gd name="T3" fmla="*/ 32 h 54"/>
                <a:gd name="T4" fmla="*/ 22 w 31"/>
                <a:gd name="T5" fmla="*/ 24 h 54"/>
                <a:gd name="T6" fmla="*/ 16 w 31"/>
                <a:gd name="T7" fmla="*/ 22 h 54"/>
                <a:gd name="T8" fmla="*/ 13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8 w 31"/>
                <a:gd name="T15" fmla="*/ 31 h 54"/>
                <a:gd name="T16" fmla="*/ 8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8 w 31"/>
                <a:gd name="T23" fmla="*/ 0 h 54"/>
                <a:gd name="T24" fmla="*/ 8 w 31"/>
                <a:gd name="T25" fmla="*/ 19 h 54"/>
                <a:gd name="T26" fmla="*/ 10 w 31"/>
                <a:gd name="T27" fmla="*/ 17 h 54"/>
                <a:gd name="T28" fmla="*/ 12 w 31"/>
                <a:gd name="T29" fmla="*/ 16 h 54"/>
                <a:gd name="T30" fmla="*/ 15 w 31"/>
                <a:gd name="T31" fmla="*/ 15 h 54"/>
                <a:gd name="T32" fmla="*/ 18 w 31"/>
                <a:gd name="T33" fmla="*/ 15 h 54"/>
                <a:gd name="T34" fmla="*/ 24 w 31"/>
                <a:gd name="T35" fmla="*/ 16 h 54"/>
                <a:gd name="T36" fmla="*/ 28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4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4" y="54"/>
                  </a:moveTo>
                  <a:cubicBezTo>
                    <a:pt x="24" y="32"/>
                    <a:pt x="24" y="32"/>
                    <a:pt x="24" y="32"/>
                  </a:cubicBezTo>
                  <a:cubicBezTo>
                    <a:pt x="24" y="28"/>
                    <a:pt x="23" y="26"/>
                    <a:pt x="22" y="24"/>
                  </a:cubicBezTo>
                  <a:cubicBezTo>
                    <a:pt x="21" y="22"/>
                    <a:pt x="19" y="22"/>
                    <a:pt x="16" y="22"/>
                  </a:cubicBezTo>
                  <a:cubicBezTo>
                    <a:pt x="15" y="22"/>
                    <a:pt x="14" y="22"/>
                    <a:pt x="13" y="22"/>
                  </a:cubicBezTo>
                  <a:cubicBezTo>
                    <a:pt x="12" y="22"/>
                    <a:pt x="11" y="23"/>
                    <a:pt x="10" y="24"/>
                  </a:cubicBezTo>
                  <a:cubicBezTo>
                    <a:pt x="9" y="25"/>
                    <a:pt x="9" y="26"/>
                    <a:pt x="8" y="27"/>
                  </a:cubicBezTo>
                  <a:cubicBezTo>
                    <a:pt x="8" y="28"/>
                    <a:pt x="8" y="30"/>
                    <a:pt x="8" y="31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3" y="15"/>
                    <a:pt x="14" y="15"/>
                    <a:pt x="15" y="15"/>
                  </a:cubicBezTo>
                  <a:cubicBezTo>
                    <a:pt x="16" y="15"/>
                    <a:pt x="17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29" y="20"/>
                    <a:pt x="30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4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13" name="Freeform 31">
              <a:extLst>
                <a:ext uri="{FF2B5EF4-FFF2-40B4-BE49-F238E27FC236}">
                  <a16:creationId xmlns:a16="http://schemas.microsoft.com/office/drawing/2014/main" id="{E68BC676-C787-429D-B59B-1A5CE062F78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50996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1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14" name="Freeform 32">
              <a:extLst>
                <a:ext uri="{FF2B5EF4-FFF2-40B4-BE49-F238E27FC236}">
                  <a16:creationId xmlns:a16="http://schemas.microsoft.com/office/drawing/2014/main" id="{71266960-73CB-44B9-9A97-81085898914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02698" y="6174213"/>
              <a:ext cx="80211" cy="139497"/>
            </a:xfrm>
            <a:custGeom>
              <a:avLst/>
              <a:gdLst>
                <a:gd name="T0" fmla="*/ 32 w 32"/>
                <a:gd name="T1" fmla="*/ 35 h 55"/>
                <a:gd name="T2" fmla="*/ 31 w 32"/>
                <a:gd name="T3" fmla="*/ 44 h 55"/>
                <a:gd name="T4" fmla="*/ 28 w 32"/>
                <a:gd name="T5" fmla="*/ 50 h 55"/>
                <a:gd name="T6" fmla="*/ 23 w 32"/>
                <a:gd name="T7" fmla="*/ 53 h 55"/>
                <a:gd name="T8" fmla="*/ 17 w 32"/>
                <a:gd name="T9" fmla="*/ 55 h 55"/>
                <a:gd name="T10" fmla="*/ 12 w 32"/>
                <a:gd name="T11" fmla="*/ 53 h 55"/>
                <a:gd name="T12" fmla="*/ 7 w 32"/>
                <a:gd name="T13" fmla="*/ 50 h 55"/>
                <a:gd name="T14" fmla="*/ 7 w 32"/>
                <a:gd name="T15" fmla="*/ 54 h 55"/>
                <a:gd name="T16" fmla="*/ 0 w 32"/>
                <a:gd name="T17" fmla="*/ 54 h 55"/>
                <a:gd name="T18" fmla="*/ 0 w 32"/>
                <a:gd name="T19" fmla="*/ 4 h 55"/>
                <a:gd name="T20" fmla="*/ 7 w 32"/>
                <a:gd name="T21" fmla="*/ 0 h 55"/>
                <a:gd name="T22" fmla="*/ 7 w 32"/>
                <a:gd name="T23" fmla="*/ 19 h 55"/>
                <a:gd name="T24" fmla="*/ 10 w 32"/>
                <a:gd name="T25" fmla="*/ 17 h 55"/>
                <a:gd name="T26" fmla="*/ 12 w 32"/>
                <a:gd name="T27" fmla="*/ 16 h 55"/>
                <a:gd name="T28" fmla="*/ 14 w 32"/>
                <a:gd name="T29" fmla="*/ 15 h 55"/>
                <a:gd name="T30" fmla="*/ 17 w 32"/>
                <a:gd name="T31" fmla="*/ 15 h 55"/>
                <a:gd name="T32" fmla="*/ 23 w 32"/>
                <a:gd name="T33" fmla="*/ 16 h 55"/>
                <a:gd name="T34" fmla="*/ 28 w 32"/>
                <a:gd name="T35" fmla="*/ 19 h 55"/>
                <a:gd name="T36" fmla="*/ 31 w 32"/>
                <a:gd name="T37" fmla="*/ 26 h 55"/>
                <a:gd name="T38" fmla="*/ 32 w 32"/>
                <a:gd name="T39" fmla="*/ 35 h 55"/>
                <a:gd name="T40" fmla="*/ 25 w 32"/>
                <a:gd name="T41" fmla="*/ 35 h 55"/>
                <a:gd name="T42" fmla="*/ 23 w 32"/>
                <a:gd name="T43" fmla="*/ 25 h 55"/>
                <a:gd name="T44" fmla="*/ 16 w 32"/>
                <a:gd name="T45" fmla="*/ 22 h 55"/>
                <a:gd name="T46" fmla="*/ 14 w 32"/>
                <a:gd name="T47" fmla="*/ 22 h 55"/>
                <a:gd name="T48" fmla="*/ 11 w 32"/>
                <a:gd name="T49" fmla="*/ 23 h 55"/>
                <a:gd name="T50" fmla="*/ 9 w 32"/>
                <a:gd name="T51" fmla="*/ 25 h 55"/>
                <a:gd name="T52" fmla="*/ 7 w 32"/>
                <a:gd name="T53" fmla="*/ 26 h 55"/>
                <a:gd name="T54" fmla="*/ 7 w 32"/>
                <a:gd name="T55" fmla="*/ 43 h 55"/>
                <a:gd name="T56" fmla="*/ 9 w 32"/>
                <a:gd name="T57" fmla="*/ 44 h 55"/>
                <a:gd name="T58" fmla="*/ 11 w 32"/>
                <a:gd name="T59" fmla="*/ 46 h 55"/>
                <a:gd name="T60" fmla="*/ 14 w 32"/>
                <a:gd name="T61" fmla="*/ 47 h 55"/>
                <a:gd name="T62" fmla="*/ 16 w 32"/>
                <a:gd name="T63" fmla="*/ 48 h 55"/>
                <a:gd name="T64" fmla="*/ 23 w 32"/>
                <a:gd name="T65" fmla="*/ 45 h 55"/>
                <a:gd name="T66" fmla="*/ 25 w 32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2" h="55">
                  <a:moveTo>
                    <a:pt x="32" y="35"/>
                  </a:moveTo>
                  <a:cubicBezTo>
                    <a:pt x="32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6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5" y="55"/>
                    <a:pt x="13" y="54"/>
                    <a:pt x="12" y="53"/>
                  </a:cubicBezTo>
                  <a:cubicBezTo>
                    <a:pt x="10" y="52"/>
                    <a:pt x="9" y="51"/>
                    <a:pt x="7" y="50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6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20" y="15"/>
                    <a:pt x="21" y="15"/>
                    <a:pt x="23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29" y="21"/>
                    <a:pt x="30" y="23"/>
                    <a:pt x="31" y="26"/>
                  </a:cubicBezTo>
                  <a:cubicBezTo>
                    <a:pt x="32" y="28"/>
                    <a:pt x="32" y="32"/>
                    <a:pt x="32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4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0" y="23"/>
                    <a:pt x="10" y="24"/>
                    <a:pt x="9" y="25"/>
                  </a:cubicBezTo>
                  <a:cubicBezTo>
                    <a:pt x="8" y="25"/>
                    <a:pt x="8" y="26"/>
                    <a:pt x="7" y="26"/>
                  </a:cubicBezTo>
                  <a:cubicBezTo>
                    <a:pt x="7" y="43"/>
                    <a:pt x="7" y="43"/>
                    <a:pt x="7" y="43"/>
                  </a:cubicBezTo>
                  <a:cubicBezTo>
                    <a:pt x="8" y="43"/>
                    <a:pt x="8" y="44"/>
                    <a:pt x="9" y="44"/>
                  </a:cubicBezTo>
                  <a:cubicBezTo>
                    <a:pt x="10" y="45"/>
                    <a:pt x="10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5" y="48"/>
                    <a:pt x="16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15" name="Freeform 33">
              <a:extLst>
                <a:ext uri="{FF2B5EF4-FFF2-40B4-BE49-F238E27FC236}">
                  <a16:creationId xmlns:a16="http://schemas.microsoft.com/office/drawing/2014/main" id="{3FF3AC5A-B742-4B29-8E04-03A71D82B9A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9860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8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8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3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7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16" name="Freeform 34">
              <a:extLst>
                <a:ext uri="{FF2B5EF4-FFF2-40B4-BE49-F238E27FC236}">
                  <a16:creationId xmlns:a16="http://schemas.microsoft.com/office/drawing/2014/main" id="{0C912743-E24B-4E48-8196-5FBD1ECEE9A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625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3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17" name="Freeform 35">
              <a:extLst>
                <a:ext uri="{FF2B5EF4-FFF2-40B4-BE49-F238E27FC236}">
                  <a16:creationId xmlns:a16="http://schemas.microsoft.com/office/drawing/2014/main" id="{6E2F01F4-1410-4FE1-B043-EA97A1541F3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64256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7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6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7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18" name="Freeform 36">
              <a:extLst>
                <a:ext uri="{FF2B5EF4-FFF2-40B4-BE49-F238E27FC236}">
                  <a16:creationId xmlns:a16="http://schemas.microsoft.com/office/drawing/2014/main" id="{58ACFF1C-49F0-414E-B9E3-DE4E9FFAA38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2340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19" name="Freeform 37">
              <a:extLst>
                <a:ext uri="{FF2B5EF4-FFF2-40B4-BE49-F238E27FC236}">
                  <a16:creationId xmlns:a16="http://schemas.microsoft.com/office/drawing/2014/main" id="{DACBD04B-22FF-4A4F-8B29-A2F31A0542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36884" y="6212575"/>
              <a:ext cx="59286" cy="99391"/>
            </a:xfrm>
            <a:custGeom>
              <a:avLst/>
              <a:gdLst>
                <a:gd name="T0" fmla="*/ 21 w 23"/>
                <a:gd name="T1" fmla="*/ 8 h 39"/>
                <a:gd name="T2" fmla="*/ 19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9" y="7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20" name="Freeform 38">
              <a:extLst>
                <a:ext uri="{FF2B5EF4-FFF2-40B4-BE49-F238E27FC236}">
                  <a16:creationId xmlns:a16="http://schemas.microsoft.com/office/drawing/2014/main" id="{A13F6E37-C22B-4FD3-ADFE-9C53ECB446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51969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21" name="Freeform 39">
              <a:extLst>
                <a:ext uri="{FF2B5EF4-FFF2-40B4-BE49-F238E27FC236}">
                  <a16:creationId xmlns:a16="http://schemas.microsoft.com/office/drawing/2014/main" id="{76256F1D-405A-49F9-8592-A899623F2D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30436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22" name="Freeform 40">
              <a:extLst>
                <a:ext uri="{FF2B5EF4-FFF2-40B4-BE49-F238E27FC236}">
                  <a16:creationId xmlns:a16="http://schemas.microsoft.com/office/drawing/2014/main" id="{2F9CAE14-DB05-4B70-867F-3F6164BDB74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62808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23" name="Freeform 41">
              <a:extLst>
                <a:ext uri="{FF2B5EF4-FFF2-40B4-BE49-F238E27FC236}">
                  <a16:creationId xmlns:a16="http://schemas.microsoft.com/office/drawing/2014/main" id="{30C7B10F-7027-41F9-BEE2-F1575CB690D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772813" y="6212575"/>
              <a:ext cx="81955" cy="101135"/>
            </a:xfrm>
            <a:custGeom>
              <a:avLst/>
              <a:gdLst>
                <a:gd name="T0" fmla="*/ 24 w 32"/>
                <a:gd name="T1" fmla="*/ 39 h 40"/>
                <a:gd name="T2" fmla="*/ 24 w 32"/>
                <a:gd name="T3" fmla="*/ 35 h 40"/>
                <a:gd name="T4" fmla="*/ 22 w 32"/>
                <a:gd name="T5" fmla="*/ 37 h 40"/>
                <a:gd name="T6" fmla="*/ 20 w 32"/>
                <a:gd name="T7" fmla="*/ 38 h 40"/>
                <a:gd name="T8" fmla="*/ 17 w 32"/>
                <a:gd name="T9" fmla="*/ 39 h 40"/>
                <a:gd name="T10" fmla="*/ 14 w 32"/>
                <a:gd name="T11" fmla="*/ 40 h 40"/>
                <a:gd name="T12" fmla="*/ 9 w 32"/>
                <a:gd name="T13" fmla="*/ 39 h 40"/>
                <a:gd name="T14" fmla="*/ 5 w 32"/>
                <a:gd name="T15" fmla="*/ 37 h 40"/>
                <a:gd name="T16" fmla="*/ 2 w 32"/>
                <a:gd name="T17" fmla="*/ 33 h 40"/>
                <a:gd name="T18" fmla="*/ 0 w 32"/>
                <a:gd name="T19" fmla="*/ 27 h 40"/>
                <a:gd name="T20" fmla="*/ 2 w 32"/>
                <a:gd name="T21" fmla="*/ 21 h 40"/>
                <a:gd name="T22" fmla="*/ 5 w 32"/>
                <a:gd name="T23" fmla="*/ 17 h 40"/>
                <a:gd name="T24" fmla="*/ 10 w 32"/>
                <a:gd name="T25" fmla="*/ 15 h 40"/>
                <a:gd name="T26" fmla="*/ 16 w 32"/>
                <a:gd name="T27" fmla="*/ 14 h 40"/>
                <a:gd name="T28" fmla="*/ 21 w 32"/>
                <a:gd name="T29" fmla="*/ 15 h 40"/>
                <a:gd name="T30" fmla="*/ 24 w 32"/>
                <a:gd name="T31" fmla="*/ 16 h 40"/>
                <a:gd name="T32" fmla="*/ 24 w 32"/>
                <a:gd name="T33" fmla="*/ 13 h 40"/>
                <a:gd name="T34" fmla="*/ 22 w 32"/>
                <a:gd name="T35" fmla="*/ 8 h 40"/>
                <a:gd name="T36" fmla="*/ 17 w 32"/>
                <a:gd name="T37" fmla="*/ 6 h 40"/>
                <a:gd name="T38" fmla="*/ 12 w 32"/>
                <a:gd name="T39" fmla="*/ 7 h 40"/>
                <a:gd name="T40" fmla="*/ 7 w 32"/>
                <a:gd name="T41" fmla="*/ 9 h 40"/>
                <a:gd name="T42" fmla="*/ 4 w 32"/>
                <a:gd name="T43" fmla="*/ 3 h 40"/>
                <a:gd name="T44" fmla="*/ 10 w 32"/>
                <a:gd name="T45" fmla="*/ 0 h 40"/>
                <a:gd name="T46" fmla="*/ 17 w 32"/>
                <a:gd name="T47" fmla="*/ 0 h 40"/>
                <a:gd name="T48" fmla="*/ 23 w 32"/>
                <a:gd name="T49" fmla="*/ 0 h 40"/>
                <a:gd name="T50" fmla="*/ 28 w 32"/>
                <a:gd name="T51" fmla="*/ 3 h 40"/>
                <a:gd name="T52" fmla="*/ 31 w 32"/>
                <a:gd name="T53" fmla="*/ 7 h 40"/>
                <a:gd name="T54" fmla="*/ 32 w 32"/>
                <a:gd name="T55" fmla="*/ 12 h 40"/>
                <a:gd name="T56" fmla="*/ 32 w 32"/>
                <a:gd name="T57" fmla="*/ 39 h 40"/>
                <a:gd name="T58" fmla="*/ 24 w 32"/>
                <a:gd name="T59" fmla="*/ 39 h 40"/>
                <a:gd name="T60" fmla="*/ 24 w 32"/>
                <a:gd name="T61" fmla="*/ 22 h 40"/>
                <a:gd name="T62" fmla="*/ 22 w 32"/>
                <a:gd name="T63" fmla="*/ 22 h 40"/>
                <a:gd name="T64" fmla="*/ 21 w 32"/>
                <a:gd name="T65" fmla="*/ 21 h 40"/>
                <a:gd name="T66" fmla="*/ 18 w 32"/>
                <a:gd name="T67" fmla="*/ 21 h 40"/>
                <a:gd name="T68" fmla="*/ 16 w 32"/>
                <a:gd name="T69" fmla="*/ 21 h 40"/>
                <a:gd name="T70" fmla="*/ 10 w 32"/>
                <a:gd name="T71" fmla="*/ 22 h 40"/>
                <a:gd name="T72" fmla="*/ 8 w 32"/>
                <a:gd name="T73" fmla="*/ 26 h 40"/>
                <a:gd name="T74" fmla="*/ 8 w 32"/>
                <a:gd name="T75" fmla="*/ 29 h 40"/>
                <a:gd name="T76" fmla="*/ 10 w 32"/>
                <a:gd name="T77" fmla="*/ 31 h 40"/>
                <a:gd name="T78" fmla="*/ 12 w 32"/>
                <a:gd name="T79" fmla="*/ 32 h 40"/>
                <a:gd name="T80" fmla="*/ 15 w 32"/>
                <a:gd name="T81" fmla="*/ 33 h 40"/>
                <a:gd name="T82" fmla="*/ 18 w 32"/>
                <a:gd name="T83" fmla="*/ 32 h 40"/>
                <a:gd name="T84" fmla="*/ 21 w 32"/>
                <a:gd name="T85" fmla="*/ 31 h 40"/>
                <a:gd name="T86" fmla="*/ 23 w 32"/>
                <a:gd name="T87" fmla="*/ 30 h 40"/>
                <a:gd name="T88" fmla="*/ 24 w 32"/>
                <a:gd name="T89" fmla="*/ 28 h 40"/>
                <a:gd name="T90" fmla="*/ 24 w 32"/>
                <a:gd name="T91" fmla="*/ 2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2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3" y="37"/>
                    <a:pt x="22" y="37"/>
                  </a:cubicBezTo>
                  <a:cubicBezTo>
                    <a:pt x="21" y="37"/>
                    <a:pt x="21" y="38"/>
                    <a:pt x="20" y="38"/>
                  </a:cubicBezTo>
                  <a:cubicBezTo>
                    <a:pt x="19" y="39"/>
                    <a:pt x="18" y="39"/>
                    <a:pt x="17" y="39"/>
                  </a:cubicBezTo>
                  <a:cubicBezTo>
                    <a:pt x="16" y="39"/>
                    <a:pt x="15" y="40"/>
                    <a:pt x="14" y="40"/>
                  </a:cubicBezTo>
                  <a:cubicBezTo>
                    <a:pt x="12" y="40"/>
                    <a:pt x="11" y="39"/>
                    <a:pt x="9" y="39"/>
                  </a:cubicBezTo>
                  <a:cubicBezTo>
                    <a:pt x="7" y="38"/>
                    <a:pt x="6" y="38"/>
                    <a:pt x="5" y="37"/>
                  </a:cubicBezTo>
                  <a:cubicBezTo>
                    <a:pt x="3" y="36"/>
                    <a:pt x="2" y="34"/>
                    <a:pt x="2" y="33"/>
                  </a:cubicBezTo>
                  <a:cubicBezTo>
                    <a:pt x="1" y="31"/>
                    <a:pt x="0" y="29"/>
                    <a:pt x="0" y="27"/>
                  </a:cubicBezTo>
                  <a:cubicBezTo>
                    <a:pt x="0" y="24"/>
                    <a:pt x="1" y="23"/>
                    <a:pt x="2" y="21"/>
                  </a:cubicBezTo>
                  <a:cubicBezTo>
                    <a:pt x="2" y="20"/>
                    <a:pt x="3" y="18"/>
                    <a:pt x="5" y="17"/>
                  </a:cubicBezTo>
                  <a:cubicBezTo>
                    <a:pt x="6" y="16"/>
                    <a:pt x="8" y="15"/>
                    <a:pt x="10" y="15"/>
                  </a:cubicBezTo>
                  <a:cubicBezTo>
                    <a:pt x="12" y="14"/>
                    <a:pt x="14" y="14"/>
                    <a:pt x="16" y="14"/>
                  </a:cubicBezTo>
                  <a:cubicBezTo>
                    <a:pt x="18" y="14"/>
                    <a:pt x="19" y="14"/>
                    <a:pt x="21" y="15"/>
                  </a:cubicBezTo>
                  <a:cubicBezTo>
                    <a:pt x="22" y="15"/>
                    <a:pt x="23" y="15"/>
                    <a:pt x="24" y="16"/>
                  </a:cubicBezTo>
                  <a:cubicBezTo>
                    <a:pt x="24" y="13"/>
                    <a:pt x="24" y="13"/>
                    <a:pt x="24" y="13"/>
                  </a:cubicBezTo>
                  <a:cubicBezTo>
                    <a:pt x="24" y="11"/>
                    <a:pt x="24" y="9"/>
                    <a:pt x="22" y="8"/>
                  </a:cubicBezTo>
                  <a:cubicBezTo>
                    <a:pt x="21" y="7"/>
                    <a:pt x="19" y="6"/>
                    <a:pt x="17" y="6"/>
                  </a:cubicBezTo>
                  <a:cubicBezTo>
                    <a:pt x="15" y="6"/>
                    <a:pt x="13" y="6"/>
                    <a:pt x="12" y="7"/>
                  </a:cubicBezTo>
                  <a:cubicBezTo>
                    <a:pt x="10" y="7"/>
                    <a:pt x="9" y="8"/>
                    <a:pt x="7" y="9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6" y="2"/>
                    <a:pt x="8" y="1"/>
                    <a:pt x="10" y="0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19" y="0"/>
                    <a:pt x="21" y="0"/>
                    <a:pt x="23" y="0"/>
                  </a:cubicBezTo>
                  <a:cubicBezTo>
                    <a:pt x="25" y="1"/>
                    <a:pt x="26" y="2"/>
                    <a:pt x="28" y="3"/>
                  </a:cubicBezTo>
                  <a:cubicBezTo>
                    <a:pt x="29" y="4"/>
                    <a:pt x="30" y="5"/>
                    <a:pt x="31" y="7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2" y="39"/>
                    <a:pt x="32" y="39"/>
                    <a:pt x="32" y="39"/>
                  </a:cubicBezTo>
                  <a:lnTo>
                    <a:pt x="24" y="39"/>
                  </a:lnTo>
                  <a:close/>
                  <a:moveTo>
                    <a:pt x="24" y="22"/>
                  </a:moveTo>
                  <a:cubicBezTo>
                    <a:pt x="24" y="22"/>
                    <a:pt x="23" y="22"/>
                    <a:pt x="22" y="22"/>
                  </a:cubicBezTo>
                  <a:cubicBezTo>
                    <a:pt x="22" y="21"/>
                    <a:pt x="21" y="21"/>
                    <a:pt x="21" y="21"/>
                  </a:cubicBezTo>
                  <a:cubicBezTo>
                    <a:pt x="20" y="21"/>
                    <a:pt x="19" y="21"/>
                    <a:pt x="18" y="21"/>
                  </a:cubicBezTo>
                  <a:cubicBezTo>
                    <a:pt x="17" y="21"/>
                    <a:pt x="17" y="21"/>
                    <a:pt x="16" y="21"/>
                  </a:cubicBezTo>
                  <a:cubicBezTo>
                    <a:pt x="13" y="21"/>
                    <a:pt x="11" y="21"/>
                    <a:pt x="10" y="22"/>
                  </a:cubicBezTo>
                  <a:cubicBezTo>
                    <a:pt x="8" y="23"/>
                    <a:pt x="8" y="25"/>
                    <a:pt x="8" y="26"/>
                  </a:cubicBezTo>
                  <a:cubicBezTo>
                    <a:pt x="8" y="28"/>
                    <a:pt x="8" y="29"/>
                    <a:pt x="8" y="29"/>
                  </a:cubicBezTo>
                  <a:cubicBezTo>
                    <a:pt x="9" y="30"/>
                    <a:pt x="9" y="31"/>
                    <a:pt x="10" y="31"/>
                  </a:cubicBezTo>
                  <a:cubicBezTo>
                    <a:pt x="10" y="32"/>
                    <a:pt x="11" y="32"/>
                    <a:pt x="12" y="32"/>
                  </a:cubicBezTo>
                  <a:cubicBezTo>
                    <a:pt x="13" y="33"/>
                    <a:pt x="14" y="33"/>
                    <a:pt x="15" y="33"/>
                  </a:cubicBezTo>
                  <a:cubicBezTo>
                    <a:pt x="16" y="33"/>
                    <a:pt x="17" y="33"/>
                    <a:pt x="18" y="32"/>
                  </a:cubicBezTo>
                  <a:cubicBezTo>
                    <a:pt x="19" y="32"/>
                    <a:pt x="20" y="32"/>
                    <a:pt x="21" y="31"/>
                  </a:cubicBezTo>
                  <a:cubicBezTo>
                    <a:pt x="21" y="31"/>
                    <a:pt x="22" y="30"/>
                    <a:pt x="23" y="30"/>
                  </a:cubicBezTo>
                  <a:cubicBezTo>
                    <a:pt x="23" y="29"/>
                    <a:pt x="24" y="28"/>
                    <a:pt x="24" y="28"/>
                  </a:cubicBezTo>
                  <a:lnTo>
                    <a:pt x="24" y="2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24" name="Freeform 42">
              <a:extLst>
                <a:ext uri="{FF2B5EF4-FFF2-40B4-BE49-F238E27FC236}">
                  <a16:creationId xmlns:a16="http://schemas.microsoft.com/office/drawing/2014/main" id="{16B384B2-A2D9-4CB4-AF87-AF1004852B5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77436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2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10 w 31"/>
                <a:gd name="T11" fmla="*/ 9 h 39"/>
                <a:gd name="T12" fmla="*/ 8 w 31"/>
                <a:gd name="T13" fmla="*/ 12 h 39"/>
                <a:gd name="T14" fmla="*/ 8 w 31"/>
                <a:gd name="T15" fmla="*/ 16 h 39"/>
                <a:gd name="T16" fmla="*/ 8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8 w 31"/>
                <a:gd name="T23" fmla="*/ 0 h 39"/>
                <a:gd name="T24" fmla="*/ 8 w 31"/>
                <a:gd name="T25" fmla="*/ 4 h 39"/>
                <a:gd name="T26" fmla="*/ 9 w 31"/>
                <a:gd name="T27" fmla="*/ 2 h 39"/>
                <a:gd name="T28" fmla="*/ 12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8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2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10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8" y="15"/>
                    <a:pt x="8" y="16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2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20" y="0"/>
                    <a:pt x="22" y="0"/>
                    <a:pt x="23" y="1"/>
                  </a:cubicBezTo>
                  <a:cubicBezTo>
                    <a:pt x="25" y="1"/>
                    <a:pt x="26" y="2"/>
                    <a:pt x="28" y="4"/>
                  </a:cubicBezTo>
                  <a:cubicBezTo>
                    <a:pt x="29" y="5"/>
                    <a:pt x="29" y="7"/>
                    <a:pt x="30" y="9"/>
                  </a:cubicBezTo>
                  <a:cubicBezTo>
                    <a:pt x="31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25" name="Freeform 43">
              <a:extLst>
                <a:ext uri="{FF2B5EF4-FFF2-40B4-BE49-F238E27FC236}">
                  <a16:creationId xmlns:a16="http://schemas.microsoft.com/office/drawing/2014/main" id="{DC309D60-84B9-4652-BEF1-F71EFAD3A40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75084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0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3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6 w 29"/>
                <a:gd name="T55" fmla="*/ 24 h 40"/>
                <a:gd name="T56" fmla="*/ 13 w 29"/>
                <a:gd name="T57" fmla="*/ 22 h 40"/>
                <a:gd name="T58" fmla="*/ 7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1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2" y="6"/>
                    <a:pt x="11" y="7"/>
                    <a:pt x="10" y="7"/>
                  </a:cubicBezTo>
                  <a:cubicBezTo>
                    <a:pt x="9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1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8" y="25"/>
                    <a:pt x="18" y="24"/>
                    <a:pt x="16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7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2" y="15"/>
                    <a:pt x="2" y="14"/>
                  </a:cubicBezTo>
                  <a:cubicBezTo>
                    <a:pt x="2" y="13"/>
                    <a:pt x="1" y="12"/>
                    <a:pt x="1" y="10"/>
                  </a:cubicBezTo>
                  <a:cubicBezTo>
                    <a:pt x="1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26" name="Freeform 44">
              <a:extLst>
                <a:ext uri="{FF2B5EF4-FFF2-40B4-BE49-F238E27FC236}">
                  <a16:creationId xmlns:a16="http://schemas.microsoft.com/office/drawing/2014/main" id="{A4440044-5486-483F-B652-7EE3849461B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58782" y="6212575"/>
              <a:ext cx="122060" cy="99391"/>
            </a:xfrm>
            <a:custGeom>
              <a:avLst/>
              <a:gdLst>
                <a:gd name="T0" fmla="*/ 55 w 70"/>
                <a:gd name="T1" fmla="*/ 57 h 57"/>
                <a:gd name="T2" fmla="*/ 45 w 70"/>
                <a:gd name="T3" fmla="*/ 57 h 57"/>
                <a:gd name="T4" fmla="*/ 35 w 70"/>
                <a:gd name="T5" fmla="*/ 17 h 57"/>
                <a:gd name="T6" fmla="*/ 25 w 70"/>
                <a:gd name="T7" fmla="*/ 57 h 57"/>
                <a:gd name="T8" fmla="*/ 14 w 70"/>
                <a:gd name="T9" fmla="*/ 57 h 57"/>
                <a:gd name="T10" fmla="*/ 0 w 70"/>
                <a:gd name="T11" fmla="*/ 0 h 57"/>
                <a:gd name="T12" fmla="*/ 10 w 70"/>
                <a:gd name="T13" fmla="*/ 0 h 57"/>
                <a:gd name="T14" fmla="*/ 20 w 70"/>
                <a:gd name="T15" fmla="*/ 39 h 57"/>
                <a:gd name="T16" fmla="*/ 30 w 70"/>
                <a:gd name="T17" fmla="*/ 0 h 57"/>
                <a:gd name="T18" fmla="*/ 39 w 70"/>
                <a:gd name="T19" fmla="*/ 0 h 57"/>
                <a:gd name="T20" fmla="*/ 49 w 70"/>
                <a:gd name="T21" fmla="*/ 39 h 57"/>
                <a:gd name="T22" fmla="*/ 60 w 70"/>
                <a:gd name="T23" fmla="*/ 0 h 57"/>
                <a:gd name="T24" fmla="*/ 70 w 70"/>
                <a:gd name="T25" fmla="*/ 0 h 57"/>
                <a:gd name="T26" fmla="*/ 55 w 70"/>
                <a:gd name="T27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7">
                  <a:moveTo>
                    <a:pt x="55" y="57"/>
                  </a:moveTo>
                  <a:lnTo>
                    <a:pt x="45" y="57"/>
                  </a:lnTo>
                  <a:lnTo>
                    <a:pt x="35" y="17"/>
                  </a:lnTo>
                  <a:lnTo>
                    <a:pt x="25" y="57"/>
                  </a:lnTo>
                  <a:lnTo>
                    <a:pt x="14" y="57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0" y="39"/>
                  </a:lnTo>
                  <a:lnTo>
                    <a:pt x="30" y="0"/>
                  </a:lnTo>
                  <a:lnTo>
                    <a:pt x="39" y="0"/>
                  </a:lnTo>
                  <a:lnTo>
                    <a:pt x="49" y="39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27" name="Freeform 45">
              <a:extLst>
                <a:ext uri="{FF2B5EF4-FFF2-40B4-BE49-F238E27FC236}">
                  <a16:creationId xmlns:a16="http://schemas.microsoft.com/office/drawing/2014/main" id="{446771E9-EA09-4256-8955-FE392C07AFC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1913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28" name="Freeform 46">
              <a:extLst>
                <a:ext uri="{FF2B5EF4-FFF2-40B4-BE49-F238E27FC236}">
                  <a16:creationId xmlns:a16="http://schemas.microsoft.com/office/drawing/2014/main" id="{FE985025-CAA5-44F2-9174-87CD1D8BA18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95927" y="6212575"/>
              <a:ext cx="57543" cy="99391"/>
            </a:xfrm>
            <a:custGeom>
              <a:avLst/>
              <a:gdLst>
                <a:gd name="T0" fmla="*/ 21 w 23"/>
                <a:gd name="T1" fmla="*/ 8 h 39"/>
                <a:gd name="T2" fmla="*/ 18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6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0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29" name="Freeform 47">
              <a:extLst>
                <a:ext uri="{FF2B5EF4-FFF2-40B4-BE49-F238E27FC236}">
                  <a16:creationId xmlns:a16="http://schemas.microsoft.com/office/drawing/2014/main" id="{1105FBBE-AD06-4F22-94D8-E2E98185FA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6494" y="6284068"/>
              <a:ext cx="29644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3 w 12"/>
                <a:gd name="T11" fmla="*/ 11 h 12"/>
                <a:gd name="T12" fmla="*/ 2 w 12"/>
                <a:gd name="T13" fmla="*/ 10 h 12"/>
                <a:gd name="T14" fmla="*/ 0 w 12"/>
                <a:gd name="T15" fmla="*/ 8 h 12"/>
                <a:gd name="T16" fmla="*/ 0 w 12"/>
                <a:gd name="T17" fmla="*/ 6 h 12"/>
                <a:gd name="T18" fmla="*/ 0 w 12"/>
                <a:gd name="T19" fmla="*/ 4 h 12"/>
                <a:gd name="T20" fmla="*/ 2 w 12"/>
                <a:gd name="T21" fmla="*/ 2 h 12"/>
                <a:gd name="T22" fmla="*/ 3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3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0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3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30" name="Freeform 48">
              <a:extLst>
                <a:ext uri="{FF2B5EF4-FFF2-40B4-BE49-F238E27FC236}">
                  <a16:creationId xmlns:a16="http://schemas.microsoft.com/office/drawing/2014/main" id="{8141824A-6AD4-4B53-B837-71461DD538C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388691"/>
              <a:ext cx="94161" cy="130778"/>
            </a:xfrm>
            <a:custGeom>
              <a:avLst/>
              <a:gdLst>
                <a:gd name="T0" fmla="*/ 32 w 54"/>
                <a:gd name="T1" fmla="*/ 12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2 h 75"/>
                <a:gd name="T8" fmla="*/ 0 w 54"/>
                <a:gd name="T9" fmla="*/ 12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2 h 75"/>
                <a:gd name="T16" fmla="*/ 32 w 54"/>
                <a:gd name="T17" fmla="*/ 12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2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2"/>
                  </a:lnTo>
                  <a:lnTo>
                    <a:pt x="0" y="12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2"/>
                  </a:lnTo>
                  <a:lnTo>
                    <a:pt x="32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31" name="Freeform 49">
              <a:extLst>
                <a:ext uri="{FF2B5EF4-FFF2-40B4-BE49-F238E27FC236}">
                  <a16:creationId xmlns:a16="http://schemas.microsoft.com/office/drawing/2014/main" id="{1CEF1D95-CD6C-417A-9539-CB4DBAA5E07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383459"/>
              <a:ext cx="78468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9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1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7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7"/>
                    <a:pt x="9" y="17"/>
                  </a:cubicBezTo>
                  <a:cubicBezTo>
                    <a:pt x="10" y="16"/>
                    <a:pt x="10" y="16"/>
                    <a:pt x="11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32" name="Freeform 50">
              <a:extLst>
                <a:ext uri="{FF2B5EF4-FFF2-40B4-BE49-F238E27FC236}">
                  <a16:creationId xmlns:a16="http://schemas.microsoft.com/office/drawing/2014/main" id="{BF6CB5D3-9648-4D73-AB7C-5374814E5BA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418333"/>
              <a:ext cx="85443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7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3 w 33"/>
                <a:gd name="T73" fmla="*/ 8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9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2" y="32"/>
                    <a:pt x="23" y="32"/>
                    <a:pt x="23" y="32"/>
                  </a:cubicBezTo>
                  <a:cubicBezTo>
                    <a:pt x="24" y="31"/>
                    <a:pt x="25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1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5" y="13"/>
                  </a:cubicBezTo>
                  <a:cubicBezTo>
                    <a:pt x="24" y="12"/>
                    <a:pt x="24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33" name="Freeform 51">
              <a:extLst>
                <a:ext uri="{FF2B5EF4-FFF2-40B4-BE49-F238E27FC236}">
                  <a16:creationId xmlns:a16="http://schemas.microsoft.com/office/drawing/2014/main" id="{55F0E322-3AEE-482E-8E59-9FB04FACA93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383459"/>
              <a:ext cx="83698" cy="137753"/>
            </a:xfrm>
            <a:custGeom>
              <a:avLst/>
              <a:gdLst>
                <a:gd name="T0" fmla="*/ 33 w 33"/>
                <a:gd name="T1" fmla="*/ 35 h 54"/>
                <a:gd name="T2" fmla="*/ 31 w 33"/>
                <a:gd name="T3" fmla="*/ 43 h 54"/>
                <a:gd name="T4" fmla="*/ 28 w 33"/>
                <a:gd name="T5" fmla="*/ 49 h 54"/>
                <a:gd name="T6" fmla="*/ 23 w 33"/>
                <a:gd name="T7" fmla="*/ 53 h 54"/>
                <a:gd name="T8" fmla="*/ 17 w 33"/>
                <a:gd name="T9" fmla="*/ 54 h 54"/>
                <a:gd name="T10" fmla="*/ 12 w 33"/>
                <a:gd name="T11" fmla="*/ 53 h 54"/>
                <a:gd name="T12" fmla="*/ 8 w 33"/>
                <a:gd name="T13" fmla="*/ 50 h 54"/>
                <a:gd name="T14" fmla="*/ 8 w 33"/>
                <a:gd name="T15" fmla="*/ 53 h 54"/>
                <a:gd name="T16" fmla="*/ 0 w 33"/>
                <a:gd name="T17" fmla="*/ 53 h 54"/>
                <a:gd name="T18" fmla="*/ 0 w 33"/>
                <a:gd name="T19" fmla="*/ 4 h 54"/>
                <a:gd name="T20" fmla="*/ 8 w 33"/>
                <a:gd name="T21" fmla="*/ 0 h 54"/>
                <a:gd name="T22" fmla="*/ 8 w 33"/>
                <a:gd name="T23" fmla="*/ 19 h 54"/>
                <a:gd name="T24" fmla="*/ 10 w 33"/>
                <a:gd name="T25" fmla="*/ 17 h 54"/>
                <a:gd name="T26" fmla="*/ 12 w 33"/>
                <a:gd name="T27" fmla="*/ 16 h 54"/>
                <a:gd name="T28" fmla="*/ 14 w 33"/>
                <a:gd name="T29" fmla="*/ 14 h 54"/>
                <a:gd name="T30" fmla="*/ 18 w 33"/>
                <a:gd name="T31" fmla="*/ 14 h 54"/>
                <a:gd name="T32" fmla="*/ 24 w 33"/>
                <a:gd name="T33" fmla="*/ 15 h 54"/>
                <a:gd name="T34" fmla="*/ 28 w 33"/>
                <a:gd name="T35" fmla="*/ 19 h 54"/>
                <a:gd name="T36" fmla="*/ 31 w 33"/>
                <a:gd name="T37" fmla="*/ 25 h 54"/>
                <a:gd name="T38" fmla="*/ 33 w 33"/>
                <a:gd name="T39" fmla="*/ 35 h 54"/>
                <a:gd name="T40" fmla="*/ 25 w 33"/>
                <a:gd name="T41" fmla="*/ 35 h 54"/>
                <a:gd name="T42" fmla="*/ 23 w 33"/>
                <a:gd name="T43" fmla="*/ 24 h 54"/>
                <a:gd name="T44" fmla="*/ 16 w 33"/>
                <a:gd name="T45" fmla="*/ 21 h 54"/>
                <a:gd name="T46" fmla="*/ 14 w 33"/>
                <a:gd name="T47" fmla="*/ 21 h 54"/>
                <a:gd name="T48" fmla="*/ 11 w 33"/>
                <a:gd name="T49" fmla="*/ 23 h 54"/>
                <a:gd name="T50" fmla="*/ 9 w 33"/>
                <a:gd name="T51" fmla="*/ 24 h 54"/>
                <a:gd name="T52" fmla="*/ 8 w 33"/>
                <a:gd name="T53" fmla="*/ 26 h 54"/>
                <a:gd name="T54" fmla="*/ 8 w 33"/>
                <a:gd name="T55" fmla="*/ 42 h 54"/>
                <a:gd name="T56" fmla="*/ 9 w 33"/>
                <a:gd name="T57" fmla="*/ 44 h 54"/>
                <a:gd name="T58" fmla="*/ 11 w 33"/>
                <a:gd name="T59" fmla="*/ 45 h 54"/>
                <a:gd name="T60" fmla="*/ 14 w 33"/>
                <a:gd name="T61" fmla="*/ 47 h 54"/>
                <a:gd name="T62" fmla="*/ 17 w 33"/>
                <a:gd name="T63" fmla="*/ 47 h 54"/>
                <a:gd name="T64" fmla="*/ 23 w 33"/>
                <a:gd name="T65" fmla="*/ 44 h 54"/>
                <a:gd name="T66" fmla="*/ 25 w 33"/>
                <a:gd name="T67" fmla="*/ 35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4">
                  <a:moveTo>
                    <a:pt x="33" y="35"/>
                  </a:moveTo>
                  <a:cubicBezTo>
                    <a:pt x="33" y="38"/>
                    <a:pt x="32" y="41"/>
                    <a:pt x="31" y="43"/>
                  </a:cubicBezTo>
                  <a:cubicBezTo>
                    <a:pt x="30" y="46"/>
                    <a:pt x="29" y="48"/>
                    <a:pt x="28" y="49"/>
                  </a:cubicBezTo>
                  <a:cubicBezTo>
                    <a:pt x="27" y="51"/>
                    <a:pt x="25" y="52"/>
                    <a:pt x="23" y="53"/>
                  </a:cubicBezTo>
                  <a:cubicBezTo>
                    <a:pt x="21" y="54"/>
                    <a:pt x="19" y="54"/>
                    <a:pt x="17" y="54"/>
                  </a:cubicBezTo>
                  <a:cubicBezTo>
                    <a:pt x="16" y="54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7"/>
                    <a:pt x="10" y="17"/>
                  </a:cubicBezTo>
                  <a:cubicBezTo>
                    <a:pt x="11" y="16"/>
                    <a:pt x="11" y="16"/>
                    <a:pt x="12" y="16"/>
                  </a:cubicBezTo>
                  <a:cubicBezTo>
                    <a:pt x="13" y="15"/>
                    <a:pt x="13" y="15"/>
                    <a:pt x="14" y="14"/>
                  </a:cubicBezTo>
                  <a:cubicBezTo>
                    <a:pt x="15" y="14"/>
                    <a:pt x="16" y="14"/>
                    <a:pt x="18" y="14"/>
                  </a:cubicBezTo>
                  <a:cubicBezTo>
                    <a:pt x="20" y="14"/>
                    <a:pt x="22" y="14"/>
                    <a:pt x="24" y="15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30" y="21"/>
                    <a:pt x="31" y="23"/>
                    <a:pt x="31" y="25"/>
                  </a:cubicBezTo>
                  <a:cubicBezTo>
                    <a:pt x="32" y="28"/>
                    <a:pt x="33" y="31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0"/>
                    <a:pt x="24" y="27"/>
                    <a:pt x="23" y="24"/>
                  </a:cubicBezTo>
                  <a:cubicBezTo>
                    <a:pt x="21" y="22"/>
                    <a:pt x="19" y="21"/>
                    <a:pt x="16" y="21"/>
                  </a:cubicBezTo>
                  <a:cubicBezTo>
                    <a:pt x="15" y="21"/>
                    <a:pt x="15" y="21"/>
                    <a:pt x="14" y="21"/>
                  </a:cubicBezTo>
                  <a:cubicBezTo>
                    <a:pt x="13" y="22"/>
                    <a:pt x="12" y="22"/>
                    <a:pt x="11" y="23"/>
                  </a:cubicBezTo>
                  <a:cubicBezTo>
                    <a:pt x="11" y="23"/>
                    <a:pt x="10" y="24"/>
                    <a:pt x="9" y="24"/>
                  </a:cubicBezTo>
                  <a:cubicBezTo>
                    <a:pt x="9" y="25"/>
                    <a:pt x="8" y="25"/>
                    <a:pt x="8" y="26"/>
                  </a:cubicBezTo>
                  <a:cubicBezTo>
                    <a:pt x="8" y="42"/>
                    <a:pt x="8" y="42"/>
                    <a:pt x="8" y="42"/>
                  </a:cubicBezTo>
                  <a:cubicBezTo>
                    <a:pt x="8" y="43"/>
                    <a:pt x="9" y="43"/>
                    <a:pt x="9" y="44"/>
                  </a:cubicBezTo>
                  <a:cubicBezTo>
                    <a:pt x="10" y="44"/>
                    <a:pt x="11" y="45"/>
                    <a:pt x="11" y="45"/>
                  </a:cubicBezTo>
                  <a:cubicBezTo>
                    <a:pt x="12" y="46"/>
                    <a:pt x="13" y="46"/>
                    <a:pt x="14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9" y="47"/>
                    <a:pt x="21" y="46"/>
                    <a:pt x="23" y="44"/>
                  </a:cubicBezTo>
                  <a:cubicBezTo>
                    <a:pt x="24" y="42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34" name="Freeform 52">
              <a:extLst>
                <a:ext uri="{FF2B5EF4-FFF2-40B4-BE49-F238E27FC236}">
                  <a16:creationId xmlns:a16="http://schemas.microsoft.com/office/drawing/2014/main" id="{0D3C59AD-7CCF-4166-9D21-3C348488931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1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4" y="31"/>
                    <a:pt x="24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35" name="Freeform 53">
              <a:extLst>
                <a:ext uri="{FF2B5EF4-FFF2-40B4-BE49-F238E27FC236}">
                  <a16:creationId xmlns:a16="http://schemas.microsoft.com/office/drawing/2014/main" id="{9C9DA4CE-7B4D-42AE-9264-92B7D7757DD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1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2" y="54"/>
                    <a:pt x="11" y="54"/>
                  </a:cubicBezTo>
                  <a:cubicBezTo>
                    <a:pt x="10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2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36" name="Freeform 54">
              <a:extLst>
                <a:ext uri="{FF2B5EF4-FFF2-40B4-BE49-F238E27FC236}">
                  <a16:creationId xmlns:a16="http://schemas.microsoft.com/office/drawing/2014/main" id="{DBCBD0D2-5C9C-4B12-8CF8-9CA320825ED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37" name="Freeform 55">
              <a:extLst>
                <a:ext uri="{FF2B5EF4-FFF2-40B4-BE49-F238E27FC236}">
                  <a16:creationId xmlns:a16="http://schemas.microsoft.com/office/drawing/2014/main" id="{CDCFBD31-7961-4587-876E-1FAFC4E74AB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0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2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0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3" y="31"/>
                    <a:pt x="24" y="31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0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7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38" name="Freeform 56">
              <a:extLst>
                <a:ext uri="{FF2B5EF4-FFF2-40B4-BE49-F238E27FC236}">
                  <a16:creationId xmlns:a16="http://schemas.microsoft.com/office/drawing/2014/main" id="{52482C08-723A-4738-9787-3516B3C1714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418333"/>
              <a:ext cx="55799" cy="101135"/>
            </a:xfrm>
            <a:custGeom>
              <a:avLst/>
              <a:gdLst>
                <a:gd name="T0" fmla="*/ 20 w 22"/>
                <a:gd name="T1" fmla="*/ 9 h 39"/>
                <a:gd name="T2" fmla="*/ 18 w 22"/>
                <a:gd name="T3" fmla="*/ 8 h 39"/>
                <a:gd name="T4" fmla="*/ 15 w 22"/>
                <a:gd name="T5" fmla="*/ 7 h 39"/>
                <a:gd name="T6" fmla="*/ 9 w 22"/>
                <a:gd name="T7" fmla="*/ 10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1 h 39"/>
                <a:gd name="T16" fmla="*/ 7 w 22"/>
                <a:gd name="T17" fmla="*/ 1 h 39"/>
                <a:gd name="T18" fmla="*/ 7 w 22"/>
                <a:gd name="T19" fmla="*/ 5 h 39"/>
                <a:gd name="T20" fmla="*/ 9 w 22"/>
                <a:gd name="T21" fmla="*/ 3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1 h 39"/>
                <a:gd name="T30" fmla="*/ 22 w 22"/>
                <a:gd name="T31" fmla="*/ 2 h 39"/>
                <a:gd name="T32" fmla="*/ 20 w 22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7" y="8"/>
                    <a:pt x="16" y="7"/>
                    <a:pt x="15" y="7"/>
                  </a:cubicBezTo>
                  <a:cubicBezTo>
                    <a:pt x="12" y="7"/>
                    <a:pt x="10" y="8"/>
                    <a:pt x="9" y="10"/>
                  </a:cubicBezTo>
                  <a:cubicBezTo>
                    <a:pt x="8" y="12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8" y="4"/>
                    <a:pt x="8" y="3"/>
                    <a:pt x="9" y="3"/>
                  </a:cubicBezTo>
                  <a:cubicBezTo>
                    <a:pt x="9" y="2"/>
                    <a:pt x="10" y="2"/>
                    <a:pt x="11" y="1"/>
                  </a:cubicBezTo>
                  <a:cubicBezTo>
                    <a:pt x="11" y="1"/>
                    <a:pt x="12" y="1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1"/>
                  </a:cubicBezTo>
                  <a:cubicBezTo>
                    <a:pt x="21" y="1"/>
                    <a:pt x="22" y="1"/>
                    <a:pt x="22" y="2"/>
                  </a:cubicBezTo>
                  <a:lnTo>
                    <a:pt x="20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39" name="Freeform 57">
              <a:extLst>
                <a:ext uri="{FF2B5EF4-FFF2-40B4-BE49-F238E27FC236}">
                  <a16:creationId xmlns:a16="http://schemas.microsoft.com/office/drawing/2014/main" id="{5B72A8F0-33E3-42CD-88C2-C35BEC0E983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40" name="Freeform 58">
              <a:extLst>
                <a:ext uri="{FF2B5EF4-FFF2-40B4-BE49-F238E27FC236}">
                  <a16:creationId xmlns:a16="http://schemas.microsoft.com/office/drawing/2014/main" id="{73FC54A2-6588-499B-968A-79F4CA9CF5F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383459"/>
              <a:ext cx="80211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10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2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8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7"/>
                    <a:pt x="9" y="17"/>
                  </a:cubicBezTo>
                  <a:cubicBezTo>
                    <a:pt x="10" y="16"/>
                    <a:pt x="11" y="16"/>
                    <a:pt x="12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41" name="Freeform 59">
              <a:extLst>
                <a:ext uri="{FF2B5EF4-FFF2-40B4-BE49-F238E27FC236}">
                  <a16:creationId xmlns:a16="http://schemas.microsoft.com/office/drawing/2014/main" id="{1E6AB002-C130-4648-A18E-BA496FF1756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8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2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6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1 w 33"/>
                <a:gd name="T69" fmla="*/ 8 h 40"/>
                <a:gd name="T70" fmla="*/ 17 w 33"/>
                <a:gd name="T71" fmla="*/ 7 h 40"/>
                <a:gd name="T72" fmla="*/ 13 w 33"/>
                <a:gd name="T73" fmla="*/ 8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6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10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3" y="32"/>
                    <a:pt x="23" y="32"/>
                    <a:pt x="24" y="32"/>
                  </a:cubicBezTo>
                  <a:cubicBezTo>
                    <a:pt x="24" y="31"/>
                    <a:pt x="25" y="31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7" y="38"/>
                    <a:pt x="26" y="38"/>
                    <a:pt x="25" y="39"/>
                  </a:cubicBezTo>
                  <a:cubicBezTo>
                    <a:pt x="24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4" y="40"/>
                    <a:pt x="12" y="39"/>
                  </a:cubicBezTo>
                  <a:cubicBezTo>
                    <a:pt x="11" y="39"/>
                    <a:pt x="10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4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5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6" y="17"/>
                  </a:moveTo>
                  <a:cubicBezTo>
                    <a:pt x="26" y="15"/>
                    <a:pt x="25" y="14"/>
                    <a:pt x="25" y="13"/>
                  </a:cubicBezTo>
                  <a:cubicBezTo>
                    <a:pt x="25" y="12"/>
                    <a:pt x="24" y="11"/>
                    <a:pt x="23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20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6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42" name="Freeform 60">
              <a:extLst>
                <a:ext uri="{FF2B5EF4-FFF2-40B4-BE49-F238E27FC236}">
                  <a16:creationId xmlns:a16="http://schemas.microsoft.com/office/drawing/2014/main" id="{B0044278-9F7F-4596-96D2-ACFBE0DEC0B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7435" y="6421821"/>
              <a:ext cx="122060" cy="97648"/>
            </a:xfrm>
            <a:custGeom>
              <a:avLst/>
              <a:gdLst>
                <a:gd name="T0" fmla="*/ 56 w 70"/>
                <a:gd name="T1" fmla="*/ 56 h 56"/>
                <a:gd name="T2" fmla="*/ 46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5 w 70"/>
                <a:gd name="T9" fmla="*/ 56 h 56"/>
                <a:gd name="T10" fmla="*/ 0 w 70"/>
                <a:gd name="T11" fmla="*/ 0 h 56"/>
                <a:gd name="T12" fmla="*/ 10 w 70"/>
                <a:gd name="T13" fmla="*/ 0 h 56"/>
                <a:gd name="T14" fmla="*/ 21 w 70"/>
                <a:gd name="T15" fmla="*/ 38 h 56"/>
                <a:gd name="T16" fmla="*/ 31 w 70"/>
                <a:gd name="T17" fmla="*/ 0 h 56"/>
                <a:gd name="T18" fmla="*/ 40 w 70"/>
                <a:gd name="T19" fmla="*/ 0 h 56"/>
                <a:gd name="T20" fmla="*/ 50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6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6" y="56"/>
                  </a:moveTo>
                  <a:lnTo>
                    <a:pt x="46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5" y="56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1" y="38"/>
                  </a:lnTo>
                  <a:lnTo>
                    <a:pt x="31" y="0"/>
                  </a:lnTo>
                  <a:lnTo>
                    <a:pt x="40" y="0"/>
                  </a:lnTo>
                  <a:lnTo>
                    <a:pt x="50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6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43" name="Freeform 61">
              <a:extLst>
                <a:ext uri="{FF2B5EF4-FFF2-40B4-BE49-F238E27FC236}">
                  <a16:creationId xmlns:a16="http://schemas.microsoft.com/office/drawing/2014/main" id="{79F75E0D-27A7-44C1-BF19-495F4768F99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859957" y="6418333"/>
              <a:ext cx="87186" cy="102879"/>
            </a:xfrm>
            <a:custGeom>
              <a:avLst/>
              <a:gdLst>
                <a:gd name="T0" fmla="*/ 34 w 34"/>
                <a:gd name="T1" fmla="*/ 20 h 40"/>
                <a:gd name="T2" fmla="*/ 33 w 34"/>
                <a:gd name="T3" fmla="*/ 28 h 40"/>
                <a:gd name="T4" fmla="*/ 29 w 34"/>
                <a:gd name="T5" fmla="*/ 35 h 40"/>
                <a:gd name="T6" fmla="*/ 24 w 34"/>
                <a:gd name="T7" fmla="*/ 39 h 40"/>
                <a:gd name="T8" fmla="*/ 17 w 34"/>
                <a:gd name="T9" fmla="*/ 40 h 40"/>
                <a:gd name="T10" fmla="*/ 10 w 34"/>
                <a:gd name="T11" fmla="*/ 39 h 40"/>
                <a:gd name="T12" fmla="*/ 5 w 34"/>
                <a:gd name="T13" fmla="*/ 35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2 h 40"/>
                <a:gd name="T20" fmla="*/ 5 w 34"/>
                <a:gd name="T21" fmla="*/ 5 h 40"/>
                <a:gd name="T22" fmla="*/ 11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2 h 40"/>
                <a:gd name="T32" fmla="*/ 34 w 34"/>
                <a:gd name="T33" fmla="*/ 20 h 40"/>
                <a:gd name="T34" fmla="*/ 27 w 34"/>
                <a:gd name="T35" fmla="*/ 20 h 40"/>
                <a:gd name="T36" fmla="*/ 26 w 34"/>
                <a:gd name="T37" fmla="*/ 15 h 40"/>
                <a:gd name="T38" fmla="*/ 24 w 34"/>
                <a:gd name="T39" fmla="*/ 11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1 h 40"/>
                <a:gd name="T48" fmla="*/ 8 w 34"/>
                <a:gd name="T49" fmla="*/ 15 h 40"/>
                <a:gd name="T50" fmla="*/ 8 w 34"/>
                <a:gd name="T51" fmla="*/ 20 h 40"/>
                <a:gd name="T52" fmla="*/ 8 w 34"/>
                <a:gd name="T53" fmla="*/ 26 h 40"/>
                <a:gd name="T54" fmla="*/ 10 w 34"/>
                <a:gd name="T55" fmla="*/ 30 h 40"/>
                <a:gd name="T56" fmla="*/ 13 w 34"/>
                <a:gd name="T57" fmla="*/ 32 h 40"/>
                <a:gd name="T58" fmla="*/ 17 w 34"/>
                <a:gd name="T59" fmla="*/ 33 h 40"/>
                <a:gd name="T60" fmla="*/ 21 w 34"/>
                <a:gd name="T61" fmla="*/ 32 h 40"/>
                <a:gd name="T62" fmla="*/ 24 w 34"/>
                <a:gd name="T63" fmla="*/ 29 h 40"/>
                <a:gd name="T64" fmla="*/ 26 w 34"/>
                <a:gd name="T65" fmla="*/ 25 h 40"/>
                <a:gd name="T66" fmla="*/ 27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20"/>
                  </a:moveTo>
                  <a:cubicBezTo>
                    <a:pt x="34" y="23"/>
                    <a:pt x="34" y="26"/>
                    <a:pt x="33" y="28"/>
                  </a:cubicBezTo>
                  <a:cubicBezTo>
                    <a:pt x="32" y="31"/>
                    <a:pt x="31" y="33"/>
                    <a:pt x="29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2" y="40"/>
                    <a:pt x="10" y="39"/>
                  </a:cubicBezTo>
                  <a:cubicBezTo>
                    <a:pt x="8" y="38"/>
                    <a:pt x="6" y="36"/>
                    <a:pt x="5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1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7" y="4"/>
                    <a:pt x="8" y="2"/>
                    <a:pt x="11" y="1"/>
                  </a:cubicBezTo>
                  <a:cubicBezTo>
                    <a:pt x="13" y="1"/>
                    <a:pt x="15" y="0"/>
                    <a:pt x="17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4" y="17"/>
                    <a:pt x="34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3" y="10"/>
                    <a:pt x="22" y="9"/>
                    <a:pt x="21" y="8"/>
                  </a:cubicBezTo>
                  <a:cubicBezTo>
                    <a:pt x="20" y="8"/>
                    <a:pt x="18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9" y="12"/>
                    <a:pt x="9" y="13"/>
                    <a:pt x="8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8" y="26"/>
                  </a:cubicBezTo>
                  <a:cubicBezTo>
                    <a:pt x="9" y="27"/>
                    <a:pt x="10" y="28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44" name="Freeform 62">
              <a:extLst>
                <a:ext uri="{FF2B5EF4-FFF2-40B4-BE49-F238E27FC236}">
                  <a16:creationId xmlns:a16="http://schemas.microsoft.com/office/drawing/2014/main" id="{E5B9E395-C74C-4D98-8911-EE2C765D8B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8067" y="6418333"/>
              <a:ext cx="57543" cy="101135"/>
            </a:xfrm>
            <a:custGeom>
              <a:avLst/>
              <a:gdLst>
                <a:gd name="T0" fmla="*/ 21 w 23"/>
                <a:gd name="T1" fmla="*/ 9 h 39"/>
                <a:gd name="T2" fmla="*/ 18 w 23"/>
                <a:gd name="T3" fmla="*/ 8 h 39"/>
                <a:gd name="T4" fmla="*/ 15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9 w 23"/>
                <a:gd name="T21" fmla="*/ 3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8" y="8"/>
                    <a:pt x="17" y="7"/>
                    <a:pt x="15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8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9" y="3"/>
                  </a:cubicBezTo>
                  <a:cubicBezTo>
                    <a:pt x="10" y="2"/>
                    <a:pt x="11" y="2"/>
                    <a:pt x="11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1"/>
                  </a:cubicBezTo>
                  <a:cubicBezTo>
                    <a:pt x="21" y="1"/>
                    <a:pt x="22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45" name="Freeform 63">
              <a:extLst>
                <a:ext uri="{FF2B5EF4-FFF2-40B4-BE49-F238E27FC236}">
                  <a16:creationId xmlns:a16="http://schemas.microsoft.com/office/drawing/2014/main" id="{53BB8418-388C-4142-9A80-8BF00A87F7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3046" y="6383459"/>
              <a:ext cx="19181" cy="136010"/>
            </a:xfrm>
            <a:custGeom>
              <a:avLst/>
              <a:gdLst>
                <a:gd name="T0" fmla="*/ 0 w 11"/>
                <a:gd name="T1" fmla="*/ 78 h 78"/>
                <a:gd name="T2" fmla="*/ 0 w 11"/>
                <a:gd name="T3" fmla="*/ 6 h 78"/>
                <a:gd name="T4" fmla="*/ 11 w 11"/>
                <a:gd name="T5" fmla="*/ 0 h 78"/>
                <a:gd name="T6" fmla="*/ 11 w 11"/>
                <a:gd name="T7" fmla="*/ 78 h 78"/>
                <a:gd name="T8" fmla="*/ 0 w 11"/>
                <a:gd name="T9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78">
                  <a:moveTo>
                    <a:pt x="0" y="78"/>
                  </a:moveTo>
                  <a:lnTo>
                    <a:pt x="0" y="6"/>
                  </a:lnTo>
                  <a:lnTo>
                    <a:pt x="11" y="0"/>
                  </a:lnTo>
                  <a:lnTo>
                    <a:pt x="11" y="78"/>
                  </a:lnTo>
                  <a:lnTo>
                    <a:pt x="0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46" name="Freeform 64">
              <a:extLst>
                <a:ext uri="{FF2B5EF4-FFF2-40B4-BE49-F238E27FC236}">
                  <a16:creationId xmlns:a16="http://schemas.microsoft.com/office/drawing/2014/main" id="{0256DB41-B3C1-4FEB-B394-9762C00E7F7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084896" y="6383459"/>
              <a:ext cx="80211" cy="137753"/>
            </a:xfrm>
            <a:custGeom>
              <a:avLst/>
              <a:gdLst>
                <a:gd name="T0" fmla="*/ 24 w 32"/>
                <a:gd name="T1" fmla="*/ 53 h 54"/>
                <a:gd name="T2" fmla="*/ 24 w 32"/>
                <a:gd name="T3" fmla="*/ 50 h 54"/>
                <a:gd name="T4" fmla="*/ 22 w 32"/>
                <a:gd name="T5" fmla="*/ 51 h 54"/>
                <a:gd name="T6" fmla="*/ 20 w 32"/>
                <a:gd name="T7" fmla="*/ 53 h 54"/>
                <a:gd name="T8" fmla="*/ 17 w 32"/>
                <a:gd name="T9" fmla="*/ 54 h 54"/>
                <a:gd name="T10" fmla="*/ 14 w 32"/>
                <a:gd name="T11" fmla="*/ 54 h 54"/>
                <a:gd name="T12" fmla="*/ 9 w 32"/>
                <a:gd name="T13" fmla="*/ 53 h 54"/>
                <a:gd name="T14" fmla="*/ 4 w 32"/>
                <a:gd name="T15" fmla="*/ 49 h 54"/>
                <a:gd name="T16" fmla="*/ 1 w 32"/>
                <a:gd name="T17" fmla="*/ 43 h 54"/>
                <a:gd name="T18" fmla="*/ 0 w 32"/>
                <a:gd name="T19" fmla="*/ 33 h 54"/>
                <a:gd name="T20" fmla="*/ 1 w 32"/>
                <a:gd name="T21" fmla="*/ 25 h 54"/>
                <a:gd name="T22" fmla="*/ 4 w 32"/>
                <a:gd name="T23" fmla="*/ 19 h 54"/>
                <a:gd name="T24" fmla="*/ 9 w 32"/>
                <a:gd name="T25" fmla="*/ 15 h 54"/>
                <a:gd name="T26" fmla="*/ 15 w 32"/>
                <a:gd name="T27" fmla="*/ 14 h 54"/>
                <a:gd name="T28" fmla="*/ 18 w 32"/>
                <a:gd name="T29" fmla="*/ 14 h 54"/>
                <a:gd name="T30" fmla="*/ 20 w 32"/>
                <a:gd name="T31" fmla="*/ 15 h 54"/>
                <a:gd name="T32" fmla="*/ 22 w 32"/>
                <a:gd name="T33" fmla="*/ 17 h 54"/>
                <a:gd name="T34" fmla="*/ 24 w 32"/>
                <a:gd name="T35" fmla="*/ 18 h 54"/>
                <a:gd name="T36" fmla="*/ 24 w 32"/>
                <a:gd name="T37" fmla="*/ 4 h 54"/>
                <a:gd name="T38" fmla="*/ 32 w 32"/>
                <a:gd name="T39" fmla="*/ 0 h 54"/>
                <a:gd name="T40" fmla="*/ 32 w 32"/>
                <a:gd name="T41" fmla="*/ 53 h 54"/>
                <a:gd name="T42" fmla="*/ 24 w 32"/>
                <a:gd name="T43" fmla="*/ 53 h 54"/>
                <a:gd name="T44" fmla="*/ 24 w 32"/>
                <a:gd name="T45" fmla="*/ 26 h 54"/>
                <a:gd name="T46" fmla="*/ 23 w 32"/>
                <a:gd name="T47" fmla="*/ 24 h 54"/>
                <a:gd name="T48" fmla="*/ 21 w 32"/>
                <a:gd name="T49" fmla="*/ 23 h 54"/>
                <a:gd name="T50" fmla="*/ 18 w 32"/>
                <a:gd name="T51" fmla="*/ 22 h 54"/>
                <a:gd name="T52" fmla="*/ 15 w 32"/>
                <a:gd name="T53" fmla="*/ 21 h 54"/>
                <a:gd name="T54" fmla="*/ 9 w 32"/>
                <a:gd name="T55" fmla="*/ 24 h 54"/>
                <a:gd name="T56" fmla="*/ 7 w 32"/>
                <a:gd name="T57" fmla="*/ 33 h 54"/>
                <a:gd name="T58" fmla="*/ 8 w 32"/>
                <a:gd name="T59" fmla="*/ 39 h 54"/>
                <a:gd name="T60" fmla="*/ 9 w 32"/>
                <a:gd name="T61" fmla="*/ 44 h 54"/>
                <a:gd name="T62" fmla="*/ 12 w 32"/>
                <a:gd name="T63" fmla="*/ 46 h 54"/>
                <a:gd name="T64" fmla="*/ 16 w 32"/>
                <a:gd name="T65" fmla="*/ 47 h 54"/>
                <a:gd name="T66" fmla="*/ 18 w 32"/>
                <a:gd name="T67" fmla="*/ 47 h 54"/>
                <a:gd name="T68" fmla="*/ 21 w 32"/>
                <a:gd name="T69" fmla="*/ 46 h 54"/>
                <a:gd name="T70" fmla="*/ 23 w 32"/>
                <a:gd name="T71" fmla="*/ 44 h 54"/>
                <a:gd name="T72" fmla="*/ 24 w 32"/>
                <a:gd name="T73" fmla="*/ 42 h 54"/>
                <a:gd name="T74" fmla="*/ 24 w 32"/>
                <a:gd name="T75" fmla="*/ 2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2" h="54">
                  <a:moveTo>
                    <a:pt x="24" y="53"/>
                  </a:moveTo>
                  <a:cubicBezTo>
                    <a:pt x="24" y="50"/>
                    <a:pt x="24" y="50"/>
                    <a:pt x="24" y="50"/>
                  </a:cubicBezTo>
                  <a:cubicBezTo>
                    <a:pt x="24" y="50"/>
                    <a:pt x="23" y="51"/>
                    <a:pt x="22" y="51"/>
                  </a:cubicBezTo>
                  <a:cubicBezTo>
                    <a:pt x="21" y="52"/>
                    <a:pt x="21" y="52"/>
                    <a:pt x="20" y="53"/>
                  </a:cubicBezTo>
                  <a:cubicBezTo>
                    <a:pt x="19" y="53"/>
                    <a:pt x="18" y="54"/>
                    <a:pt x="17" y="54"/>
                  </a:cubicBezTo>
                  <a:cubicBezTo>
                    <a:pt x="16" y="54"/>
                    <a:pt x="15" y="54"/>
                    <a:pt x="14" y="54"/>
                  </a:cubicBezTo>
                  <a:cubicBezTo>
                    <a:pt x="12" y="54"/>
                    <a:pt x="10" y="54"/>
                    <a:pt x="9" y="53"/>
                  </a:cubicBezTo>
                  <a:cubicBezTo>
                    <a:pt x="7" y="52"/>
                    <a:pt x="5" y="51"/>
                    <a:pt x="4" y="49"/>
                  </a:cubicBezTo>
                  <a:cubicBezTo>
                    <a:pt x="3" y="48"/>
                    <a:pt x="1" y="45"/>
                    <a:pt x="1" y="43"/>
                  </a:cubicBezTo>
                  <a:cubicBezTo>
                    <a:pt x="0" y="40"/>
                    <a:pt x="0" y="37"/>
                    <a:pt x="0" y="33"/>
                  </a:cubicBezTo>
                  <a:cubicBezTo>
                    <a:pt x="0" y="30"/>
                    <a:pt x="0" y="27"/>
                    <a:pt x="1" y="25"/>
                  </a:cubicBezTo>
                  <a:cubicBezTo>
                    <a:pt x="2" y="22"/>
                    <a:pt x="3" y="20"/>
                    <a:pt x="4" y="19"/>
                  </a:cubicBezTo>
                  <a:cubicBezTo>
                    <a:pt x="6" y="17"/>
                    <a:pt x="7" y="16"/>
                    <a:pt x="9" y="15"/>
                  </a:cubicBezTo>
                  <a:cubicBezTo>
                    <a:pt x="11" y="14"/>
                    <a:pt x="13" y="14"/>
                    <a:pt x="15" y="14"/>
                  </a:cubicBezTo>
                  <a:cubicBezTo>
                    <a:pt x="16" y="14"/>
                    <a:pt x="17" y="14"/>
                    <a:pt x="18" y="14"/>
                  </a:cubicBezTo>
                  <a:cubicBezTo>
                    <a:pt x="18" y="15"/>
                    <a:pt x="19" y="15"/>
                    <a:pt x="20" y="15"/>
                  </a:cubicBezTo>
                  <a:cubicBezTo>
                    <a:pt x="21" y="16"/>
                    <a:pt x="22" y="16"/>
                    <a:pt x="22" y="17"/>
                  </a:cubicBezTo>
                  <a:cubicBezTo>
                    <a:pt x="23" y="17"/>
                    <a:pt x="24" y="18"/>
                    <a:pt x="24" y="18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53"/>
                    <a:pt x="32" y="53"/>
                    <a:pt x="32" y="53"/>
                  </a:cubicBezTo>
                  <a:lnTo>
                    <a:pt x="24" y="53"/>
                  </a:lnTo>
                  <a:close/>
                  <a:moveTo>
                    <a:pt x="24" y="26"/>
                  </a:moveTo>
                  <a:cubicBezTo>
                    <a:pt x="24" y="26"/>
                    <a:pt x="23" y="25"/>
                    <a:pt x="23" y="24"/>
                  </a:cubicBezTo>
                  <a:cubicBezTo>
                    <a:pt x="22" y="24"/>
                    <a:pt x="22" y="23"/>
                    <a:pt x="21" y="23"/>
                  </a:cubicBezTo>
                  <a:cubicBezTo>
                    <a:pt x="20" y="22"/>
                    <a:pt x="19" y="22"/>
                    <a:pt x="18" y="22"/>
                  </a:cubicBezTo>
                  <a:cubicBezTo>
                    <a:pt x="17" y="21"/>
                    <a:pt x="16" y="21"/>
                    <a:pt x="15" y="21"/>
                  </a:cubicBezTo>
                  <a:cubicBezTo>
                    <a:pt x="13" y="21"/>
                    <a:pt x="11" y="22"/>
                    <a:pt x="9" y="24"/>
                  </a:cubicBezTo>
                  <a:cubicBezTo>
                    <a:pt x="8" y="26"/>
                    <a:pt x="7" y="29"/>
                    <a:pt x="7" y="33"/>
                  </a:cubicBezTo>
                  <a:cubicBezTo>
                    <a:pt x="7" y="36"/>
                    <a:pt x="7" y="38"/>
                    <a:pt x="8" y="39"/>
                  </a:cubicBezTo>
                  <a:cubicBezTo>
                    <a:pt x="8" y="41"/>
                    <a:pt x="9" y="43"/>
                    <a:pt x="9" y="44"/>
                  </a:cubicBezTo>
                  <a:cubicBezTo>
                    <a:pt x="10" y="45"/>
                    <a:pt x="11" y="46"/>
                    <a:pt x="12" y="46"/>
                  </a:cubicBezTo>
                  <a:cubicBezTo>
                    <a:pt x="13" y="47"/>
                    <a:pt x="14" y="47"/>
                    <a:pt x="16" y="47"/>
                  </a:cubicBezTo>
                  <a:cubicBezTo>
                    <a:pt x="17" y="47"/>
                    <a:pt x="18" y="47"/>
                    <a:pt x="18" y="47"/>
                  </a:cubicBezTo>
                  <a:cubicBezTo>
                    <a:pt x="19" y="46"/>
                    <a:pt x="20" y="46"/>
                    <a:pt x="21" y="46"/>
                  </a:cubicBezTo>
                  <a:cubicBezTo>
                    <a:pt x="21" y="45"/>
                    <a:pt x="22" y="45"/>
                    <a:pt x="23" y="44"/>
                  </a:cubicBezTo>
                  <a:cubicBezTo>
                    <a:pt x="23" y="43"/>
                    <a:pt x="24" y="43"/>
                    <a:pt x="24" y="42"/>
                  </a:cubicBezTo>
                  <a:lnTo>
                    <a:pt x="24" y="2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47" name="Freeform 65">
              <a:extLst>
                <a:ext uri="{FF2B5EF4-FFF2-40B4-BE49-F238E27FC236}">
                  <a16:creationId xmlns:a16="http://schemas.microsoft.com/office/drawing/2014/main" id="{F2BC9C1F-3F30-47A6-B503-20FB179B7F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29624" y="6421821"/>
              <a:ext cx="122060" cy="97648"/>
            </a:xfrm>
            <a:custGeom>
              <a:avLst/>
              <a:gdLst>
                <a:gd name="T0" fmla="*/ 55 w 70"/>
                <a:gd name="T1" fmla="*/ 56 h 56"/>
                <a:gd name="T2" fmla="*/ 45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6 w 70"/>
                <a:gd name="T9" fmla="*/ 56 h 56"/>
                <a:gd name="T10" fmla="*/ 0 w 70"/>
                <a:gd name="T11" fmla="*/ 0 h 56"/>
                <a:gd name="T12" fmla="*/ 12 w 70"/>
                <a:gd name="T13" fmla="*/ 0 h 56"/>
                <a:gd name="T14" fmla="*/ 20 w 70"/>
                <a:gd name="T15" fmla="*/ 38 h 56"/>
                <a:gd name="T16" fmla="*/ 31 w 70"/>
                <a:gd name="T17" fmla="*/ 0 h 56"/>
                <a:gd name="T18" fmla="*/ 39 w 70"/>
                <a:gd name="T19" fmla="*/ 0 h 56"/>
                <a:gd name="T20" fmla="*/ 51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5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5" y="56"/>
                  </a:moveTo>
                  <a:lnTo>
                    <a:pt x="45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6" y="56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0" y="38"/>
                  </a:lnTo>
                  <a:lnTo>
                    <a:pt x="31" y="0"/>
                  </a:lnTo>
                  <a:lnTo>
                    <a:pt x="39" y="0"/>
                  </a:lnTo>
                  <a:lnTo>
                    <a:pt x="51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48" name="Freeform 66">
              <a:extLst>
                <a:ext uri="{FF2B5EF4-FFF2-40B4-BE49-F238E27FC236}">
                  <a16:creationId xmlns:a16="http://schemas.microsoft.com/office/drawing/2014/main" id="{F2E1921C-CA0E-4886-93CA-956A6497CF0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62147" y="6418333"/>
              <a:ext cx="88930" cy="102879"/>
            </a:xfrm>
            <a:custGeom>
              <a:avLst/>
              <a:gdLst>
                <a:gd name="T0" fmla="*/ 35 w 35"/>
                <a:gd name="T1" fmla="*/ 20 h 40"/>
                <a:gd name="T2" fmla="*/ 33 w 35"/>
                <a:gd name="T3" fmla="*/ 28 h 40"/>
                <a:gd name="T4" fmla="*/ 30 w 35"/>
                <a:gd name="T5" fmla="*/ 35 h 40"/>
                <a:gd name="T6" fmla="*/ 24 w 35"/>
                <a:gd name="T7" fmla="*/ 39 h 40"/>
                <a:gd name="T8" fmla="*/ 17 w 35"/>
                <a:gd name="T9" fmla="*/ 40 h 40"/>
                <a:gd name="T10" fmla="*/ 11 w 35"/>
                <a:gd name="T11" fmla="*/ 39 h 40"/>
                <a:gd name="T12" fmla="*/ 5 w 35"/>
                <a:gd name="T13" fmla="*/ 35 h 40"/>
                <a:gd name="T14" fmla="*/ 2 w 35"/>
                <a:gd name="T15" fmla="*/ 28 h 40"/>
                <a:gd name="T16" fmla="*/ 0 w 35"/>
                <a:gd name="T17" fmla="*/ 20 h 40"/>
                <a:gd name="T18" fmla="*/ 2 w 35"/>
                <a:gd name="T19" fmla="*/ 12 h 40"/>
                <a:gd name="T20" fmla="*/ 5 w 35"/>
                <a:gd name="T21" fmla="*/ 5 h 40"/>
                <a:gd name="T22" fmla="*/ 11 w 35"/>
                <a:gd name="T23" fmla="*/ 1 h 40"/>
                <a:gd name="T24" fmla="*/ 18 w 35"/>
                <a:gd name="T25" fmla="*/ 0 h 40"/>
                <a:gd name="T26" fmla="*/ 24 w 35"/>
                <a:gd name="T27" fmla="*/ 1 h 40"/>
                <a:gd name="T28" fmla="*/ 30 w 35"/>
                <a:gd name="T29" fmla="*/ 5 h 40"/>
                <a:gd name="T30" fmla="*/ 33 w 35"/>
                <a:gd name="T31" fmla="*/ 12 h 40"/>
                <a:gd name="T32" fmla="*/ 35 w 35"/>
                <a:gd name="T33" fmla="*/ 20 h 40"/>
                <a:gd name="T34" fmla="*/ 27 w 35"/>
                <a:gd name="T35" fmla="*/ 20 h 40"/>
                <a:gd name="T36" fmla="*/ 26 w 35"/>
                <a:gd name="T37" fmla="*/ 15 h 40"/>
                <a:gd name="T38" fmla="*/ 24 w 35"/>
                <a:gd name="T39" fmla="*/ 11 h 40"/>
                <a:gd name="T40" fmla="*/ 21 w 35"/>
                <a:gd name="T41" fmla="*/ 8 h 40"/>
                <a:gd name="T42" fmla="*/ 17 w 35"/>
                <a:gd name="T43" fmla="*/ 7 h 40"/>
                <a:gd name="T44" fmla="*/ 13 w 35"/>
                <a:gd name="T45" fmla="*/ 8 h 40"/>
                <a:gd name="T46" fmla="*/ 10 w 35"/>
                <a:gd name="T47" fmla="*/ 11 h 40"/>
                <a:gd name="T48" fmla="*/ 9 w 35"/>
                <a:gd name="T49" fmla="*/ 15 h 40"/>
                <a:gd name="T50" fmla="*/ 8 w 35"/>
                <a:gd name="T51" fmla="*/ 20 h 40"/>
                <a:gd name="T52" fmla="*/ 9 w 35"/>
                <a:gd name="T53" fmla="*/ 26 h 40"/>
                <a:gd name="T54" fmla="*/ 11 w 35"/>
                <a:gd name="T55" fmla="*/ 30 h 40"/>
                <a:gd name="T56" fmla="*/ 14 w 35"/>
                <a:gd name="T57" fmla="*/ 32 h 40"/>
                <a:gd name="T58" fmla="*/ 18 w 35"/>
                <a:gd name="T59" fmla="*/ 33 h 40"/>
                <a:gd name="T60" fmla="*/ 21 w 35"/>
                <a:gd name="T61" fmla="*/ 32 h 40"/>
                <a:gd name="T62" fmla="*/ 24 w 35"/>
                <a:gd name="T63" fmla="*/ 29 h 40"/>
                <a:gd name="T64" fmla="*/ 26 w 35"/>
                <a:gd name="T65" fmla="*/ 25 h 40"/>
                <a:gd name="T66" fmla="*/ 27 w 35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5" h="40">
                  <a:moveTo>
                    <a:pt x="35" y="20"/>
                  </a:moveTo>
                  <a:cubicBezTo>
                    <a:pt x="35" y="23"/>
                    <a:pt x="34" y="26"/>
                    <a:pt x="33" y="28"/>
                  </a:cubicBezTo>
                  <a:cubicBezTo>
                    <a:pt x="32" y="31"/>
                    <a:pt x="31" y="33"/>
                    <a:pt x="30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3" y="40"/>
                    <a:pt x="11" y="39"/>
                  </a:cubicBezTo>
                  <a:cubicBezTo>
                    <a:pt x="8" y="38"/>
                    <a:pt x="7" y="36"/>
                    <a:pt x="5" y="35"/>
                  </a:cubicBezTo>
                  <a:cubicBezTo>
                    <a:pt x="4" y="33"/>
                    <a:pt x="2" y="31"/>
                    <a:pt x="2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3" y="9"/>
                    <a:pt x="4" y="7"/>
                    <a:pt x="5" y="5"/>
                  </a:cubicBezTo>
                  <a:cubicBezTo>
                    <a:pt x="7" y="4"/>
                    <a:pt x="9" y="2"/>
                    <a:pt x="11" y="1"/>
                  </a:cubicBezTo>
                  <a:cubicBezTo>
                    <a:pt x="13" y="1"/>
                    <a:pt x="15" y="0"/>
                    <a:pt x="18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30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5" y="17"/>
                    <a:pt x="35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4" y="10"/>
                    <a:pt x="23" y="9"/>
                    <a:pt x="21" y="8"/>
                  </a:cubicBezTo>
                  <a:cubicBezTo>
                    <a:pt x="20" y="8"/>
                    <a:pt x="19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10" y="12"/>
                    <a:pt x="9" y="13"/>
                    <a:pt x="9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9" y="26"/>
                  </a:cubicBezTo>
                  <a:cubicBezTo>
                    <a:pt x="9" y="27"/>
                    <a:pt x="10" y="28"/>
                    <a:pt x="11" y="30"/>
                  </a:cubicBezTo>
                  <a:cubicBezTo>
                    <a:pt x="11" y="31"/>
                    <a:pt x="12" y="32"/>
                    <a:pt x="14" y="32"/>
                  </a:cubicBezTo>
                  <a:cubicBezTo>
                    <a:pt x="15" y="33"/>
                    <a:pt x="16" y="33"/>
                    <a:pt x="18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3" y="31"/>
                    <a:pt x="24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49" name="Freeform 67">
              <a:extLst>
                <a:ext uri="{FF2B5EF4-FFF2-40B4-BE49-F238E27FC236}">
                  <a16:creationId xmlns:a16="http://schemas.microsoft.com/office/drawing/2014/main" id="{33147323-CD74-4B45-8B3D-9FC2D6ABC4D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68514" y="6418333"/>
              <a:ext cx="59286" cy="101135"/>
            </a:xfrm>
            <a:custGeom>
              <a:avLst/>
              <a:gdLst>
                <a:gd name="T0" fmla="*/ 21 w 23"/>
                <a:gd name="T1" fmla="*/ 9 h 39"/>
                <a:gd name="T2" fmla="*/ 19 w 23"/>
                <a:gd name="T3" fmla="*/ 8 h 39"/>
                <a:gd name="T4" fmla="*/ 16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10 w 23"/>
                <a:gd name="T21" fmla="*/ 3 h 39"/>
                <a:gd name="T22" fmla="*/ 12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1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20" y="8"/>
                    <a:pt x="19" y="8"/>
                  </a:cubicBezTo>
                  <a:cubicBezTo>
                    <a:pt x="18" y="8"/>
                    <a:pt x="17" y="7"/>
                    <a:pt x="16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9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10" y="3"/>
                  </a:cubicBezTo>
                  <a:cubicBezTo>
                    <a:pt x="10" y="2"/>
                    <a:pt x="11" y="2"/>
                    <a:pt x="12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20" y="0"/>
                    <a:pt x="21" y="1"/>
                  </a:cubicBezTo>
                  <a:cubicBezTo>
                    <a:pt x="22" y="1"/>
                    <a:pt x="23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50" name="Freeform 68">
              <a:extLst>
                <a:ext uri="{FF2B5EF4-FFF2-40B4-BE49-F238E27FC236}">
                  <a16:creationId xmlns:a16="http://schemas.microsoft.com/office/drawing/2014/main" id="{646502BE-8655-4E99-B8D3-19E6C1D2B9F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5237" y="6383459"/>
              <a:ext cx="76723" cy="136010"/>
            </a:xfrm>
            <a:custGeom>
              <a:avLst/>
              <a:gdLst>
                <a:gd name="T0" fmla="*/ 31 w 44"/>
                <a:gd name="T1" fmla="*/ 78 h 78"/>
                <a:gd name="T2" fmla="*/ 19 w 44"/>
                <a:gd name="T3" fmla="*/ 50 h 78"/>
                <a:gd name="T4" fmla="*/ 10 w 44"/>
                <a:gd name="T5" fmla="*/ 61 h 78"/>
                <a:gd name="T6" fmla="*/ 10 w 44"/>
                <a:gd name="T7" fmla="*/ 78 h 78"/>
                <a:gd name="T8" fmla="*/ 0 w 44"/>
                <a:gd name="T9" fmla="*/ 78 h 78"/>
                <a:gd name="T10" fmla="*/ 0 w 44"/>
                <a:gd name="T11" fmla="*/ 6 h 78"/>
                <a:gd name="T12" fmla="*/ 10 w 44"/>
                <a:gd name="T13" fmla="*/ 0 h 78"/>
                <a:gd name="T14" fmla="*/ 10 w 44"/>
                <a:gd name="T15" fmla="*/ 47 h 78"/>
                <a:gd name="T16" fmla="*/ 28 w 44"/>
                <a:gd name="T17" fmla="*/ 22 h 78"/>
                <a:gd name="T18" fmla="*/ 41 w 44"/>
                <a:gd name="T19" fmla="*/ 22 h 78"/>
                <a:gd name="T20" fmla="*/ 26 w 44"/>
                <a:gd name="T21" fmla="*/ 41 h 78"/>
                <a:gd name="T22" fmla="*/ 44 w 44"/>
                <a:gd name="T23" fmla="*/ 78 h 78"/>
                <a:gd name="T24" fmla="*/ 31 w 44"/>
                <a:gd name="T25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4" h="78">
                  <a:moveTo>
                    <a:pt x="31" y="78"/>
                  </a:moveTo>
                  <a:lnTo>
                    <a:pt x="19" y="50"/>
                  </a:lnTo>
                  <a:lnTo>
                    <a:pt x="10" y="61"/>
                  </a:lnTo>
                  <a:lnTo>
                    <a:pt x="10" y="78"/>
                  </a:lnTo>
                  <a:lnTo>
                    <a:pt x="0" y="78"/>
                  </a:lnTo>
                  <a:lnTo>
                    <a:pt x="0" y="6"/>
                  </a:lnTo>
                  <a:lnTo>
                    <a:pt x="10" y="0"/>
                  </a:lnTo>
                  <a:lnTo>
                    <a:pt x="10" y="47"/>
                  </a:lnTo>
                  <a:lnTo>
                    <a:pt x="28" y="22"/>
                  </a:lnTo>
                  <a:lnTo>
                    <a:pt x="41" y="22"/>
                  </a:lnTo>
                  <a:lnTo>
                    <a:pt x="26" y="41"/>
                  </a:lnTo>
                  <a:lnTo>
                    <a:pt x="44" y="78"/>
                  </a:lnTo>
                  <a:lnTo>
                    <a:pt x="31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51" name="Freeform 69">
              <a:extLst>
                <a:ext uri="{FF2B5EF4-FFF2-40B4-BE49-F238E27FC236}">
                  <a16:creationId xmlns:a16="http://schemas.microsoft.com/office/drawing/2014/main" id="{7B89F1B5-6B06-45D2-838B-039A44EFFD1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28936" y="6418333"/>
              <a:ext cx="74980" cy="102879"/>
            </a:xfrm>
            <a:custGeom>
              <a:avLst/>
              <a:gdLst>
                <a:gd name="T0" fmla="*/ 28 w 29"/>
                <a:gd name="T1" fmla="*/ 4 h 40"/>
                <a:gd name="T2" fmla="*/ 25 w 29"/>
                <a:gd name="T3" fmla="*/ 10 h 40"/>
                <a:gd name="T4" fmla="*/ 20 w 29"/>
                <a:gd name="T5" fmla="*/ 8 h 40"/>
                <a:gd name="T6" fmla="*/ 15 w 29"/>
                <a:gd name="T7" fmla="*/ 7 h 40"/>
                <a:gd name="T8" fmla="*/ 11 w 29"/>
                <a:gd name="T9" fmla="*/ 8 h 40"/>
                <a:gd name="T10" fmla="*/ 9 w 29"/>
                <a:gd name="T11" fmla="*/ 10 h 40"/>
                <a:gd name="T12" fmla="*/ 10 w 29"/>
                <a:gd name="T13" fmla="*/ 12 h 40"/>
                <a:gd name="T14" fmla="*/ 11 w 29"/>
                <a:gd name="T15" fmla="*/ 13 h 40"/>
                <a:gd name="T16" fmla="*/ 13 w 29"/>
                <a:gd name="T17" fmla="*/ 14 h 40"/>
                <a:gd name="T18" fmla="*/ 17 w 29"/>
                <a:gd name="T19" fmla="*/ 16 h 40"/>
                <a:gd name="T20" fmla="*/ 22 w 29"/>
                <a:gd name="T21" fmla="*/ 18 h 40"/>
                <a:gd name="T22" fmla="*/ 26 w 29"/>
                <a:gd name="T23" fmla="*/ 21 h 40"/>
                <a:gd name="T24" fmla="*/ 29 w 29"/>
                <a:gd name="T25" fmla="*/ 24 h 40"/>
                <a:gd name="T26" fmla="*/ 29 w 29"/>
                <a:gd name="T27" fmla="*/ 29 h 40"/>
                <a:gd name="T28" fmla="*/ 28 w 29"/>
                <a:gd name="T29" fmla="*/ 34 h 40"/>
                <a:gd name="T30" fmla="*/ 25 w 29"/>
                <a:gd name="T31" fmla="*/ 38 h 40"/>
                <a:gd name="T32" fmla="*/ 21 w 29"/>
                <a:gd name="T33" fmla="*/ 40 h 40"/>
                <a:gd name="T34" fmla="*/ 15 w 29"/>
                <a:gd name="T35" fmla="*/ 40 h 40"/>
                <a:gd name="T36" fmla="*/ 7 w 29"/>
                <a:gd name="T37" fmla="*/ 39 h 40"/>
                <a:gd name="T38" fmla="*/ 0 w 29"/>
                <a:gd name="T39" fmla="*/ 35 h 40"/>
                <a:gd name="T40" fmla="*/ 4 w 29"/>
                <a:gd name="T41" fmla="*/ 30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20 w 29"/>
                <a:gd name="T53" fmla="*/ 26 h 40"/>
                <a:gd name="T54" fmla="*/ 17 w 29"/>
                <a:gd name="T55" fmla="*/ 24 h 40"/>
                <a:gd name="T56" fmla="*/ 13 w 29"/>
                <a:gd name="T57" fmla="*/ 23 h 40"/>
                <a:gd name="T58" fmla="*/ 8 w 29"/>
                <a:gd name="T59" fmla="*/ 20 h 40"/>
                <a:gd name="T60" fmla="*/ 4 w 29"/>
                <a:gd name="T61" fmla="*/ 18 h 40"/>
                <a:gd name="T62" fmla="*/ 2 w 29"/>
                <a:gd name="T63" fmla="*/ 15 h 40"/>
                <a:gd name="T64" fmla="*/ 2 w 29"/>
                <a:gd name="T65" fmla="*/ 11 h 40"/>
                <a:gd name="T66" fmla="*/ 3 w 29"/>
                <a:gd name="T67" fmla="*/ 6 h 40"/>
                <a:gd name="T68" fmla="*/ 6 w 29"/>
                <a:gd name="T69" fmla="*/ 3 h 40"/>
                <a:gd name="T70" fmla="*/ 10 w 29"/>
                <a:gd name="T71" fmla="*/ 1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5" y="10"/>
                    <a:pt x="25" y="10"/>
                    <a:pt x="25" y="10"/>
                  </a:cubicBezTo>
                  <a:cubicBezTo>
                    <a:pt x="23" y="9"/>
                    <a:pt x="22" y="8"/>
                    <a:pt x="20" y="8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2" y="7"/>
                    <a:pt x="11" y="8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1"/>
                    <a:pt x="10" y="11"/>
                    <a:pt x="10" y="12"/>
                  </a:cubicBezTo>
                  <a:cubicBezTo>
                    <a:pt x="10" y="12"/>
                    <a:pt x="10" y="13"/>
                    <a:pt x="11" y="13"/>
                  </a:cubicBezTo>
                  <a:cubicBezTo>
                    <a:pt x="11" y="13"/>
                    <a:pt x="12" y="14"/>
                    <a:pt x="13" y="14"/>
                  </a:cubicBezTo>
                  <a:cubicBezTo>
                    <a:pt x="14" y="15"/>
                    <a:pt x="15" y="15"/>
                    <a:pt x="17" y="16"/>
                  </a:cubicBezTo>
                  <a:cubicBezTo>
                    <a:pt x="19" y="17"/>
                    <a:pt x="21" y="18"/>
                    <a:pt x="22" y="18"/>
                  </a:cubicBezTo>
                  <a:cubicBezTo>
                    <a:pt x="24" y="19"/>
                    <a:pt x="25" y="20"/>
                    <a:pt x="26" y="21"/>
                  </a:cubicBezTo>
                  <a:cubicBezTo>
                    <a:pt x="27" y="22"/>
                    <a:pt x="28" y="23"/>
                    <a:pt x="29" y="24"/>
                  </a:cubicBezTo>
                  <a:cubicBezTo>
                    <a:pt x="29" y="25"/>
                    <a:pt x="29" y="27"/>
                    <a:pt x="29" y="29"/>
                  </a:cubicBezTo>
                  <a:cubicBezTo>
                    <a:pt x="29" y="31"/>
                    <a:pt x="29" y="33"/>
                    <a:pt x="28" y="34"/>
                  </a:cubicBezTo>
                  <a:cubicBezTo>
                    <a:pt x="28" y="36"/>
                    <a:pt x="26" y="37"/>
                    <a:pt x="25" y="38"/>
                  </a:cubicBezTo>
                  <a:cubicBezTo>
                    <a:pt x="24" y="39"/>
                    <a:pt x="22" y="39"/>
                    <a:pt x="21" y="40"/>
                  </a:cubicBezTo>
                  <a:cubicBezTo>
                    <a:pt x="19" y="40"/>
                    <a:pt x="17" y="40"/>
                    <a:pt x="15" y="40"/>
                  </a:cubicBezTo>
                  <a:cubicBezTo>
                    <a:pt x="13" y="40"/>
                    <a:pt x="10" y="40"/>
                    <a:pt x="7" y="39"/>
                  </a:cubicBezTo>
                  <a:cubicBezTo>
                    <a:pt x="5" y="38"/>
                    <a:pt x="2" y="37"/>
                    <a:pt x="0" y="35"/>
                  </a:cubicBezTo>
                  <a:cubicBezTo>
                    <a:pt x="4" y="30"/>
                    <a:pt x="4" y="30"/>
                    <a:pt x="4" y="30"/>
                  </a:cubicBezTo>
                  <a:cubicBezTo>
                    <a:pt x="6" y="31"/>
                    <a:pt x="7" y="32"/>
                    <a:pt x="9" y="32"/>
                  </a:cubicBezTo>
                  <a:cubicBezTo>
                    <a:pt x="11" y="33"/>
                    <a:pt x="13" y="33"/>
                    <a:pt x="15" y="33"/>
                  </a:cubicBezTo>
                  <a:cubicBezTo>
                    <a:pt x="17" y="33"/>
                    <a:pt x="19" y="33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8"/>
                    <a:pt x="21" y="27"/>
                  </a:cubicBezTo>
                  <a:cubicBezTo>
                    <a:pt x="21" y="27"/>
                    <a:pt x="20" y="26"/>
                    <a:pt x="20" y="26"/>
                  </a:cubicBezTo>
                  <a:cubicBezTo>
                    <a:pt x="19" y="25"/>
                    <a:pt x="18" y="25"/>
                    <a:pt x="17" y="24"/>
                  </a:cubicBezTo>
                  <a:cubicBezTo>
                    <a:pt x="16" y="24"/>
                    <a:pt x="15" y="23"/>
                    <a:pt x="13" y="23"/>
                  </a:cubicBezTo>
                  <a:cubicBezTo>
                    <a:pt x="11" y="22"/>
                    <a:pt x="9" y="21"/>
                    <a:pt x="8" y="20"/>
                  </a:cubicBezTo>
                  <a:cubicBezTo>
                    <a:pt x="6" y="19"/>
                    <a:pt x="5" y="19"/>
                    <a:pt x="4" y="18"/>
                  </a:cubicBezTo>
                  <a:cubicBezTo>
                    <a:pt x="3" y="17"/>
                    <a:pt x="3" y="16"/>
                    <a:pt x="2" y="15"/>
                  </a:cubicBezTo>
                  <a:cubicBezTo>
                    <a:pt x="2" y="13"/>
                    <a:pt x="2" y="12"/>
                    <a:pt x="2" y="11"/>
                  </a:cubicBezTo>
                  <a:cubicBezTo>
                    <a:pt x="2" y="9"/>
                    <a:pt x="2" y="7"/>
                    <a:pt x="3" y="6"/>
                  </a:cubicBezTo>
                  <a:cubicBezTo>
                    <a:pt x="3" y="5"/>
                    <a:pt x="4" y="4"/>
                    <a:pt x="6" y="3"/>
                  </a:cubicBezTo>
                  <a:cubicBezTo>
                    <a:pt x="7" y="2"/>
                    <a:pt x="8" y="1"/>
                    <a:pt x="10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20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52" name="Freeform 70">
              <a:extLst>
                <a:ext uri="{FF2B5EF4-FFF2-40B4-BE49-F238E27FC236}">
                  <a16:creationId xmlns:a16="http://schemas.microsoft.com/office/drawing/2014/main" id="{07A005EC-C937-4146-8D02-C00C5931EB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23096" y="6489826"/>
              <a:ext cx="27899" cy="31387"/>
            </a:xfrm>
            <a:custGeom>
              <a:avLst/>
              <a:gdLst>
                <a:gd name="T0" fmla="*/ 11 w 11"/>
                <a:gd name="T1" fmla="*/ 6 h 12"/>
                <a:gd name="T2" fmla="*/ 11 w 11"/>
                <a:gd name="T3" fmla="*/ 9 h 12"/>
                <a:gd name="T4" fmla="*/ 10 w 11"/>
                <a:gd name="T5" fmla="*/ 10 h 12"/>
                <a:gd name="T6" fmla="*/ 8 w 11"/>
                <a:gd name="T7" fmla="*/ 12 h 12"/>
                <a:gd name="T8" fmla="*/ 6 w 11"/>
                <a:gd name="T9" fmla="*/ 12 h 12"/>
                <a:gd name="T10" fmla="*/ 3 w 11"/>
                <a:gd name="T11" fmla="*/ 12 h 12"/>
                <a:gd name="T12" fmla="*/ 1 w 11"/>
                <a:gd name="T13" fmla="*/ 10 h 12"/>
                <a:gd name="T14" fmla="*/ 0 w 11"/>
                <a:gd name="T15" fmla="*/ 9 h 12"/>
                <a:gd name="T16" fmla="*/ 0 w 11"/>
                <a:gd name="T17" fmla="*/ 6 h 12"/>
                <a:gd name="T18" fmla="*/ 0 w 11"/>
                <a:gd name="T19" fmla="*/ 4 h 12"/>
                <a:gd name="T20" fmla="*/ 1 w 11"/>
                <a:gd name="T21" fmla="*/ 2 h 12"/>
                <a:gd name="T22" fmla="*/ 3 w 11"/>
                <a:gd name="T23" fmla="*/ 1 h 12"/>
                <a:gd name="T24" fmla="*/ 6 w 11"/>
                <a:gd name="T25" fmla="*/ 0 h 12"/>
                <a:gd name="T26" fmla="*/ 8 w 11"/>
                <a:gd name="T27" fmla="*/ 1 h 12"/>
                <a:gd name="T28" fmla="*/ 10 w 11"/>
                <a:gd name="T29" fmla="*/ 2 h 12"/>
                <a:gd name="T30" fmla="*/ 11 w 11"/>
                <a:gd name="T31" fmla="*/ 4 h 12"/>
                <a:gd name="T32" fmla="*/ 11 w 11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" h="12">
                  <a:moveTo>
                    <a:pt x="11" y="6"/>
                  </a:moveTo>
                  <a:cubicBezTo>
                    <a:pt x="11" y="7"/>
                    <a:pt x="11" y="8"/>
                    <a:pt x="11" y="9"/>
                  </a:cubicBezTo>
                  <a:cubicBezTo>
                    <a:pt x="11" y="9"/>
                    <a:pt x="10" y="10"/>
                    <a:pt x="10" y="10"/>
                  </a:cubicBezTo>
                  <a:cubicBezTo>
                    <a:pt x="9" y="11"/>
                    <a:pt x="9" y="11"/>
                    <a:pt x="8" y="12"/>
                  </a:cubicBezTo>
                  <a:cubicBezTo>
                    <a:pt x="7" y="12"/>
                    <a:pt x="6" y="12"/>
                    <a:pt x="6" y="12"/>
                  </a:cubicBezTo>
                  <a:cubicBezTo>
                    <a:pt x="5" y="12"/>
                    <a:pt x="4" y="12"/>
                    <a:pt x="3" y="12"/>
                  </a:cubicBezTo>
                  <a:cubicBezTo>
                    <a:pt x="3" y="11"/>
                    <a:pt x="2" y="11"/>
                    <a:pt x="1" y="10"/>
                  </a:cubicBezTo>
                  <a:cubicBezTo>
                    <a:pt x="1" y="10"/>
                    <a:pt x="1" y="9"/>
                    <a:pt x="0" y="9"/>
                  </a:cubicBezTo>
                  <a:cubicBezTo>
                    <a:pt x="0" y="8"/>
                    <a:pt x="0" y="7"/>
                    <a:pt x="0" y="6"/>
                  </a:cubicBezTo>
                  <a:cubicBezTo>
                    <a:pt x="0" y="6"/>
                    <a:pt x="0" y="5"/>
                    <a:pt x="0" y="4"/>
                  </a:cubicBezTo>
                  <a:cubicBezTo>
                    <a:pt x="1" y="3"/>
                    <a:pt x="1" y="3"/>
                    <a:pt x="1" y="2"/>
                  </a:cubicBezTo>
                  <a:cubicBezTo>
                    <a:pt x="2" y="2"/>
                    <a:pt x="3" y="1"/>
                    <a:pt x="3" y="1"/>
                  </a:cubicBezTo>
                  <a:cubicBezTo>
                    <a:pt x="4" y="1"/>
                    <a:pt x="5" y="0"/>
                    <a:pt x="6" y="0"/>
                  </a:cubicBezTo>
                  <a:cubicBezTo>
                    <a:pt x="6" y="0"/>
                    <a:pt x="7" y="1"/>
                    <a:pt x="8" y="1"/>
                  </a:cubicBezTo>
                  <a:cubicBezTo>
                    <a:pt x="9" y="1"/>
                    <a:pt x="9" y="2"/>
                    <a:pt x="10" y="2"/>
                  </a:cubicBezTo>
                  <a:cubicBezTo>
                    <a:pt x="10" y="3"/>
                    <a:pt x="11" y="3"/>
                    <a:pt x="11" y="4"/>
                  </a:cubicBezTo>
                  <a:cubicBezTo>
                    <a:pt x="11" y="5"/>
                    <a:pt x="11" y="6"/>
                    <a:pt x="11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</p:grpSp>
      <p:sp>
        <p:nvSpPr>
          <p:cNvPr id="263" name="Title 1">
            <a:extLst>
              <a:ext uri="{FF2B5EF4-FFF2-40B4-BE49-F238E27FC236}">
                <a16:creationId xmlns:a16="http://schemas.microsoft.com/office/drawing/2014/main" id="{3F36D6CC-3534-47CC-AECE-83EDA4639FB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44388" y="2158329"/>
            <a:ext cx="3998354" cy="860400"/>
          </a:xfrm>
          <a:prstGeom prst="rect">
            <a:avLst/>
          </a:prstGeom>
        </p:spPr>
        <p:txBody>
          <a:bodyPr/>
          <a:lstStyle>
            <a:lvl1pPr>
              <a:defRPr sz="2998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64" name="Subtitle 2">
            <a:extLst>
              <a:ext uri="{FF2B5EF4-FFF2-40B4-BE49-F238E27FC236}">
                <a16:creationId xmlns:a16="http://schemas.microsoft.com/office/drawing/2014/main" id="{C26FB38E-4E99-4AFB-8C8C-F03F7A963D9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44580" y="3200329"/>
            <a:ext cx="4018535" cy="64574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998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  <a:lvl2pPr marL="0" indent="0" algn="l">
              <a:buNone/>
              <a:defRPr sz="1598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9134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2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69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37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04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72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3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GB"/>
          </a:p>
        </p:txBody>
      </p:sp>
      <p:grpSp>
        <p:nvGrpSpPr>
          <p:cNvPr id="82" name="Group 4">
            <a:extLst>
              <a:ext uri="{FF2B5EF4-FFF2-40B4-BE49-F238E27FC236}">
                <a16:creationId xmlns:a16="http://schemas.microsoft.com/office/drawing/2014/main" id="{A63454B3-EB4E-450A-98AA-6B5943D89732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59392" y="4960938"/>
            <a:ext cx="1224912" cy="1435100"/>
            <a:chOff x="6529" y="3125"/>
            <a:chExt cx="772" cy="904"/>
          </a:xfrm>
        </p:grpSpPr>
        <p:sp>
          <p:nvSpPr>
            <p:cNvPr id="83" name="Freeform 5">
              <a:extLst>
                <a:ext uri="{FF2B5EF4-FFF2-40B4-BE49-F238E27FC236}">
                  <a16:creationId xmlns:a16="http://schemas.microsoft.com/office/drawing/2014/main" id="{C4ED221A-C963-42C0-91ED-C597F6BDAF9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/>
            </a:p>
          </p:txBody>
        </p:sp>
        <p:sp>
          <p:nvSpPr>
            <p:cNvPr id="84" name="Freeform 6">
              <a:extLst>
                <a:ext uri="{FF2B5EF4-FFF2-40B4-BE49-F238E27FC236}">
                  <a16:creationId xmlns:a16="http://schemas.microsoft.com/office/drawing/2014/main" id="{7956D1CB-5F24-4766-80AE-D7551538344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/>
            </a:p>
          </p:txBody>
        </p:sp>
      </p:grpSp>
    </p:spTree>
    <p:extLst>
      <p:ext uri="{BB962C8B-B14F-4D97-AF65-F5344CB8AC3E}">
        <p14:creationId xmlns:p14="http://schemas.microsoft.com/office/powerpoint/2010/main" val="345491030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pproved question w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5" name="Group 234">
            <a:extLst>
              <a:ext uri="{FF2B5EF4-FFF2-40B4-BE49-F238E27FC236}">
                <a16:creationId xmlns:a16="http://schemas.microsoft.com/office/drawing/2014/main" id="{5342E118-6F1D-4C46-956E-4CCCBCAA7952}"/>
              </a:ext>
            </a:extLst>
          </p:cNvPr>
          <p:cNvGrpSpPr/>
          <p:nvPr userDrawn="1"/>
        </p:nvGrpSpPr>
        <p:grpSpPr>
          <a:xfrm>
            <a:off x="497856" y="5826615"/>
            <a:ext cx="3876004" cy="570195"/>
            <a:chOff x="498115" y="5951018"/>
            <a:chExt cx="3878023" cy="570195"/>
          </a:xfrm>
        </p:grpSpPr>
        <p:sp>
          <p:nvSpPr>
            <p:cNvPr id="168" name="Rectangle 167">
              <a:extLst>
                <a:ext uri="{FF2B5EF4-FFF2-40B4-BE49-F238E27FC236}">
                  <a16:creationId xmlns:a16="http://schemas.microsoft.com/office/drawing/2014/main" id="{A22049CA-64AE-409F-988D-A7317F8AD13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98115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/>
            </a:p>
          </p:txBody>
        </p:sp>
        <p:sp>
          <p:nvSpPr>
            <p:cNvPr id="169" name="Rectangle 6">
              <a:extLst>
                <a:ext uri="{FF2B5EF4-FFF2-40B4-BE49-F238E27FC236}">
                  <a16:creationId xmlns:a16="http://schemas.microsoft.com/office/drawing/2014/main" id="{E37A0A05-0A78-44A7-8873-0A1A20C8717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9341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/>
            </a:p>
          </p:txBody>
        </p:sp>
        <p:sp>
          <p:nvSpPr>
            <p:cNvPr id="170" name="Rectangle 7">
              <a:extLst>
                <a:ext uri="{FF2B5EF4-FFF2-40B4-BE49-F238E27FC236}">
                  <a16:creationId xmlns:a16="http://schemas.microsoft.com/office/drawing/2014/main" id="{0DEA0CBE-8527-4287-BF98-DA48947875F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9045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/>
            </a:p>
          </p:txBody>
        </p:sp>
        <p:sp>
          <p:nvSpPr>
            <p:cNvPr id="171" name="Freeform 8">
              <a:extLst>
                <a:ext uri="{FF2B5EF4-FFF2-40B4-BE49-F238E27FC236}">
                  <a16:creationId xmlns:a16="http://schemas.microsoft.com/office/drawing/2014/main" id="{444058C6-612A-446E-8F68-0E5CC4CFF36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181188"/>
              <a:ext cx="94161" cy="130778"/>
            </a:xfrm>
            <a:custGeom>
              <a:avLst/>
              <a:gdLst>
                <a:gd name="T0" fmla="*/ 32 w 54"/>
                <a:gd name="T1" fmla="*/ 11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1 h 75"/>
                <a:gd name="T8" fmla="*/ 0 w 54"/>
                <a:gd name="T9" fmla="*/ 11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1 h 75"/>
                <a:gd name="T16" fmla="*/ 32 w 54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1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1"/>
                  </a:lnTo>
                  <a:lnTo>
                    <a:pt x="32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172" name="Freeform 9">
              <a:extLst>
                <a:ext uri="{FF2B5EF4-FFF2-40B4-BE49-F238E27FC236}">
                  <a16:creationId xmlns:a16="http://schemas.microsoft.com/office/drawing/2014/main" id="{1011EC31-E0C3-404F-93B3-EFD3DADC11C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174213"/>
              <a:ext cx="78468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173" name="Freeform 10">
              <a:extLst>
                <a:ext uri="{FF2B5EF4-FFF2-40B4-BE49-F238E27FC236}">
                  <a16:creationId xmlns:a16="http://schemas.microsoft.com/office/drawing/2014/main" id="{3C9D076B-D88C-4089-8D58-9A31CFCDB02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174" name="Freeform 11">
              <a:extLst>
                <a:ext uri="{FF2B5EF4-FFF2-40B4-BE49-F238E27FC236}">
                  <a16:creationId xmlns:a16="http://schemas.microsoft.com/office/drawing/2014/main" id="{29DB43AC-B765-4ECB-B483-562473BD4A3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174213"/>
              <a:ext cx="83698" cy="139497"/>
            </a:xfrm>
            <a:custGeom>
              <a:avLst/>
              <a:gdLst>
                <a:gd name="T0" fmla="*/ 33 w 33"/>
                <a:gd name="T1" fmla="*/ 35 h 55"/>
                <a:gd name="T2" fmla="*/ 31 w 33"/>
                <a:gd name="T3" fmla="*/ 44 h 55"/>
                <a:gd name="T4" fmla="*/ 28 w 33"/>
                <a:gd name="T5" fmla="*/ 50 h 55"/>
                <a:gd name="T6" fmla="*/ 23 w 33"/>
                <a:gd name="T7" fmla="*/ 53 h 55"/>
                <a:gd name="T8" fmla="*/ 17 w 33"/>
                <a:gd name="T9" fmla="*/ 55 h 55"/>
                <a:gd name="T10" fmla="*/ 12 w 33"/>
                <a:gd name="T11" fmla="*/ 53 h 55"/>
                <a:gd name="T12" fmla="*/ 8 w 33"/>
                <a:gd name="T13" fmla="*/ 50 h 55"/>
                <a:gd name="T14" fmla="*/ 8 w 33"/>
                <a:gd name="T15" fmla="*/ 54 h 55"/>
                <a:gd name="T16" fmla="*/ 0 w 33"/>
                <a:gd name="T17" fmla="*/ 54 h 55"/>
                <a:gd name="T18" fmla="*/ 0 w 33"/>
                <a:gd name="T19" fmla="*/ 4 h 55"/>
                <a:gd name="T20" fmla="*/ 8 w 33"/>
                <a:gd name="T21" fmla="*/ 0 h 55"/>
                <a:gd name="T22" fmla="*/ 8 w 33"/>
                <a:gd name="T23" fmla="*/ 19 h 55"/>
                <a:gd name="T24" fmla="*/ 10 w 33"/>
                <a:gd name="T25" fmla="*/ 17 h 55"/>
                <a:gd name="T26" fmla="*/ 12 w 33"/>
                <a:gd name="T27" fmla="*/ 16 h 55"/>
                <a:gd name="T28" fmla="*/ 14 w 33"/>
                <a:gd name="T29" fmla="*/ 15 h 55"/>
                <a:gd name="T30" fmla="*/ 18 w 33"/>
                <a:gd name="T31" fmla="*/ 15 h 55"/>
                <a:gd name="T32" fmla="*/ 24 w 33"/>
                <a:gd name="T33" fmla="*/ 16 h 55"/>
                <a:gd name="T34" fmla="*/ 28 w 33"/>
                <a:gd name="T35" fmla="*/ 19 h 55"/>
                <a:gd name="T36" fmla="*/ 31 w 33"/>
                <a:gd name="T37" fmla="*/ 26 h 55"/>
                <a:gd name="T38" fmla="*/ 33 w 33"/>
                <a:gd name="T39" fmla="*/ 35 h 55"/>
                <a:gd name="T40" fmla="*/ 25 w 33"/>
                <a:gd name="T41" fmla="*/ 35 h 55"/>
                <a:gd name="T42" fmla="*/ 23 w 33"/>
                <a:gd name="T43" fmla="*/ 25 h 55"/>
                <a:gd name="T44" fmla="*/ 16 w 33"/>
                <a:gd name="T45" fmla="*/ 22 h 55"/>
                <a:gd name="T46" fmla="*/ 14 w 33"/>
                <a:gd name="T47" fmla="*/ 22 h 55"/>
                <a:gd name="T48" fmla="*/ 11 w 33"/>
                <a:gd name="T49" fmla="*/ 23 h 55"/>
                <a:gd name="T50" fmla="*/ 9 w 33"/>
                <a:gd name="T51" fmla="*/ 25 h 55"/>
                <a:gd name="T52" fmla="*/ 8 w 33"/>
                <a:gd name="T53" fmla="*/ 26 h 55"/>
                <a:gd name="T54" fmla="*/ 8 w 33"/>
                <a:gd name="T55" fmla="*/ 43 h 55"/>
                <a:gd name="T56" fmla="*/ 9 w 33"/>
                <a:gd name="T57" fmla="*/ 44 h 55"/>
                <a:gd name="T58" fmla="*/ 11 w 33"/>
                <a:gd name="T59" fmla="*/ 46 h 55"/>
                <a:gd name="T60" fmla="*/ 14 w 33"/>
                <a:gd name="T61" fmla="*/ 47 h 55"/>
                <a:gd name="T62" fmla="*/ 17 w 33"/>
                <a:gd name="T63" fmla="*/ 48 h 55"/>
                <a:gd name="T64" fmla="*/ 23 w 33"/>
                <a:gd name="T65" fmla="*/ 45 h 55"/>
                <a:gd name="T66" fmla="*/ 25 w 33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5">
                  <a:moveTo>
                    <a:pt x="33" y="35"/>
                  </a:moveTo>
                  <a:cubicBezTo>
                    <a:pt x="33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7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6" y="55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8"/>
                    <a:pt x="10" y="17"/>
                  </a:cubicBezTo>
                  <a:cubicBezTo>
                    <a:pt x="11" y="17"/>
                    <a:pt x="11" y="16"/>
                    <a:pt x="12" y="16"/>
                  </a:cubicBezTo>
                  <a:cubicBezTo>
                    <a:pt x="13" y="16"/>
                    <a:pt x="13" y="15"/>
                    <a:pt x="14" y="15"/>
                  </a:cubicBezTo>
                  <a:cubicBezTo>
                    <a:pt x="15" y="15"/>
                    <a:pt x="16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30" y="21"/>
                    <a:pt x="31" y="23"/>
                    <a:pt x="31" y="26"/>
                  </a:cubicBezTo>
                  <a:cubicBezTo>
                    <a:pt x="32" y="28"/>
                    <a:pt x="33" y="32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5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1" y="23"/>
                    <a:pt x="10" y="24"/>
                    <a:pt x="9" y="25"/>
                  </a:cubicBezTo>
                  <a:cubicBezTo>
                    <a:pt x="9" y="25"/>
                    <a:pt x="8" y="26"/>
                    <a:pt x="8" y="26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8" y="43"/>
                    <a:pt x="9" y="44"/>
                    <a:pt x="9" y="44"/>
                  </a:cubicBezTo>
                  <a:cubicBezTo>
                    <a:pt x="10" y="45"/>
                    <a:pt x="11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6" y="48"/>
                    <a:pt x="17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175" name="Freeform 12">
              <a:extLst>
                <a:ext uri="{FF2B5EF4-FFF2-40B4-BE49-F238E27FC236}">
                  <a16:creationId xmlns:a16="http://schemas.microsoft.com/office/drawing/2014/main" id="{AF1DE1B8-EA4B-4A98-A97D-BA5EEA42B19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176" name="Freeform 13">
              <a:extLst>
                <a:ext uri="{FF2B5EF4-FFF2-40B4-BE49-F238E27FC236}">
                  <a16:creationId xmlns:a16="http://schemas.microsoft.com/office/drawing/2014/main" id="{F8F60B79-7AF5-4C5E-A5EF-126F117D591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1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2" y="54"/>
                    <a:pt x="11" y="54"/>
                  </a:cubicBezTo>
                  <a:cubicBezTo>
                    <a:pt x="10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2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177" name="Freeform 14">
              <a:extLst>
                <a:ext uri="{FF2B5EF4-FFF2-40B4-BE49-F238E27FC236}">
                  <a16:creationId xmlns:a16="http://schemas.microsoft.com/office/drawing/2014/main" id="{0A0438AD-9937-4C25-AB9E-7F8C8CCA23F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178" name="Freeform 15">
              <a:extLst>
                <a:ext uri="{FF2B5EF4-FFF2-40B4-BE49-F238E27FC236}">
                  <a16:creationId xmlns:a16="http://schemas.microsoft.com/office/drawing/2014/main" id="{6FDE2726-7032-4BE4-A420-0ECF49A32A8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0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2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0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3" y="31"/>
                    <a:pt x="24" y="30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0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7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179" name="Freeform 16">
              <a:extLst>
                <a:ext uri="{FF2B5EF4-FFF2-40B4-BE49-F238E27FC236}">
                  <a16:creationId xmlns:a16="http://schemas.microsoft.com/office/drawing/2014/main" id="{50C22C21-F8DB-486D-9042-765D68AE3A7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212575"/>
              <a:ext cx="55799" cy="99391"/>
            </a:xfrm>
            <a:custGeom>
              <a:avLst/>
              <a:gdLst>
                <a:gd name="T0" fmla="*/ 20 w 22"/>
                <a:gd name="T1" fmla="*/ 8 h 39"/>
                <a:gd name="T2" fmla="*/ 18 w 22"/>
                <a:gd name="T3" fmla="*/ 7 h 39"/>
                <a:gd name="T4" fmla="*/ 15 w 22"/>
                <a:gd name="T5" fmla="*/ 7 h 39"/>
                <a:gd name="T6" fmla="*/ 9 w 22"/>
                <a:gd name="T7" fmla="*/ 9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0 h 39"/>
                <a:gd name="T16" fmla="*/ 7 w 22"/>
                <a:gd name="T17" fmla="*/ 0 h 39"/>
                <a:gd name="T18" fmla="*/ 7 w 22"/>
                <a:gd name="T19" fmla="*/ 4 h 39"/>
                <a:gd name="T20" fmla="*/ 9 w 22"/>
                <a:gd name="T21" fmla="*/ 2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0 h 39"/>
                <a:gd name="T30" fmla="*/ 22 w 22"/>
                <a:gd name="T31" fmla="*/ 1 h 39"/>
                <a:gd name="T32" fmla="*/ 20 w 22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2" y="7"/>
                    <a:pt x="10" y="8"/>
                    <a:pt x="9" y="9"/>
                  </a:cubicBezTo>
                  <a:cubicBezTo>
                    <a:pt x="8" y="11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9" y="2"/>
                    <a:pt x="10" y="1"/>
                    <a:pt x="11" y="1"/>
                  </a:cubicBezTo>
                  <a:cubicBezTo>
                    <a:pt x="11" y="0"/>
                    <a:pt x="12" y="0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0"/>
                  </a:cubicBezTo>
                  <a:cubicBezTo>
                    <a:pt x="21" y="0"/>
                    <a:pt x="22" y="1"/>
                    <a:pt x="22" y="1"/>
                  </a:cubicBezTo>
                  <a:lnTo>
                    <a:pt x="20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180" name="Freeform 17">
              <a:extLst>
                <a:ext uri="{FF2B5EF4-FFF2-40B4-BE49-F238E27FC236}">
                  <a16:creationId xmlns:a16="http://schemas.microsoft.com/office/drawing/2014/main" id="{7F763F72-BB8F-482C-9FDA-40EDD6EE5F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181" name="Freeform 18">
              <a:extLst>
                <a:ext uri="{FF2B5EF4-FFF2-40B4-BE49-F238E27FC236}">
                  <a16:creationId xmlns:a16="http://schemas.microsoft.com/office/drawing/2014/main" id="{710F466C-6BEC-4970-9707-40D8002740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2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8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9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182" name="Freeform 19">
              <a:extLst>
                <a:ext uri="{FF2B5EF4-FFF2-40B4-BE49-F238E27FC236}">
                  <a16:creationId xmlns:a16="http://schemas.microsoft.com/office/drawing/2014/main" id="{3332407D-F423-41B2-985F-8A4482C61D9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183" name="Freeform 20">
              <a:extLst>
                <a:ext uri="{FF2B5EF4-FFF2-40B4-BE49-F238E27FC236}">
                  <a16:creationId xmlns:a16="http://schemas.microsoft.com/office/drawing/2014/main" id="{44E3286F-1188-47B1-8B46-3498795DF2D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30922" y="6212575"/>
              <a:ext cx="80211" cy="134265"/>
            </a:xfrm>
            <a:custGeom>
              <a:avLst/>
              <a:gdLst>
                <a:gd name="T0" fmla="*/ 25 w 32"/>
                <a:gd name="T1" fmla="*/ 53 h 53"/>
                <a:gd name="T2" fmla="*/ 25 w 32"/>
                <a:gd name="T3" fmla="*/ 35 h 53"/>
                <a:gd name="T4" fmla="*/ 20 w 32"/>
                <a:gd name="T5" fmla="*/ 38 h 53"/>
                <a:gd name="T6" fmla="*/ 15 w 32"/>
                <a:gd name="T7" fmla="*/ 40 h 53"/>
                <a:gd name="T8" fmla="*/ 9 w 32"/>
                <a:gd name="T9" fmla="*/ 38 h 53"/>
                <a:gd name="T10" fmla="*/ 4 w 32"/>
                <a:gd name="T11" fmla="*/ 35 h 53"/>
                <a:gd name="T12" fmla="*/ 1 w 32"/>
                <a:gd name="T13" fmla="*/ 28 h 53"/>
                <a:gd name="T14" fmla="*/ 0 w 32"/>
                <a:gd name="T15" fmla="*/ 19 h 53"/>
                <a:gd name="T16" fmla="*/ 1 w 32"/>
                <a:gd name="T17" fmla="*/ 10 h 53"/>
                <a:gd name="T18" fmla="*/ 4 w 32"/>
                <a:gd name="T19" fmla="*/ 4 h 53"/>
                <a:gd name="T20" fmla="*/ 9 w 32"/>
                <a:gd name="T21" fmla="*/ 1 h 53"/>
                <a:gd name="T22" fmla="*/ 15 w 32"/>
                <a:gd name="T23" fmla="*/ 0 h 53"/>
                <a:gd name="T24" fmla="*/ 18 w 32"/>
                <a:gd name="T25" fmla="*/ 0 h 53"/>
                <a:gd name="T26" fmla="*/ 20 w 32"/>
                <a:gd name="T27" fmla="*/ 1 h 53"/>
                <a:gd name="T28" fmla="*/ 23 w 32"/>
                <a:gd name="T29" fmla="*/ 2 h 53"/>
                <a:gd name="T30" fmla="*/ 25 w 32"/>
                <a:gd name="T31" fmla="*/ 4 h 53"/>
                <a:gd name="T32" fmla="*/ 25 w 32"/>
                <a:gd name="T33" fmla="*/ 0 h 53"/>
                <a:gd name="T34" fmla="*/ 32 w 32"/>
                <a:gd name="T35" fmla="*/ 0 h 53"/>
                <a:gd name="T36" fmla="*/ 32 w 32"/>
                <a:gd name="T37" fmla="*/ 49 h 53"/>
                <a:gd name="T38" fmla="*/ 25 w 32"/>
                <a:gd name="T39" fmla="*/ 53 h 53"/>
                <a:gd name="T40" fmla="*/ 25 w 32"/>
                <a:gd name="T41" fmla="*/ 12 h 53"/>
                <a:gd name="T42" fmla="*/ 23 w 32"/>
                <a:gd name="T43" fmla="*/ 10 h 53"/>
                <a:gd name="T44" fmla="*/ 21 w 32"/>
                <a:gd name="T45" fmla="*/ 8 h 53"/>
                <a:gd name="T46" fmla="*/ 18 w 32"/>
                <a:gd name="T47" fmla="*/ 7 h 53"/>
                <a:gd name="T48" fmla="*/ 16 w 32"/>
                <a:gd name="T49" fmla="*/ 7 h 53"/>
                <a:gd name="T50" fmla="*/ 9 w 32"/>
                <a:gd name="T51" fmla="*/ 10 h 53"/>
                <a:gd name="T52" fmla="*/ 7 w 32"/>
                <a:gd name="T53" fmla="*/ 19 h 53"/>
                <a:gd name="T54" fmla="*/ 10 w 32"/>
                <a:gd name="T55" fmla="*/ 29 h 53"/>
                <a:gd name="T56" fmla="*/ 16 w 32"/>
                <a:gd name="T57" fmla="*/ 33 h 53"/>
                <a:gd name="T58" fmla="*/ 21 w 32"/>
                <a:gd name="T59" fmla="*/ 31 h 53"/>
                <a:gd name="T60" fmla="*/ 25 w 32"/>
                <a:gd name="T61" fmla="*/ 28 h 53"/>
                <a:gd name="T62" fmla="*/ 25 w 32"/>
                <a:gd name="T63" fmla="*/ 1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2" h="53">
                  <a:moveTo>
                    <a:pt x="25" y="53"/>
                  </a:moveTo>
                  <a:cubicBezTo>
                    <a:pt x="25" y="35"/>
                    <a:pt x="25" y="35"/>
                    <a:pt x="25" y="35"/>
                  </a:cubicBezTo>
                  <a:cubicBezTo>
                    <a:pt x="23" y="36"/>
                    <a:pt x="22" y="37"/>
                    <a:pt x="20" y="38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3" y="40"/>
                    <a:pt x="11" y="39"/>
                    <a:pt x="9" y="38"/>
                  </a:cubicBezTo>
                  <a:cubicBezTo>
                    <a:pt x="7" y="38"/>
                    <a:pt x="5" y="36"/>
                    <a:pt x="4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0" y="26"/>
                    <a:pt x="0" y="23"/>
                    <a:pt x="0" y="19"/>
                  </a:cubicBezTo>
                  <a:cubicBezTo>
                    <a:pt x="0" y="16"/>
                    <a:pt x="0" y="13"/>
                    <a:pt x="1" y="10"/>
                  </a:cubicBezTo>
                  <a:cubicBezTo>
                    <a:pt x="2" y="8"/>
                    <a:pt x="3" y="6"/>
                    <a:pt x="4" y="4"/>
                  </a:cubicBezTo>
                  <a:cubicBezTo>
                    <a:pt x="6" y="3"/>
                    <a:pt x="7" y="2"/>
                    <a:pt x="9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6" y="0"/>
                    <a:pt x="17" y="0"/>
                    <a:pt x="18" y="0"/>
                  </a:cubicBezTo>
                  <a:cubicBezTo>
                    <a:pt x="19" y="0"/>
                    <a:pt x="20" y="0"/>
                    <a:pt x="20" y="1"/>
                  </a:cubicBezTo>
                  <a:cubicBezTo>
                    <a:pt x="21" y="1"/>
                    <a:pt x="22" y="2"/>
                    <a:pt x="23" y="2"/>
                  </a:cubicBezTo>
                  <a:cubicBezTo>
                    <a:pt x="23" y="3"/>
                    <a:pt x="24" y="3"/>
                    <a:pt x="25" y="4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49"/>
                    <a:pt x="32" y="49"/>
                    <a:pt x="32" y="49"/>
                  </a:cubicBezTo>
                  <a:lnTo>
                    <a:pt x="25" y="53"/>
                  </a:lnTo>
                  <a:close/>
                  <a:moveTo>
                    <a:pt x="25" y="12"/>
                  </a:moveTo>
                  <a:cubicBezTo>
                    <a:pt x="24" y="11"/>
                    <a:pt x="24" y="10"/>
                    <a:pt x="23" y="10"/>
                  </a:cubicBezTo>
                  <a:cubicBezTo>
                    <a:pt x="23" y="9"/>
                    <a:pt x="22" y="9"/>
                    <a:pt x="21" y="8"/>
                  </a:cubicBezTo>
                  <a:cubicBezTo>
                    <a:pt x="20" y="8"/>
                    <a:pt x="19" y="7"/>
                    <a:pt x="18" y="7"/>
                  </a:cubicBezTo>
                  <a:cubicBezTo>
                    <a:pt x="18" y="7"/>
                    <a:pt x="17" y="7"/>
                    <a:pt x="16" y="7"/>
                  </a:cubicBezTo>
                  <a:cubicBezTo>
                    <a:pt x="13" y="7"/>
                    <a:pt x="11" y="8"/>
                    <a:pt x="9" y="10"/>
                  </a:cubicBezTo>
                  <a:cubicBezTo>
                    <a:pt x="8" y="12"/>
                    <a:pt x="7" y="15"/>
                    <a:pt x="7" y="19"/>
                  </a:cubicBezTo>
                  <a:cubicBezTo>
                    <a:pt x="7" y="23"/>
                    <a:pt x="8" y="27"/>
                    <a:pt x="10" y="29"/>
                  </a:cubicBezTo>
                  <a:cubicBezTo>
                    <a:pt x="11" y="31"/>
                    <a:pt x="13" y="33"/>
                    <a:pt x="16" y="33"/>
                  </a:cubicBezTo>
                  <a:cubicBezTo>
                    <a:pt x="18" y="33"/>
                    <a:pt x="19" y="32"/>
                    <a:pt x="21" y="31"/>
                  </a:cubicBezTo>
                  <a:cubicBezTo>
                    <a:pt x="22" y="30"/>
                    <a:pt x="24" y="29"/>
                    <a:pt x="25" y="28"/>
                  </a:cubicBezTo>
                  <a:lnTo>
                    <a:pt x="25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184" name="Freeform 21">
              <a:extLst>
                <a:ext uri="{FF2B5EF4-FFF2-40B4-BE49-F238E27FC236}">
                  <a16:creationId xmlns:a16="http://schemas.microsoft.com/office/drawing/2014/main" id="{E7BD9E0B-920A-4409-95E7-40A47107B3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35545" y="6212575"/>
              <a:ext cx="78468" cy="101135"/>
            </a:xfrm>
            <a:custGeom>
              <a:avLst/>
              <a:gdLst>
                <a:gd name="T0" fmla="*/ 24 w 31"/>
                <a:gd name="T1" fmla="*/ 39 h 40"/>
                <a:gd name="T2" fmla="*/ 24 w 31"/>
                <a:gd name="T3" fmla="*/ 35 h 40"/>
                <a:gd name="T4" fmla="*/ 20 w 31"/>
                <a:gd name="T5" fmla="*/ 38 h 40"/>
                <a:gd name="T6" fmla="*/ 14 w 31"/>
                <a:gd name="T7" fmla="*/ 40 h 40"/>
                <a:gd name="T8" fmla="*/ 4 w 31"/>
                <a:gd name="T9" fmla="*/ 35 h 40"/>
                <a:gd name="T10" fmla="*/ 0 w 31"/>
                <a:gd name="T11" fmla="*/ 22 h 40"/>
                <a:gd name="T12" fmla="*/ 0 w 31"/>
                <a:gd name="T13" fmla="*/ 0 h 40"/>
                <a:gd name="T14" fmla="*/ 8 w 31"/>
                <a:gd name="T15" fmla="*/ 0 h 40"/>
                <a:gd name="T16" fmla="*/ 8 w 31"/>
                <a:gd name="T17" fmla="*/ 22 h 40"/>
                <a:gd name="T18" fmla="*/ 10 w 31"/>
                <a:gd name="T19" fmla="*/ 30 h 40"/>
                <a:gd name="T20" fmla="*/ 16 w 31"/>
                <a:gd name="T21" fmla="*/ 33 h 40"/>
                <a:gd name="T22" fmla="*/ 22 w 31"/>
                <a:gd name="T23" fmla="*/ 30 h 40"/>
                <a:gd name="T24" fmla="*/ 24 w 31"/>
                <a:gd name="T25" fmla="*/ 23 h 40"/>
                <a:gd name="T26" fmla="*/ 24 w 31"/>
                <a:gd name="T27" fmla="*/ 0 h 40"/>
                <a:gd name="T28" fmla="*/ 31 w 31"/>
                <a:gd name="T29" fmla="*/ 0 h 40"/>
                <a:gd name="T30" fmla="*/ 31 w 31"/>
                <a:gd name="T31" fmla="*/ 39 h 40"/>
                <a:gd name="T32" fmla="*/ 24 w 31"/>
                <a:gd name="T33" fmla="*/ 39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1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2" y="38"/>
                    <a:pt x="20" y="38"/>
                  </a:cubicBezTo>
                  <a:cubicBezTo>
                    <a:pt x="18" y="39"/>
                    <a:pt x="16" y="40"/>
                    <a:pt x="14" y="40"/>
                  </a:cubicBezTo>
                  <a:cubicBezTo>
                    <a:pt x="10" y="40"/>
                    <a:pt x="6" y="38"/>
                    <a:pt x="4" y="35"/>
                  </a:cubicBezTo>
                  <a:cubicBezTo>
                    <a:pt x="2" y="32"/>
                    <a:pt x="0" y="28"/>
                    <a:pt x="0" y="2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6"/>
                    <a:pt x="9" y="28"/>
                    <a:pt x="10" y="30"/>
                  </a:cubicBezTo>
                  <a:cubicBezTo>
                    <a:pt x="11" y="32"/>
                    <a:pt x="13" y="33"/>
                    <a:pt x="16" y="33"/>
                  </a:cubicBezTo>
                  <a:cubicBezTo>
                    <a:pt x="18" y="33"/>
                    <a:pt x="20" y="32"/>
                    <a:pt x="22" y="30"/>
                  </a:cubicBezTo>
                  <a:cubicBezTo>
                    <a:pt x="23" y="28"/>
                    <a:pt x="24" y="26"/>
                    <a:pt x="24" y="23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4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185" name="Freeform 22">
              <a:extLst>
                <a:ext uri="{FF2B5EF4-FFF2-40B4-BE49-F238E27FC236}">
                  <a16:creationId xmlns:a16="http://schemas.microsoft.com/office/drawing/2014/main" id="{9D2625B8-0A5B-46EF-8302-77353AB0D3A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93493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1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2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186" name="Freeform 23">
              <a:extLst>
                <a:ext uri="{FF2B5EF4-FFF2-40B4-BE49-F238E27FC236}">
                  <a16:creationId xmlns:a16="http://schemas.microsoft.com/office/drawing/2014/main" id="{DE6C9E0E-C49B-4FBE-97F3-BB6DFAC5742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30841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1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4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7 w 29"/>
                <a:gd name="T55" fmla="*/ 24 h 40"/>
                <a:gd name="T56" fmla="*/ 13 w 29"/>
                <a:gd name="T57" fmla="*/ 22 h 40"/>
                <a:gd name="T58" fmla="*/ 8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2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3" y="6"/>
                    <a:pt x="11" y="7"/>
                    <a:pt x="10" y="7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1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9" y="25"/>
                    <a:pt x="18" y="24"/>
                    <a:pt x="17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8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3" y="15"/>
                    <a:pt x="2" y="14"/>
                  </a:cubicBezTo>
                  <a:cubicBezTo>
                    <a:pt x="2" y="13"/>
                    <a:pt x="2" y="12"/>
                    <a:pt x="2" y="10"/>
                  </a:cubicBezTo>
                  <a:cubicBezTo>
                    <a:pt x="2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187" name="Freeform 24">
              <a:extLst>
                <a:ext uri="{FF2B5EF4-FFF2-40B4-BE49-F238E27FC236}">
                  <a16:creationId xmlns:a16="http://schemas.microsoft.com/office/drawing/2014/main" id="{580801ED-9260-41DB-A0B7-5AF24B32272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1802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188" name="Freeform 25">
              <a:extLst>
                <a:ext uri="{FF2B5EF4-FFF2-40B4-BE49-F238E27FC236}">
                  <a16:creationId xmlns:a16="http://schemas.microsoft.com/office/drawing/2014/main" id="{3A9842FB-6E95-4D11-B5B9-58C4CB82C2F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194750" y="6175958"/>
              <a:ext cx="24412" cy="136010"/>
            </a:xfrm>
            <a:custGeom>
              <a:avLst/>
              <a:gdLst>
                <a:gd name="T0" fmla="*/ 10 w 10"/>
                <a:gd name="T1" fmla="*/ 5 h 53"/>
                <a:gd name="T2" fmla="*/ 9 w 10"/>
                <a:gd name="T3" fmla="*/ 6 h 53"/>
                <a:gd name="T4" fmla="*/ 8 w 10"/>
                <a:gd name="T5" fmla="*/ 8 h 53"/>
                <a:gd name="T6" fmla="*/ 7 w 10"/>
                <a:gd name="T7" fmla="*/ 9 h 53"/>
                <a:gd name="T8" fmla="*/ 5 w 10"/>
                <a:gd name="T9" fmla="*/ 9 h 53"/>
                <a:gd name="T10" fmla="*/ 3 w 10"/>
                <a:gd name="T11" fmla="*/ 9 h 53"/>
                <a:gd name="T12" fmla="*/ 1 w 10"/>
                <a:gd name="T13" fmla="*/ 8 h 53"/>
                <a:gd name="T14" fmla="*/ 0 w 10"/>
                <a:gd name="T15" fmla="*/ 6 h 53"/>
                <a:gd name="T16" fmla="*/ 0 w 10"/>
                <a:gd name="T17" fmla="*/ 5 h 53"/>
                <a:gd name="T18" fmla="*/ 0 w 10"/>
                <a:gd name="T19" fmla="*/ 3 h 53"/>
                <a:gd name="T20" fmla="*/ 1 w 10"/>
                <a:gd name="T21" fmla="*/ 1 h 53"/>
                <a:gd name="T22" fmla="*/ 3 w 10"/>
                <a:gd name="T23" fmla="*/ 0 h 53"/>
                <a:gd name="T24" fmla="*/ 5 w 10"/>
                <a:gd name="T25" fmla="*/ 0 h 53"/>
                <a:gd name="T26" fmla="*/ 7 w 10"/>
                <a:gd name="T27" fmla="*/ 0 h 53"/>
                <a:gd name="T28" fmla="*/ 8 w 10"/>
                <a:gd name="T29" fmla="*/ 1 h 53"/>
                <a:gd name="T30" fmla="*/ 9 w 10"/>
                <a:gd name="T31" fmla="*/ 3 h 53"/>
                <a:gd name="T32" fmla="*/ 10 w 10"/>
                <a:gd name="T33" fmla="*/ 5 h 53"/>
                <a:gd name="T34" fmla="*/ 1 w 10"/>
                <a:gd name="T35" fmla="*/ 53 h 53"/>
                <a:gd name="T36" fmla="*/ 1 w 10"/>
                <a:gd name="T37" fmla="*/ 14 h 53"/>
                <a:gd name="T38" fmla="*/ 9 w 10"/>
                <a:gd name="T39" fmla="*/ 14 h 53"/>
                <a:gd name="T40" fmla="*/ 9 w 10"/>
                <a:gd name="T41" fmla="*/ 53 h 53"/>
                <a:gd name="T42" fmla="*/ 1 w 10"/>
                <a:gd name="T43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" h="53">
                  <a:moveTo>
                    <a:pt x="10" y="5"/>
                  </a:moveTo>
                  <a:cubicBezTo>
                    <a:pt x="10" y="5"/>
                    <a:pt x="10" y="6"/>
                    <a:pt x="9" y="6"/>
                  </a:cubicBezTo>
                  <a:cubicBezTo>
                    <a:pt x="9" y="7"/>
                    <a:pt x="9" y="8"/>
                    <a:pt x="8" y="8"/>
                  </a:cubicBezTo>
                  <a:cubicBezTo>
                    <a:pt x="8" y="8"/>
                    <a:pt x="7" y="9"/>
                    <a:pt x="7" y="9"/>
                  </a:cubicBezTo>
                  <a:cubicBezTo>
                    <a:pt x="6" y="9"/>
                    <a:pt x="6" y="9"/>
                    <a:pt x="5" y="9"/>
                  </a:cubicBezTo>
                  <a:cubicBezTo>
                    <a:pt x="4" y="9"/>
                    <a:pt x="4" y="9"/>
                    <a:pt x="3" y="9"/>
                  </a:cubicBezTo>
                  <a:cubicBezTo>
                    <a:pt x="2" y="9"/>
                    <a:pt x="2" y="8"/>
                    <a:pt x="1" y="8"/>
                  </a:cubicBezTo>
                  <a:cubicBezTo>
                    <a:pt x="1" y="8"/>
                    <a:pt x="1" y="7"/>
                    <a:pt x="0" y="6"/>
                  </a:cubicBezTo>
                  <a:cubicBezTo>
                    <a:pt x="0" y="6"/>
                    <a:pt x="0" y="5"/>
                    <a:pt x="0" y="5"/>
                  </a:cubicBezTo>
                  <a:cubicBezTo>
                    <a:pt x="0" y="4"/>
                    <a:pt x="0" y="3"/>
                    <a:pt x="0" y="3"/>
                  </a:cubicBezTo>
                  <a:cubicBezTo>
                    <a:pt x="1" y="2"/>
                    <a:pt x="1" y="2"/>
                    <a:pt x="1" y="1"/>
                  </a:cubicBezTo>
                  <a:cubicBezTo>
                    <a:pt x="2" y="1"/>
                    <a:pt x="2" y="0"/>
                    <a:pt x="3" y="0"/>
                  </a:cubicBezTo>
                  <a:cubicBezTo>
                    <a:pt x="4" y="0"/>
                    <a:pt x="4" y="0"/>
                    <a:pt x="5" y="0"/>
                  </a:cubicBezTo>
                  <a:cubicBezTo>
                    <a:pt x="6" y="0"/>
                    <a:pt x="6" y="0"/>
                    <a:pt x="7" y="0"/>
                  </a:cubicBezTo>
                  <a:cubicBezTo>
                    <a:pt x="7" y="0"/>
                    <a:pt x="8" y="1"/>
                    <a:pt x="8" y="1"/>
                  </a:cubicBezTo>
                  <a:cubicBezTo>
                    <a:pt x="9" y="2"/>
                    <a:pt x="9" y="2"/>
                    <a:pt x="9" y="3"/>
                  </a:cubicBezTo>
                  <a:cubicBezTo>
                    <a:pt x="10" y="3"/>
                    <a:pt x="10" y="4"/>
                    <a:pt x="10" y="5"/>
                  </a:cubicBezTo>
                  <a:close/>
                  <a:moveTo>
                    <a:pt x="1" y="53"/>
                  </a:moveTo>
                  <a:cubicBezTo>
                    <a:pt x="1" y="14"/>
                    <a:pt x="1" y="14"/>
                    <a:pt x="1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53"/>
                    <a:pt x="9" y="53"/>
                    <a:pt x="9" y="53"/>
                  </a:cubicBezTo>
                  <a:lnTo>
                    <a:pt x="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189" name="Freeform 26">
              <a:extLst>
                <a:ext uri="{FF2B5EF4-FFF2-40B4-BE49-F238E27FC236}">
                  <a16:creationId xmlns:a16="http://schemas.microsoft.com/office/drawing/2014/main" id="{076538BB-C266-42BE-916B-458AF9EFB22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236599" y="6212575"/>
              <a:ext cx="87186" cy="101135"/>
            </a:xfrm>
            <a:custGeom>
              <a:avLst/>
              <a:gdLst>
                <a:gd name="T0" fmla="*/ 34 w 34"/>
                <a:gd name="T1" fmla="*/ 19 h 40"/>
                <a:gd name="T2" fmla="*/ 33 w 34"/>
                <a:gd name="T3" fmla="*/ 28 h 40"/>
                <a:gd name="T4" fmla="*/ 29 w 34"/>
                <a:gd name="T5" fmla="*/ 34 h 40"/>
                <a:gd name="T6" fmla="*/ 24 w 34"/>
                <a:gd name="T7" fmla="*/ 38 h 40"/>
                <a:gd name="T8" fmla="*/ 17 w 34"/>
                <a:gd name="T9" fmla="*/ 40 h 40"/>
                <a:gd name="T10" fmla="*/ 10 w 34"/>
                <a:gd name="T11" fmla="*/ 38 h 40"/>
                <a:gd name="T12" fmla="*/ 5 w 34"/>
                <a:gd name="T13" fmla="*/ 34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1 h 40"/>
                <a:gd name="T20" fmla="*/ 5 w 34"/>
                <a:gd name="T21" fmla="*/ 5 h 40"/>
                <a:gd name="T22" fmla="*/ 10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1 h 40"/>
                <a:gd name="T32" fmla="*/ 34 w 34"/>
                <a:gd name="T33" fmla="*/ 19 h 40"/>
                <a:gd name="T34" fmla="*/ 26 w 34"/>
                <a:gd name="T35" fmla="*/ 20 h 40"/>
                <a:gd name="T36" fmla="*/ 26 w 34"/>
                <a:gd name="T37" fmla="*/ 14 h 40"/>
                <a:gd name="T38" fmla="*/ 24 w 34"/>
                <a:gd name="T39" fmla="*/ 10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0 h 40"/>
                <a:gd name="T48" fmla="*/ 8 w 34"/>
                <a:gd name="T49" fmla="*/ 14 h 40"/>
                <a:gd name="T50" fmla="*/ 7 w 34"/>
                <a:gd name="T51" fmla="*/ 19 h 40"/>
                <a:gd name="T52" fmla="*/ 8 w 34"/>
                <a:gd name="T53" fmla="*/ 25 h 40"/>
                <a:gd name="T54" fmla="*/ 10 w 34"/>
                <a:gd name="T55" fmla="*/ 29 h 40"/>
                <a:gd name="T56" fmla="*/ 13 w 34"/>
                <a:gd name="T57" fmla="*/ 32 h 40"/>
                <a:gd name="T58" fmla="*/ 17 w 34"/>
                <a:gd name="T59" fmla="*/ 32 h 40"/>
                <a:gd name="T60" fmla="*/ 21 w 34"/>
                <a:gd name="T61" fmla="*/ 31 h 40"/>
                <a:gd name="T62" fmla="*/ 24 w 34"/>
                <a:gd name="T63" fmla="*/ 29 h 40"/>
                <a:gd name="T64" fmla="*/ 26 w 34"/>
                <a:gd name="T65" fmla="*/ 25 h 40"/>
                <a:gd name="T66" fmla="*/ 26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19"/>
                  </a:moveTo>
                  <a:cubicBezTo>
                    <a:pt x="34" y="23"/>
                    <a:pt x="34" y="25"/>
                    <a:pt x="33" y="28"/>
                  </a:cubicBezTo>
                  <a:cubicBezTo>
                    <a:pt x="32" y="30"/>
                    <a:pt x="31" y="33"/>
                    <a:pt x="29" y="34"/>
                  </a:cubicBezTo>
                  <a:cubicBezTo>
                    <a:pt x="28" y="36"/>
                    <a:pt x="26" y="37"/>
                    <a:pt x="24" y="38"/>
                  </a:cubicBezTo>
                  <a:cubicBezTo>
                    <a:pt x="21" y="39"/>
                    <a:pt x="19" y="40"/>
                    <a:pt x="17" y="40"/>
                  </a:cubicBezTo>
                  <a:cubicBezTo>
                    <a:pt x="14" y="40"/>
                    <a:pt x="12" y="39"/>
                    <a:pt x="10" y="38"/>
                  </a:cubicBezTo>
                  <a:cubicBezTo>
                    <a:pt x="8" y="37"/>
                    <a:pt x="6" y="36"/>
                    <a:pt x="5" y="34"/>
                  </a:cubicBezTo>
                  <a:cubicBezTo>
                    <a:pt x="3" y="32"/>
                    <a:pt x="2" y="30"/>
                    <a:pt x="1" y="28"/>
                  </a:cubicBezTo>
                  <a:cubicBezTo>
                    <a:pt x="0" y="25"/>
                    <a:pt x="0" y="23"/>
                    <a:pt x="0" y="20"/>
                  </a:cubicBezTo>
                  <a:cubicBezTo>
                    <a:pt x="0" y="16"/>
                    <a:pt x="0" y="14"/>
                    <a:pt x="1" y="11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8" y="3"/>
                    <a:pt x="29" y="5"/>
                  </a:cubicBezTo>
                  <a:cubicBezTo>
                    <a:pt x="31" y="7"/>
                    <a:pt x="32" y="9"/>
                    <a:pt x="33" y="11"/>
                  </a:cubicBezTo>
                  <a:cubicBezTo>
                    <a:pt x="34" y="14"/>
                    <a:pt x="34" y="16"/>
                    <a:pt x="34" y="19"/>
                  </a:cubicBezTo>
                  <a:close/>
                  <a:moveTo>
                    <a:pt x="26" y="20"/>
                  </a:moveTo>
                  <a:cubicBezTo>
                    <a:pt x="26" y="18"/>
                    <a:pt x="26" y="16"/>
                    <a:pt x="26" y="14"/>
                  </a:cubicBezTo>
                  <a:cubicBezTo>
                    <a:pt x="25" y="13"/>
                    <a:pt x="25" y="11"/>
                    <a:pt x="24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19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11"/>
                    <a:pt x="8" y="13"/>
                    <a:pt x="8" y="14"/>
                  </a:cubicBezTo>
                  <a:cubicBezTo>
                    <a:pt x="8" y="16"/>
                    <a:pt x="7" y="17"/>
                    <a:pt x="7" y="19"/>
                  </a:cubicBezTo>
                  <a:cubicBezTo>
                    <a:pt x="7" y="21"/>
                    <a:pt x="8" y="23"/>
                    <a:pt x="8" y="25"/>
                  </a:cubicBezTo>
                  <a:cubicBezTo>
                    <a:pt x="9" y="27"/>
                    <a:pt x="9" y="28"/>
                    <a:pt x="10" y="29"/>
                  </a:cubicBezTo>
                  <a:cubicBezTo>
                    <a:pt x="11" y="30"/>
                    <a:pt x="12" y="31"/>
                    <a:pt x="13" y="32"/>
                  </a:cubicBezTo>
                  <a:cubicBezTo>
                    <a:pt x="14" y="32"/>
                    <a:pt x="16" y="32"/>
                    <a:pt x="17" y="32"/>
                  </a:cubicBezTo>
                  <a:cubicBezTo>
                    <a:pt x="18" y="32"/>
                    <a:pt x="20" y="32"/>
                    <a:pt x="21" y="31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7"/>
                    <a:pt x="25" y="26"/>
                    <a:pt x="26" y="25"/>
                  </a:cubicBezTo>
                  <a:cubicBezTo>
                    <a:pt x="26" y="23"/>
                    <a:pt x="26" y="21"/>
                    <a:pt x="26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190" name="Freeform 27">
              <a:extLst>
                <a:ext uri="{FF2B5EF4-FFF2-40B4-BE49-F238E27FC236}">
                  <a16:creationId xmlns:a16="http://schemas.microsoft.com/office/drawing/2014/main" id="{A7C95C0F-A1E9-46B5-B9DB-284F35C7280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44710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1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9 w 31"/>
                <a:gd name="T11" fmla="*/ 9 h 39"/>
                <a:gd name="T12" fmla="*/ 8 w 31"/>
                <a:gd name="T13" fmla="*/ 12 h 39"/>
                <a:gd name="T14" fmla="*/ 7 w 31"/>
                <a:gd name="T15" fmla="*/ 16 h 39"/>
                <a:gd name="T16" fmla="*/ 7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7 w 31"/>
                <a:gd name="T23" fmla="*/ 0 h 39"/>
                <a:gd name="T24" fmla="*/ 7 w 31"/>
                <a:gd name="T25" fmla="*/ 4 h 39"/>
                <a:gd name="T26" fmla="*/ 9 w 31"/>
                <a:gd name="T27" fmla="*/ 2 h 39"/>
                <a:gd name="T28" fmla="*/ 11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7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1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9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7" y="15"/>
                    <a:pt x="7" y="16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9" y="0"/>
                    <a:pt x="21" y="0"/>
                    <a:pt x="23" y="1"/>
                  </a:cubicBezTo>
                  <a:cubicBezTo>
                    <a:pt x="25" y="1"/>
                    <a:pt x="26" y="2"/>
                    <a:pt x="27" y="4"/>
                  </a:cubicBezTo>
                  <a:cubicBezTo>
                    <a:pt x="28" y="5"/>
                    <a:pt x="29" y="7"/>
                    <a:pt x="30" y="9"/>
                  </a:cubicBezTo>
                  <a:cubicBezTo>
                    <a:pt x="30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191" name="Freeform 28">
              <a:extLst>
                <a:ext uri="{FF2B5EF4-FFF2-40B4-BE49-F238E27FC236}">
                  <a16:creationId xmlns:a16="http://schemas.microsoft.com/office/drawing/2014/main" id="{BEEA6186-B2B9-4E5E-9631-B6332C7FDB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45845" y="6284068"/>
              <a:ext cx="31387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4 w 12"/>
                <a:gd name="T11" fmla="*/ 11 h 12"/>
                <a:gd name="T12" fmla="*/ 2 w 12"/>
                <a:gd name="T13" fmla="*/ 10 h 12"/>
                <a:gd name="T14" fmla="*/ 1 w 12"/>
                <a:gd name="T15" fmla="*/ 8 h 12"/>
                <a:gd name="T16" fmla="*/ 0 w 12"/>
                <a:gd name="T17" fmla="*/ 6 h 12"/>
                <a:gd name="T18" fmla="*/ 1 w 12"/>
                <a:gd name="T19" fmla="*/ 4 h 12"/>
                <a:gd name="T20" fmla="*/ 2 w 12"/>
                <a:gd name="T21" fmla="*/ 2 h 12"/>
                <a:gd name="T22" fmla="*/ 4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4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1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1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4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192" name="Freeform 29">
              <a:extLst>
                <a:ext uri="{FF2B5EF4-FFF2-40B4-BE49-F238E27FC236}">
                  <a16:creationId xmlns:a16="http://schemas.microsoft.com/office/drawing/2014/main" id="{E9B00A5D-BE04-4D7D-B4A2-204E2D0E04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0006" y="6181188"/>
              <a:ext cx="97648" cy="130778"/>
            </a:xfrm>
            <a:custGeom>
              <a:avLst/>
              <a:gdLst>
                <a:gd name="T0" fmla="*/ 34 w 56"/>
                <a:gd name="T1" fmla="*/ 11 h 75"/>
                <a:gd name="T2" fmla="*/ 34 w 56"/>
                <a:gd name="T3" fmla="*/ 75 h 75"/>
                <a:gd name="T4" fmla="*/ 22 w 56"/>
                <a:gd name="T5" fmla="*/ 75 h 75"/>
                <a:gd name="T6" fmla="*/ 22 w 56"/>
                <a:gd name="T7" fmla="*/ 11 h 75"/>
                <a:gd name="T8" fmla="*/ 0 w 56"/>
                <a:gd name="T9" fmla="*/ 11 h 75"/>
                <a:gd name="T10" fmla="*/ 0 w 56"/>
                <a:gd name="T11" fmla="*/ 0 h 75"/>
                <a:gd name="T12" fmla="*/ 56 w 56"/>
                <a:gd name="T13" fmla="*/ 0 h 75"/>
                <a:gd name="T14" fmla="*/ 56 w 56"/>
                <a:gd name="T15" fmla="*/ 11 h 75"/>
                <a:gd name="T16" fmla="*/ 34 w 56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6" h="75">
                  <a:moveTo>
                    <a:pt x="34" y="11"/>
                  </a:moveTo>
                  <a:lnTo>
                    <a:pt x="34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6" y="0"/>
                  </a:lnTo>
                  <a:lnTo>
                    <a:pt x="56" y="11"/>
                  </a:lnTo>
                  <a:lnTo>
                    <a:pt x="34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193" name="Freeform 30">
              <a:extLst>
                <a:ext uri="{FF2B5EF4-FFF2-40B4-BE49-F238E27FC236}">
                  <a16:creationId xmlns:a16="http://schemas.microsoft.com/office/drawing/2014/main" id="{72C85502-C007-49A3-A8AB-2BCC8C53945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51603" y="6174213"/>
              <a:ext cx="80211" cy="137753"/>
            </a:xfrm>
            <a:custGeom>
              <a:avLst/>
              <a:gdLst>
                <a:gd name="T0" fmla="*/ 24 w 31"/>
                <a:gd name="T1" fmla="*/ 54 h 54"/>
                <a:gd name="T2" fmla="*/ 24 w 31"/>
                <a:gd name="T3" fmla="*/ 32 h 54"/>
                <a:gd name="T4" fmla="*/ 22 w 31"/>
                <a:gd name="T5" fmla="*/ 24 h 54"/>
                <a:gd name="T6" fmla="*/ 16 w 31"/>
                <a:gd name="T7" fmla="*/ 22 h 54"/>
                <a:gd name="T8" fmla="*/ 13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8 w 31"/>
                <a:gd name="T15" fmla="*/ 31 h 54"/>
                <a:gd name="T16" fmla="*/ 8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8 w 31"/>
                <a:gd name="T23" fmla="*/ 0 h 54"/>
                <a:gd name="T24" fmla="*/ 8 w 31"/>
                <a:gd name="T25" fmla="*/ 19 h 54"/>
                <a:gd name="T26" fmla="*/ 10 w 31"/>
                <a:gd name="T27" fmla="*/ 17 h 54"/>
                <a:gd name="T28" fmla="*/ 12 w 31"/>
                <a:gd name="T29" fmla="*/ 16 h 54"/>
                <a:gd name="T30" fmla="*/ 15 w 31"/>
                <a:gd name="T31" fmla="*/ 15 h 54"/>
                <a:gd name="T32" fmla="*/ 18 w 31"/>
                <a:gd name="T33" fmla="*/ 15 h 54"/>
                <a:gd name="T34" fmla="*/ 24 w 31"/>
                <a:gd name="T35" fmla="*/ 16 h 54"/>
                <a:gd name="T36" fmla="*/ 28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4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4" y="54"/>
                  </a:moveTo>
                  <a:cubicBezTo>
                    <a:pt x="24" y="32"/>
                    <a:pt x="24" y="32"/>
                    <a:pt x="24" y="32"/>
                  </a:cubicBezTo>
                  <a:cubicBezTo>
                    <a:pt x="24" y="28"/>
                    <a:pt x="23" y="26"/>
                    <a:pt x="22" y="24"/>
                  </a:cubicBezTo>
                  <a:cubicBezTo>
                    <a:pt x="21" y="22"/>
                    <a:pt x="19" y="22"/>
                    <a:pt x="16" y="22"/>
                  </a:cubicBezTo>
                  <a:cubicBezTo>
                    <a:pt x="15" y="22"/>
                    <a:pt x="14" y="22"/>
                    <a:pt x="13" y="22"/>
                  </a:cubicBezTo>
                  <a:cubicBezTo>
                    <a:pt x="12" y="22"/>
                    <a:pt x="11" y="23"/>
                    <a:pt x="10" y="24"/>
                  </a:cubicBezTo>
                  <a:cubicBezTo>
                    <a:pt x="9" y="25"/>
                    <a:pt x="9" y="26"/>
                    <a:pt x="8" y="27"/>
                  </a:cubicBezTo>
                  <a:cubicBezTo>
                    <a:pt x="8" y="28"/>
                    <a:pt x="8" y="30"/>
                    <a:pt x="8" y="31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3" y="15"/>
                    <a:pt x="14" y="15"/>
                    <a:pt x="15" y="15"/>
                  </a:cubicBezTo>
                  <a:cubicBezTo>
                    <a:pt x="16" y="15"/>
                    <a:pt x="17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29" y="20"/>
                    <a:pt x="30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4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194" name="Freeform 31">
              <a:extLst>
                <a:ext uri="{FF2B5EF4-FFF2-40B4-BE49-F238E27FC236}">
                  <a16:creationId xmlns:a16="http://schemas.microsoft.com/office/drawing/2014/main" id="{9A42586B-B388-4323-82EB-ED3423EDC5D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50996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1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195" name="Freeform 32">
              <a:extLst>
                <a:ext uri="{FF2B5EF4-FFF2-40B4-BE49-F238E27FC236}">
                  <a16:creationId xmlns:a16="http://schemas.microsoft.com/office/drawing/2014/main" id="{558D2F0C-3796-492F-9EBD-4BB822191F3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02698" y="6174213"/>
              <a:ext cx="80211" cy="139497"/>
            </a:xfrm>
            <a:custGeom>
              <a:avLst/>
              <a:gdLst>
                <a:gd name="T0" fmla="*/ 32 w 32"/>
                <a:gd name="T1" fmla="*/ 35 h 55"/>
                <a:gd name="T2" fmla="*/ 31 w 32"/>
                <a:gd name="T3" fmla="*/ 44 h 55"/>
                <a:gd name="T4" fmla="*/ 28 w 32"/>
                <a:gd name="T5" fmla="*/ 50 h 55"/>
                <a:gd name="T6" fmla="*/ 23 w 32"/>
                <a:gd name="T7" fmla="*/ 53 h 55"/>
                <a:gd name="T8" fmla="*/ 17 w 32"/>
                <a:gd name="T9" fmla="*/ 55 h 55"/>
                <a:gd name="T10" fmla="*/ 12 w 32"/>
                <a:gd name="T11" fmla="*/ 53 h 55"/>
                <a:gd name="T12" fmla="*/ 7 w 32"/>
                <a:gd name="T13" fmla="*/ 50 h 55"/>
                <a:gd name="T14" fmla="*/ 7 w 32"/>
                <a:gd name="T15" fmla="*/ 54 h 55"/>
                <a:gd name="T16" fmla="*/ 0 w 32"/>
                <a:gd name="T17" fmla="*/ 54 h 55"/>
                <a:gd name="T18" fmla="*/ 0 w 32"/>
                <a:gd name="T19" fmla="*/ 4 h 55"/>
                <a:gd name="T20" fmla="*/ 7 w 32"/>
                <a:gd name="T21" fmla="*/ 0 h 55"/>
                <a:gd name="T22" fmla="*/ 7 w 32"/>
                <a:gd name="T23" fmla="*/ 19 h 55"/>
                <a:gd name="T24" fmla="*/ 10 w 32"/>
                <a:gd name="T25" fmla="*/ 17 h 55"/>
                <a:gd name="T26" fmla="*/ 12 w 32"/>
                <a:gd name="T27" fmla="*/ 16 h 55"/>
                <a:gd name="T28" fmla="*/ 14 w 32"/>
                <a:gd name="T29" fmla="*/ 15 h 55"/>
                <a:gd name="T30" fmla="*/ 17 w 32"/>
                <a:gd name="T31" fmla="*/ 15 h 55"/>
                <a:gd name="T32" fmla="*/ 23 w 32"/>
                <a:gd name="T33" fmla="*/ 16 h 55"/>
                <a:gd name="T34" fmla="*/ 28 w 32"/>
                <a:gd name="T35" fmla="*/ 19 h 55"/>
                <a:gd name="T36" fmla="*/ 31 w 32"/>
                <a:gd name="T37" fmla="*/ 26 h 55"/>
                <a:gd name="T38" fmla="*/ 32 w 32"/>
                <a:gd name="T39" fmla="*/ 35 h 55"/>
                <a:gd name="T40" fmla="*/ 25 w 32"/>
                <a:gd name="T41" fmla="*/ 35 h 55"/>
                <a:gd name="T42" fmla="*/ 23 w 32"/>
                <a:gd name="T43" fmla="*/ 25 h 55"/>
                <a:gd name="T44" fmla="*/ 16 w 32"/>
                <a:gd name="T45" fmla="*/ 22 h 55"/>
                <a:gd name="T46" fmla="*/ 14 w 32"/>
                <a:gd name="T47" fmla="*/ 22 h 55"/>
                <a:gd name="T48" fmla="*/ 11 w 32"/>
                <a:gd name="T49" fmla="*/ 23 h 55"/>
                <a:gd name="T50" fmla="*/ 9 w 32"/>
                <a:gd name="T51" fmla="*/ 25 h 55"/>
                <a:gd name="T52" fmla="*/ 7 w 32"/>
                <a:gd name="T53" fmla="*/ 26 h 55"/>
                <a:gd name="T54" fmla="*/ 7 w 32"/>
                <a:gd name="T55" fmla="*/ 43 h 55"/>
                <a:gd name="T56" fmla="*/ 9 w 32"/>
                <a:gd name="T57" fmla="*/ 44 h 55"/>
                <a:gd name="T58" fmla="*/ 11 w 32"/>
                <a:gd name="T59" fmla="*/ 46 h 55"/>
                <a:gd name="T60" fmla="*/ 14 w 32"/>
                <a:gd name="T61" fmla="*/ 47 h 55"/>
                <a:gd name="T62" fmla="*/ 16 w 32"/>
                <a:gd name="T63" fmla="*/ 48 h 55"/>
                <a:gd name="T64" fmla="*/ 23 w 32"/>
                <a:gd name="T65" fmla="*/ 45 h 55"/>
                <a:gd name="T66" fmla="*/ 25 w 32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2" h="55">
                  <a:moveTo>
                    <a:pt x="32" y="35"/>
                  </a:moveTo>
                  <a:cubicBezTo>
                    <a:pt x="32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6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5" y="55"/>
                    <a:pt x="13" y="54"/>
                    <a:pt x="12" y="53"/>
                  </a:cubicBezTo>
                  <a:cubicBezTo>
                    <a:pt x="10" y="52"/>
                    <a:pt x="9" y="51"/>
                    <a:pt x="7" y="50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6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20" y="15"/>
                    <a:pt x="21" y="15"/>
                    <a:pt x="23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29" y="21"/>
                    <a:pt x="30" y="23"/>
                    <a:pt x="31" y="26"/>
                  </a:cubicBezTo>
                  <a:cubicBezTo>
                    <a:pt x="32" y="28"/>
                    <a:pt x="32" y="32"/>
                    <a:pt x="32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4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0" y="23"/>
                    <a:pt x="10" y="24"/>
                    <a:pt x="9" y="25"/>
                  </a:cubicBezTo>
                  <a:cubicBezTo>
                    <a:pt x="8" y="25"/>
                    <a:pt x="8" y="26"/>
                    <a:pt x="7" y="26"/>
                  </a:cubicBezTo>
                  <a:cubicBezTo>
                    <a:pt x="7" y="43"/>
                    <a:pt x="7" y="43"/>
                    <a:pt x="7" y="43"/>
                  </a:cubicBezTo>
                  <a:cubicBezTo>
                    <a:pt x="8" y="43"/>
                    <a:pt x="8" y="44"/>
                    <a:pt x="9" y="44"/>
                  </a:cubicBezTo>
                  <a:cubicBezTo>
                    <a:pt x="10" y="45"/>
                    <a:pt x="10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5" y="48"/>
                    <a:pt x="16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196" name="Freeform 33">
              <a:extLst>
                <a:ext uri="{FF2B5EF4-FFF2-40B4-BE49-F238E27FC236}">
                  <a16:creationId xmlns:a16="http://schemas.microsoft.com/office/drawing/2014/main" id="{DE4E3633-17EF-414F-A86D-0B6A9F2F098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9860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8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8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3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7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197" name="Freeform 34">
              <a:extLst>
                <a:ext uri="{FF2B5EF4-FFF2-40B4-BE49-F238E27FC236}">
                  <a16:creationId xmlns:a16="http://schemas.microsoft.com/office/drawing/2014/main" id="{2572AE39-9386-47FC-B6AF-FBCF804BEB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625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3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198" name="Freeform 35">
              <a:extLst>
                <a:ext uri="{FF2B5EF4-FFF2-40B4-BE49-F238E27FC236}">
                  <a16:creationId xmlns:a16="http://schemas.microsoft.com/office/drawing/2014/main" id="{7096AEC6-B8C0-4212-842F-89677AE7D80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64256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7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6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7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199" name="Freeform 36">
              <a:extLst>
                <a:ext uri="{FF2B5EF4-FFF2-40B4-BE49-F238E27FC236}">
                  <a16:creationId xmlns:a16="http://schemas.microsoft.com/office/drawing/2014/main" id="{406AD873-E434-40CF-BFBD-6D1D1CA7CB8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2340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00" name="Freeform 37">
              <a:extLst>
                <a:ext uri="{FF2B5EF4-FFF2-40B4-BE49-F238E27FC236}">
                  <a16:creationId xmlns:a16="http://schemas.microsoft.com/office/drawing/2014/main" id="{74857EE2-44CC-4E8F-B1BB-355509B3EFE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36884" y="6212575"/>
              <a:ext cx="59286" cy="99391"/>
            </a:xfrm>
            <a:custGeom>
              <a:avLst/>
              <a:gdLst>
                <a:gd name="T0" fmla="*/ 21 w 23"/>
                <a:gd name="T1" fmla="*/ 8 h 39"/>
                <a:gd name="T2" fmla="*/ 19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9" y="7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01" name="Freeform 38">
              <a:extLst>
                <a:ext uri="{FF2B5EF4-FFF2-40B4-BE49-F238E27FC236}">
                  <a16:creationId xmlns:a16="http://schemas.microsoft.com/office/drawing/2014/main" id="{D39EC8B1-952E-4BF5-9735-6A38584161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51969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02" name="Freeform 39">
              <a:extLst>
                <a:ext uri="{FF2B5EF4-FFF2-40B4-BE49-F238E27FC236}">
                  <a16:creationId xmlns:a16="http://schemas.microsoft.com/office/drawing/2014/main" id="{EA37D3DF-3401-44BD-97F4-F423BFC87A1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30436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03" name="Freeform 40">
              <a:extLst>
                <a:ext uri="{FF2B5EF4-FFF2-40B4-BE49-F238E27FC236}">
                  <a16:creationId xmlns:a16="http://schemas.microsoft.com/office/drawing/2014/main" id="{7DFA4B46-95EA-4D4D-800F-4D2DB7BB66E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62808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04" name="Freeform 41">
              <a:extLst>
                <a:ext uri="{FF2B5EF4-FFF2-40B4-BE49-F238E27FC236}">
                  <a16:creationId xmlns:a16="http://schemas.microsoft.com/office/drawing/2014/main" id="{EF5012BA-3255-4BEF-8F4F-9117A6BEF32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772813" y="6212575"/>
              <a:ext cx="81955" cy="101135"/>
            </a:xfrm>
            <a:custGeom>
              <a:avLst/>
              <a:gdLst>
                <a:gd name="T0" fmla="*/ 24 w 32"/>
                <a:gd name="T1" fmla="*/ 39 h 40"/>
                <a:gd name="T2" fmla="*/ 24 w 32"/>
                <a:gd name="T3" fmla="*/ 35 h 40"/>
                <a:gd name="T4" fmla="*/ 22 w 32"/>
                <a:gd name="T5" fmla="*/ 37 h 40"/>
                <a:gd name="T6" fmla="*/ 20 w 32"/>
                <a:gd name="T7" fmla="*/ 38 h 40"/>
                <a:gd name="T8" fmla="*/ 17 w 32"/>
                <a:gd name="T9" fmla="*/ 39 h 40"/>
                <a:gd name="T10" fmla="*/ 14 w 32"/>
                <a:gd name="T11" fmla="*/ 40 h 40"/>
                <a:gd name="T12" fmla="*/ 9 w 32"/>
                <a:gd name="T13" fmla="*/ 39 h 40"/>
                <a:gd name="T14" fmla="*/ 5 w 32"/>
                <a:gd name="T15" fmla="*/ 37 h 40"/>
                <a:gd name="T16" fmla="*/ 2 w 32"/>
                <a:gd name="T17" fmla="*/ 33 h 40"/>
                <a:gd name="T18" fmla="*/ 0 w 32"/>
                <a:gd name="T19" fmla="*/ 27 h 40"/>
                <a:gd name="T20" fmla="*/ 2 w 32"/>
                <a:gd name="T21" fmla="*/ 21 h 40"/>
                <a:gd name="T22" fmla="*/ 5 w 32"/>
                <a:gd name="T23" fmla="*/ 17 h 40"/>
                <a:gd name="T24" fmla="*/ 10 w 32"/>
                <a:gd name="T25" fmla="*/ 15 h 40"/>
                <a:gd name="T26" fmla="*/ 16 w 32"/>
                <a:gd name="T27" fmla="*/ 14 h 40"/>
                <a:gd name="T28" fmla="*/ 21 w 32"/>
                <a:gd name="T29" fmla="*/ 15 h 40"/>
                <a:gd name="T30" fmla="*/ 24 w 32"/>
                <a:gd name="T31" fmla="*/ 16 h 40"/>
                <a:gd name="T32" fmla="*/ 24 w 32"/>
                <a:gd name="T33" fmla="*/ 13 h 40"/>
                <a:gd name="T34" fmla="*/ 22 w 32"/>
                <a:gd name="T35" fmla="*/ 8 h 40"/>
                <a:gd name="T36" fmla="*/ 17 w 32"/>
                <a:gd name="T37" fmla="*/ 6 h 40"/>
                <a:gd name="T38" fmla="*/ 12 w 32"/>
                <a:gd name="T39" fmla="*/ 7 h 40"/>
                <a:gd name="T40" fmla="*/ 7 w 32"/>
                <a:gd name="T41" fmla="*/ 9 h 40"/>
                <a:gd name="T42" fmla="*/ 4 w 32"/>
                <a:gd name="T43" fmla="*/ 3 h 40"/>
                <a:gd name="T44" fmla="*/ 10 w 32"/>
                <a:gd name="T45" fmla="*/ 0 h 40"/>
                <a:gd name="T46" fmla="*/ 17 w 32"/>
                <a:gd name="T47" fmla="*/ 0 h 40"/>
                <a:gd name="T48" fmla="*/ 23 w 32"/>
                <a:gd name="T49" fmla="*/ 0 h 40"/>
                <a:gd name="T50" fmla="*/ 28 w 32"/>
                <a:gd name="T51" fmla="*/ 3 h 40"/>
                <a:gd name="T52" fmla="*/ 31 w 32"/>
                <a:gd name="T53" fmla="*/ 7 h 40"/>
                <a:gd name="T54" fmla="*/ 32 w 32"/>
                <a:gd name="T55" fmla="*/ 12 h 40"/>
                <a:gd name="T56" fmla="*/ 32 w 32"/>
                <a:gd name="T57" fmla="*/ 39 h 40"/>
                <a:gd name="T58" fmla="*/ 24 w 32"/>
                <a:gd name="T59" fmla="*/ 39 h 40"/>
                <a:gd name="T60" fmla="*/ 24 w 32"/>
                <a:gd name="T61" fmla="*/ 22 h 40"/>
                <a:gd name="T62" fmla="*/ 22 w 32"/>
                <a:gd name="T63" fmla="*/ 22 h 40"/>
                <a:gd name="T64" fmla="*/ 21 w 32"/>
                <a:gd name="T65" fmla="*/ 21 h 40"/>
                <a:gd name="T66" fmla="*/ 18 w 32"/>
                <a:gd name="T67" fmla="*/ 21 h 40"/>
                <a:gd name="T68" fmla="*/ 16 w 32"/>
                <a:gd name="T69" fmla="*/ 21 h 40"/>
                <a:gd name="T70" fmla="*/ 10 w 32"/>
                <a:gd name="T71" fmla="*/ 22 h 40"/>
                <a:gd name="T72" fmla="*/ 8 w 32"/>
                <a:gd name="T73" fmla="*/ 26 h 40"/>
                <a:gd name="T74" fmla="*/ 8 w 32"/>
                <a:gd name="T75" fmla="*/ 29 h 40"/>
                <a:gd name="T76" fmla="*/ 10 w 32"/>
                <a:gd name="T77" fmla="*/ 31 h 40"/>
                <a:gd name="T78" fmla="*/ 12 w 32"/>
                <a:gd name="T79" fmla="*/ 32 h 40"/>
                <a:gd name="T80" fmla="*/ 15 w 32"/>
                <a:gd name="T81" fmla="*/ 33 h 40"/>
                <a:gd name="T82" fmla="*/ 18 w 32"/>
                <a:gd name="T83" fmla="*/ 32 h 40"/>
                <a:gd name="T84" fmla="*/ 21 w 32"/>
                <a:gd name="T85" fmla="*/ 31 h 40"/>
                <a:gd name="T86" fmla="*/ 23 w 32"/>
                <a:gd name="T87" fmla="*/ 30 h 40"/>
                <a:gd name="T88" fmla="*/ 24 w 32"/>
                <a:gd name="T89" fmla="*/ 28 h 40"/>
                <a:gd name="T90" fmla="*/ 24 w 32"/>
                <a:gd name="T91" fmla="*/ 2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2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3" y="37"/>
                    <a:pt x="22" y="37"/>
                  </a:cubicBezTo>
                  <a:cubicBezTo>
                    <a:pt x="21" y="37"/>
                    <a:pt x="21" y="38"/>
                    <a:pt x="20" y="38"/>
                  </a:cubicBezTo>
                  <a:cubicBezTo>
                    <a:pt x="19" y="39"/>
                    <a:pt x="18" y="39"/>
                    <a:pt x="17" y="39"/>
                  </a:cubicBezTo>
                  <a:cubicBezTo>
                    <a:pt x="16" y="39"/>
                    <a:pt x="15" y="40"/>
                    <a:pt x="14" y="40"/>
                  </a:cubicBezTo>
                  <a:cubicBezTo>
                    <a:pt x="12" y="40"/>
                    <a:pt x="11" y="39"/>
                    <a:pt x="9" y="39"/>
                  </a:cubicBezTo>
                  <a:cubicBezTo>
                    <a:pt x="7" y="38"/>
                    <a:pt x="6" y="38"/>
                    <a:pt x="5" y="37"/>
                  </a:cubicBezTo>
                  <a:cubicBezTo>
                    <a:pt x="3" y="36"/>
                    <a:pt x="2" y="34"/>
                    <a:pt x="2" y="33"/>
                  </a:cubicBezTo>
                  <a:cubicBezTo>
                    <a:pt x="1" y="31"/>
                    <a:pt x="0" y="29"/>
                    <a:pt x="0" y="27"/>
                  </a:cubicBezTo>
                  <a:cubicBezTo>
                    <a:pt x="0" y="24"/>
                    <a:pt x="1" y="23"/>
                    <a:pt x="2" y="21"/>
                  </a:cubicBezTo>
                  <a:cubicBezTo>
                    <a:pt x="2" y="20"/>
                    <a:pt x="3" y="18"/>
                    <a:pt x="5" y="17"/>
                  </a:cubicBezTo>
                  <a:cubicBezTo>
                    <a:pt x="6" y="16"/>
                    <a:pt x="8" y="15"/>
                    <a:pt x="10" y="15"/>
                  </a:cubicBezTo>
                  <a:cubicBezTo>
                    <a:pt x="12" y="14"/>
                    <a:pt x="14" y="14"/>
                    <a:pt x="16" y="14"/>
                  </a:cubicBezTo>
                  <a:cubicBezTo>
                    <a:pt x="18" y="14"/>
                    <a:pt x="19" y="14"/>
                    <a:pt x="21" y="15"/>
                  </a:cubicBezTo>
                  <a:cubicBezTo>
                    <a:pt x="22" y="15"/>
                    <a:pt x="23" y="15"/>
                    <a:pt x="24" y="16"/>
                  </a:cubicBezTo>
                  <a:cubicBezTo>
                    <a:pt x="24" y="13"/>
                    <a:pt x="24" y="13"/>
                    <a:pt x="24" y="13"/>
                  </a:cubicBezTo>
                  <a:cubicBezTo>
                    <a:pt x="24" y="11"/>
                    <a:pt x="24" y="9"/>
                    <a:pt x="22" y="8"/>
                  </a:cubicBezTo>
                  <a:cubicBezTo>
                    <a:pt x="21" y="7"/>
                    <a:pt x="19" y="6"/>
                    <a:pt x="17" y="6"/>
                  </a:cubicBezTo>
                  <a:cubicBezTo>
                    <a:pt x="15" y="6"/>
                    <a:pt x="13" y="6"/>
                    <a:pt x="12" y="7"/>
                  </a:cubicBezTo>
                  <a:cubicBezTo>
                    <a:pt x="10" y="7"/>
                    <a:pt x="9" y="8"/>
                    <a:pt x="7" y="9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6" y="2"/>
                    <a:pt x="8" y="1"/>
                    <a:pt x="10" y="0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19" y="0"/>
                    <a:pt x="21" y="0"/>
                    <a:pt x="23" y="0"/>
                  </a:cubicBezTo>
                  <a:cubicBezTo>
                    <a:pt x="25" y="1"/>
                    <a:pt x="26" y="2"/>
                    <a:pt x="28" y="3"/>
                  </a:cubicBezTo>
                  <a:cubicBezTo>
                    <a:pt x="29" y="4"/>
                    <a:pt x="30" y="5"/>
                    <a:pt x="31" y="7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2" y="39"/>
                    <a:pt x="32" y="39"/>
                    <a:pt x="32" y="39"/>
                  </a:cubicBezTo>
                  <a:lnTo>
                    <a:pt x="24" y="39"/>
                  </a:lnTo>
                  <a:close/>
                  <a:moveTo>
                    <a:pt x="24" y="22"/>
                  </a:moveTo>
                  <a:cubicBezTo>
                    <a:pt x="24" y="22"/>
                    <a:pt x="23" y="22"/>
                    <a:pt x="22" y="22"/>
                  </a:cubicBezTo>
                  <a:cubicBezTo>
                    <a:pt x="22" y="21"/>
                    <a:pt x="21" y="21"/>
                    <a:pt x="21" y="21"/>
                  </a:cubicBezTo>
                  <a:cubicBezTo>
                    <a:pt x="20" y="21"/>
                    <a:pt x="19" y="21"/>
                    <a:pt x="18" y="21"/>
                  </a:cubicBezTo>
                  <a:cubicBezTo>
                    <a:pt x="17" y="21"/>
                    <a:pt x="17" y="21"/>
                    <a:pt x="16" y="21"/>
                  </a:cubicBezTo>
                  <a:cubicBezTo>
                    <a:pt x="13" y="21"/>
                    <a:pt x="11" y="21"/>
                    <a:pt x="10" y="22"/>
                  </a:cubicBezTo>
                  <a:cubicBezTo>
                    <a:pt x="8" y="23"/>
                    <a:pt x="8" y="25"/>
                    <a:pt x="8" y="26"/>
                  </a:cubicBezTo>
                  <a:cubicBezTo>
                    <a:pt x="8" y="28"/>
                    <a:pt x="8" y="29"/>
                    <a:pt x="8" y="29"/>
                  </a:cubicBezTo>
                  <a:cubicBezTo>
                    <a:pt x="9" y="30"/>
                    <a:pt x="9" y="31"/>
                    <a:pt x="10" y="31"/>
                  </a:cubicBezTo>
                  <a:cubicBezTo>
                    <a:pt x="10" y="32"/>
                    <a:pt x="11" y="32"/>
                    <a:pt x="12" y="32"/>
                  </a:cubicBezTo>
                  <a:cubicBezTo>
                    <a:pt x="13" y="33"/>
                    <a:pt x="14" y="33"/>
                    <a:pt x="15" y="33"/>
                  </a:cubicBezTo>
                  <a:cubicBezTo>
                    <a:pt x="16" y="33"/>
                    <a:pt x="17" y="33"/>
                    <a:pt x="18" y="32"/>
                  </a:cubicBezTo>
                  <a:cubicBezTo>
                    <a:pt x="19" y="32"/>
                    <a:pt x="20" y="32"/>
                    <a:pt x="21" y="31"/>
                  </a:cubicBezTo>
                  <a:cubicBezTo>
                    <a:pt x="21" y="31"/>
                    <a:pt x="22" y="30"/>
                    <a:pt x="23" y="30"/>
                  </a:cubicBezTo>
                  <a:cubicBezTo>
                    <a:pt x="23" y="29"/>
                    <a:pt x="24" y="28"/>
                    <a:pt x="24" y="28"/>
                  </a:cubicBezTo>
                  <a:lnTo>
                    <a:pt x="24" y="2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05" name="Freeform 42">
              <a:extLst>
                <a:ext uri="{FF2B5EF4-FFF2-40B4-BE49-F238E27FC236}">
                  <a16:creationId xmlns:a16="http://schemas.microsoft.com/office/drawing/2014/main" id="{223989A0-E246-4806-AF7E-9D6C2B1DD48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77436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2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10 w 31"/>
                <a:gd name="T11" fmla="*/ 9 h 39"/>
                <a:gd name="T12" fmla="*/ 8 w 31"/>
                <a:gd name="T13" fmla="*/ 12 h 39"/>
                <a:gd name="T14" fmla="*/ 8 w 31"/>
                <a:gd name="T15" fmla="*/ 16 h 39"/>
                <a:gd name="T16" fmla="*/ 8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8 w 31"/>
                <a:gd name="T23" fmla="*/ 0 h 39"/>
                <a:gd name="T24" fmla="*/ 8 w 31"/>
                <a:gd name="T25" fmla="*/ 4 h 39"/>
                <a:gd name="T26" fmla="*/ 9 w 31"/>
                <a:gd name="T27" fmla="*/ 2 h 39"/>
                <a:gd name="T28" fmla="*/ 12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8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2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10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8" y="15"/>
                    <a:pt x="8" y="16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2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20" y="0"/>
                    <a:pt x="22" y="0"/>
                    <a:pt x="23" y="1"/>
                  </a:cubicBezTo>
                  <a:cubicBezTo>
                    <a:pt x="25" y="1"/>
                    <a:pt x="26" y="2"/>
                    <a:pt x="28" y="4"/>
                  </a:cubicBezTo>
                  <a:cubicBezTo>
                    <a:pt x="29" y="5"/>
                    <a:pt x="29" y="7"/>
                    <a:pt x="30" y="9"/>
                  </a:cubicBezTo>
                  <a:cubicBezTo>
                    <a:pt x="31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06" name="Freeform 43">
              <a:extLst>
                <a:ext uri="{FF2B5EF4-FFF2-40B4-BE49-F238E27FC236}">
                  <a16:creationId xmlns:a16="http://schemas.microsoft.com/office/drawing/2014/main" id="{5FED967A-F1ED-4489-A689-A9A49A2780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75084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0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3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6 w 29"/>
                <a:gd name="T55" fmla="*/ 24 h 40"/>
                <a:gd name="T56" fmla="*/ 13 w 29"/>
                <a:gd name="T57" fmla="*/ 22 h 40"/>
                <a:gd name="T58" fmla="*/ 7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1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2" y="6"/>
                    <a:pt x="11" y="7"/>
                    <a:pt x="10" y="7"/>
                  </a:cubicBezTo>
                  <a:cubicBezTo>
                    <a:pt x="9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1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8" y="25"/>
                    <a:pt x="18" y="24"/>
                    <a:pt x="16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7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2" y="15"/>
                    <a:pt x="2" y="14"/>
                  </a:cubicBezTo>
                  <a:cubicBezTo>
                    <a:pt x="2" y="13"/>
                    <a:pt x="1" y="12"/>
                    <a:pt x="1" y="10"/>
                  </a:cubicBezTo>
                  <a:cubicBezTo>
                    <a:pt x="1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07" name="Freeform 44">
              <a:extLst>
                <a:ext uri="{FF2B5EF4-FFF2-40B4-BE49-F238E27FC236}">
                  <a16:creationId xmlns:a16="http://schemas.microsoft.com/office/drawing/2014/main" id="{DA362954-FE74-40B7-AB98-CC8AC60FFC8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58782" y="6212575"/>
              <a:ext cx="122060" cy="99391"/>
            </a:xfrm>
            <a:custGeom>
              <a:avLst/>
              <a:gdLst>
                <a:gd name="T0" fmla="*/ 55 w 70"/>
                <a:gd name="T1" fmla="*/ 57 h 57"/>
                <a:gd name="T2" fmla="*/ 45 w 70"/>
                <a:gd name="T3" fmla="*/ 57 h 57"/>
                <a:gd name="T4" fmla="*/ 35 w 70"/>
                <a:gd name="T5" fmla="*/ 17 h 57"/>
                <a:gd name="T6" fmla="*/ 25 w 70"/>
                <a:gd name="T7" fmla="*/ 57 h 57"/>
                <a:gd name="T8" fmla="*/ 14 w 70"/>
                <a:gd name="T9" fmla="*/ 57 h 57"/>
                <a:gd name="T10" fmla="*/ 0 w 70"/>
                <a:gd name="T11" fmla="*/ 0 h 57"/>
                <a:gd name="T12" fmla="*/ 10 w 70"/>
                <a:gd name="T13" fmla="*/ 0 h 57"/>
                <a:gd name="T14" fmla="*/ 20 w 70"/>
                <a:gd name="T15" fmla="*/ 39 h 57"/>
                <a:gd name="T16" fmla="*/ 30 w 70"/>
                <a:gd name="T17" fmla="*/ 0 h 57"/>
                <a:gd name="T18" fmla="*/ 39 w 70"/>
                <a:gd name="T19" fmla="*/ 0 h 57"/>
                <a:gd name="T20" fmla="*/ 49 w 70"/>
                <a:gd name="T21" fmla="*/ 39 h 57"/>
                <a:gd name="T22" fmla="*/ 60 w 70"/>
                <a:gd name="T23" fmla="*/ 0 h 57"/>
                <a:gd name="T24" fmla="*/ 70 w 70"/>
                <a:gd name="T25" fmla="*/ 0 h 57"/>
                <a:gd name="T26" fmla="*/ 55 w 70"/>
                <a:gd name="T27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7">
                  <a:moveTo>
                    <a:pt x="55" y="57"/>
                  </a:moveTo>
                  <a:lnTo>
                    <a:pt x="45" y="57"/>
                  </a:lnTo>
                  <a:lnTo>
                    <a:pt x="35" y="17"/>
                  </a:lnTo>
                  <a:lnTo>
                    <a:pt x="25" y="57"/>
                  </a:lnTo>
                  <a:lnTo>
                    <a:pt x="14" y="57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0" y="39"/>
                  </a:lnTo>
                  <a:lnTo>
                    <a:pt x="30" y="0"/>
                  </a:lnTo>
                  <a:lnTo>
                    <a:pt x="39" y="0"/>
                  </a:lnTo>
                  <a:lnTo>
                    <a:pt x="49" y="39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08" name="Freeform 45">
              <a:extLst>
                <a:ext uri="{FF2B5EF4-FFF2-40B4-BE49-F238E27FC236}">
                  <a16:creationId xmlns:a16="http://schemas.microsoft.com/office/drawing/2014/main" id="{C1C7EF3F-CB28-4C69-901C-8F9F09C5B59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1913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09" name="Freeform 46">
              <a:extLst>
                <a:ext uri="{FF2B5EF4-FFF2-40B4-BE49-F238E27FC236}">
                  <a16:creationId xmlns:a16="http://schemas.microsoft.com/office/drawing/2014/main" id="{80D5AA14-D31C-42E8-B89F-2FCABF20400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95927" y="6212575"/>
              <a:ext cx="57543" cy="99391"/>
            </a:xfrm>
            <a:custGeom>
              <a:avLst/>
              <a:gdLst>
                <a:gd name="T0" fmla="*/ 21 w 23"/>
                <a:gd name="T1" fmla="*/ 8 h 39"/>
                <a:gd name="T2" fmla="*/ 18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6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0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10" name="Freeform 47">
              <a:extLst>
                <a:ext uri="{FF2B5EF4-FFF2-40B4-BE49-F238E27FC236}">
                  <a16:creationId xmlns:a16="http://schemas.microsoft.com/office/drawing/2014/main" id="{3894EB82-A456-47F8-BB06-FE894AF4B86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6494" y="6284068"/>
              <a:ext cx="29644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3 w 12"/>
                <a:gd name="T11" fmla="*/ 11 h 12"/>
                <a:gd name="T12" fmla="*/ 2 w 12"/>
                <a:gd name="T13" fmla="*/ 10 h 12"/>
                <a:gd name="T14" fmla="*/ 0 w 12"/>
                <a:gd name="T15" fmla="*/ 8 h 12"/>
                <a:gd name="T16" fmla="*/ 0 w 12"/>
                <a:gd name="T17" fmla="*/ 6 h 12"/>
                <a:gd name="T18" fmla="*/ 0 w 12"/>
                <a:gd name="T19" fmla="*/ 4 h 12"/>
                <a:gd name="T20" fmla="*/ 2 w 12"/>
                <a:gd name="T21" fmla="*/ 2 h 12"/>
                <a:gd name="T22" fmla="*/ 3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3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0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3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11" name="Freeform 48">
              <a:extLst>
                <a:ext uri="{FF2B5EF4-FFF2-40B4-BE49-F238E27FC236}">
                  <a16:creationId xmlns:a16="http://schemas.microsoft.com/office/drawing/2014/main" id="{A88F5C3F-FAE1-4A50-86D3-E9A1CAA89A9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388691"/>
              <a:ext cx="94161" cy="130778"/>
            </a:xfrm>
            <a:custGeom>
              <a:avLst/>
              <a:gdLst>
                <a:gd name="T0" fmla="*/ 32 w 54"/>
                <a:gd name="T1" fmla="*/ 12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2 h 75"/>
                <a:gd name="T8" fmla="*/ 0 w 54"/>
                <a:gd name="T9" fmla="*/ 12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2 h 75"/>
                <a:gd name="T16" fmla="*/ 32 w 54"/>
                <a:gd name="T17" fmla="*/ 12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2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2"/>
                  </a:lnTo>
                  <a:lnTo>
                    <a:pt x="0" y="12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2"/>
                  </a:lnTo>
                  <a:lnTo>
                    <a:pt x="32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12" name="Freeform 49">
              <a:extLst>
                <a:ext uri="{FF2B5EF4-FFF2-40B4-BE49-F238E27FC236}">
                  <a16:creationId xmlns:a16="http://schemas.microsoft.com/office/drawing/2014/main" id="{1EFCBDA7-FA42-4391-9872-95EB6DDEA68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383459"/>
              <a:ext cx="78468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9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1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7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7"/>
                    <a:pt x="9" y="17"/>
                  </a:cubicBezTo>
                  <a:cubicBezTo>
                    <a:pt x="10" y="16"/>
                    <a:pt x="10" y="16"/>
                    <a:pt x="11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13" name="Freeform 50">
              <a:extLst>
                <a:ext uri="{FF2B5EF4-FFF2-40B4-BE49-F238E27FC236}">
                  <a16:creationId xmlns:a16="http://schemas.microsoft.com/office/drawing/2014/main" id="{721D8C30-DB23-4A0B-8A74-BC467086477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418333"/>
              <a:ext cx="85443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7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3 w 33"/>
                <a:gd name="T73" fmla="*/ 8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9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2" y="32"/>
                    <a:pt x="23" y="32"/>
                    <a:pt x="23" y="32"/>
                  </a:cubicBezTo>
                  <a:cubicBezTo>
                    <a:pt x="24" y="31"/>
                    <a:pt x="25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1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5" y="13"/>
                  </a:cubicBezTo>
                  <a:cubicBezTo>
                    <a:pt x="24" y="12"/>
                    <a:pt x="24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14" name="Freeform 51">
              <a:extLst>
                <a:ext uri="{FF2B5EF4-FFF2-40B4-BE49-F238E27FC236}">
                  <a16:creationId xmlns:a16="http://schemas.microsoft.com/office/drawing/2014/main" id="{01AD00CA-8BC7-4B62-AC64-03851855A7A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383459"/>
              <a:ext cx="83698" cy="137753"/>
            </a:xfrm>
            <a:custGeom>
              <a:avLst/>
              <a:gdLst>
                <a:gd name="T0" fmla="*/ 33 w 33"/>
                <a:gd name="T1" fmla="*/ 35 h 54"/>
                <a:gd name="T2" fmla="*/ 31 w 33"/>
                <a:gd name="T3" fmla="*/ 43 h 54"/>
                <a:gd name="T4" fmla="*/ 28 w 33"/>
                <a:gd name="T5" fmla="*/ 49 h 54"/>
                <a:gd name="T6" fmla="*/ 23 w 33"/>
                <a:gd name="T7" fmla="*/ 53 h 54"/>
                <a:gd name="T8" fmla="*/ 17 w 33"/>
                <a:gd name="T9" fmla="*/ 54 h 54"/>
                <a:gd name="T10" fmla="*/ 12 w 33"/>
                <a:gd name="T11" fmla="*/ 53 h 54"/>
                <a:gd name="T12" fmla="*/ 8 w 33"/>
                <a:gd name="T13" fmla="*/ 50 h 54"/>
                <a:gd name="T14" fmla="*/ 8 w 33"/>
                <a:gd name="T15" fmla="*/ 53 h 54"/>
                <a:gd name="T16" fmla="*/ 0 w 33"/>
                <a:gd name="T17" fmla="*/ 53 h 54"/>
                <a:gd name="T18" fmla="*/ 0 w 33"/>
                <a:gd name="T19" fmla="*/ 4 h 54"/>
                <a:gd name="T20" fmla="*/ 8 w 33"/>
                <a:gd name="T21" fmla="*/ 0 h 54"/>
                <a:gd name="T22" fmla="*/ 8 w 33"/>
                <a:gd name="T23" fmla="*/ 19 h 54"/>
                <a:gd name="T24" fmla="*/ 10 w 33"/>
                <a:gd name="T25" fmla="*/ 17 h 54"/>
                <a:gd name="T26" fmla="*/ 12 w 33"/>
                <a:gd name="T27" fmla="*/ 16 h 54"/>
                <a:gd name="T28" fmla="*/ 14 w 33"/>
                <a:gd name="T29" fmla="*/ 14 h 54"/>
                <a:gd name="T30" fmla="*/ 18 w 33"/>
                <a:gd name="T31" fmla="*/ 14 h 54"/>
                <a:gd name="T32" fmla="*/ 24 w 33"/>
                <a:gd name="T33" fmla="*/ 15 h 54"/>
                <a:gd name="T34" fmla="*/ 28 w 33"/>
                <a:gd name="T35" fmla="*/ 19 h 54"/>
                <a:gd name="T36" fmla="*/ 31 w 33"/>
                <a:gd name="T37" fmla="*/ 25 h 54"/>
                <a:gd name="T38" fmla="*/ 33 w 33"/>
                <a:gd name="T39" fmla="*/ 35 h 54"/>
                <a:gd name="T40" fmla="*/ 25 w 33"/>
                <a:gd name="T41" fmla="*/ 35 h 54"/>
                <a:gd name="T42" fmla="*/ 23 w 33"/>
                <a:gd name="T43" fmla="*/ 24 h 54"/>
                <a:gd name="T44" fmla="*/ 16 w 33"/>
                <a:gd name="T45" fmla="*/ 21 h 54"/>
                <a:gd name="T46" fmla="*/ 14 w 33"/>
                <a:gd name="T47" fmla="*/ 21 h 54"/>
                <a:gd name="T48" fmla="*/ 11 w 33"/>
                <a:gd name="T49" fmla="*/ 23 h 54"/>
                <a:gd name="T50" fmla="*/ 9 w 33"/>
                <a:gd name="T51" fmla="*/ 24 h 54"/>
                <a:gd name="T52" fmla="*/ 8 w 33"/>
                <a:gd name="T53" fmla="*/ 26 h 54"/>
                <a:gd name="T54" fmla="*/ 8 w 33"/>
                <a:gd name="T55" fmla="*/ 42 h 54"/>
                <a:gd name="T56" fmla="*/ 9 w 33"/>
                <a:gd name="T57" fmla="*/ 44 h 54"/>
                <a:gd name="T58" fmla="*/ 11 w 33"/>
                <a:gd name="T59" fmla="*/ 45 h 54"/>
                <a:gd name="T60" fmla="*/ 14 w 33"/>
                <a:gd name="T61" fmla="*/ 47 h 54"/>
                <a:gd name="T62" fmla="*/ 17 w 33"/>
                <a:gd name="T63" fmla="*/ 47 h 54"/>
                <a:gd name="T64" fmla="*/ 23 w 33"/>
                <a:gd name="T65" fmla="*/ 44 h 54"/>
                <a:gd name="T66" fmla="*/ 25 w 33"/>
                <a:gd name="T67" fmla="*/ 35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4">
                  <a:moveTo>
                    <a:pt x="33" y="35"/>
                  </a:moveTo>
                  <a:cubicBezTo>
                    <a:pt x="33" y="38"/>
                    <a:pt x="32" y="41"/>
                    <a:pt x="31" y="43"/>
                  </a:cubicBezTo>
                  <a:cubicBezTo>
                    <a:pt x="30" y="46"/>
                    <a:pt x="29" y="48"/>
                    <a:pt x="28" y="49"/>
                  </a:cubicBezTo>
                  <a:cubicBezTo>
                    <a:pt x="27" y="51"/>
                    <a:pt x="25" y="52"/>
                    <a:pt x="23" y="53"/>
                  </a:cubicBezTo>
                  <a:cubicBezTo>
                    <a:pt x="21" y="54"/>
                    <a:pt x="19" y="54"/>
                    <a:pt x="17" y="54"/>
                  </a:cubicBezTo>
                  <a:cubicBezTo>
                    <a:pt x="16" y="54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7"/>
                    <a:pt x="10" y="17"/>
                  </a:cubicBezTo>
                  <a:cubicBezTo>
                    <a:pt x="11" y="16"/>
                    <a:pt x="11" y="16"/>
                    <a:pt x="12" y="16"/>
                  </a:cubicBezTo>
                  <a:cubicBezTo>
                    <a:pt x="13" y="15"/>
                    <a:pt x="13" y="15"/>
                    <a:pt x="14" y="14"/>
                  </a:cubicBezTo>
                  <a:cubicBezTo>
                    <a:pt x="15" y="14"/>
                    <a:pt x="16" y="14"/>
                    <a:pt x="18" y="14"/>
                  </a:cubicBezTo>
                  <a:cubicBezTo>
                    <a:pt x="20" y="14"/>
                    <a:pt x="22" y="14"/>
                    <a:pt x="24" y="15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30" y="21"/>
                    <a:pt x="31" y="23"/>
                    <a:pt x="31" y="25"/>
                  </a:cubicBezTo>
                  <a:cubicBezTo>
                    <a:pt x="32" y="28"/>
                    <a:pt x="33" y="31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0"/>
                    <a:pt x="24" y="27"/>
                    <a:pt x="23" y="24"/>
                  </a:cubicBezTo>
                  <a:cubicBezTo>
                    <a:pt x="21" y="22"/>
                    <a:pt x="19" y="21"/>
                    <a:pt x="16" y="21"/>
                  </a:cubicBezTo>
                  <a:cubicBezTo>
                    <a:pt x="15" y="21"/>
                    <a:pt x="15" y="21"/>
                    <a:pt x="14" y="21"/>
                  </a:cubicBezTo>
                  <a:cubicBezTo>
                    <a:pt x="13" y="22"/>
                    <a:pt x="12" y="22"/>
                    <a:pt x="11" y="23"/>
                  </a:cubicBezTo>
                  <a:cubicBezTo>
                    <a:pt x="11" y="23"/>
                    <a:pt x="10" y="24"/>
                    <a:pt x="9" y="24"/>
                  </a:cubicBezTo>
                  <a:cubicBezTo>
                    <a:pt x="9" y="25"/>
                    <a:pt x="8" y="25"/>
                    <a:pt x="8" y="26"/>
                  </a:cubicBezTo>
                  <a:cubicBezTo>
                    <a:pt x="8" y="42"/>
                    <a:pt x="8" y="42"/>
                    <a:pt x="8" y="42"/>
                  </a:cubicBezTo>
                  <a:cubicBezTo>
                    <a:pt x="8" y="43"/>
                    <a:pt x="9" y="43"/>
                    <a:pt x="9" y="44"/>
                  </a:cubicBezTo>
                  <a:cubicBezTo>
                    <a:pt x="10" y="44"/>
                    <a:pt x="11" y="45"/>
                    <a:pt x="11" y="45"/>
                  </a:cubicBezTo>
                  <a:cubicBezTo>
                    <a:pt x="12" y="46"/>
                    <a:pt x="13" y="46"/>
                    <a:pt x="14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9" y="47"/>
                    <a:pt x="21" y="46"/>
                    <a:pt x="23" y="44"/>
                  </a:cubicBezTo>
                  <a:cubicBezTo>
                    <a:pt x="24" y="42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15" name="Freeform 52">
              <a:extLst>
                <a:ext uri="{FF2B5EF4-FFF2-40B4-BE49-F238E27FC236}">
                  <a16:creationId xmlns:a16="http://schemas.microsoft.com/office/drawing/2014/main" id="{BC957590-E3D7-48BF-A1DF-73DCD767385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1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4" y="31"/>
                    <a:pt x="24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16" name="Freeform 53">
              <a:extLst>
                <a:ext uri="{FF2B5EF4-FFF2-40B4-BE49-F238E27FC236}">
                  <a16:creationId xmlns:a16="http://schemas.microsoft.com/office/drawing/2014/main" id="{9BC2125B-AF0E-4411-AFA7-3F79B873BFB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1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2" y="54"/>
                    <a:pt x="11" y="54"/>
                  </a:cubicBezTo>
                  <a:cubicBezTo>
                    <a:pt x="10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2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17" name="Freeform 54">
              <a:extLst>
                <a:ext uri="{FF2B5EF4-FFF2-40B4-BE49-F238E27FC236}">
                  <a16:creationId xmlns:a16="http://schemas.microsoft.com/office/drawing/2014/main" id="{1E5BE33C-9675-423A-802C-0A789DB1851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18" name="Freeform 55">
              <a:extLst>
                <a:ext uri="{FF2B5EF4-FFF2-40B4-BE49-F238E27FC236}">
                  <a16:creationId xmlns:a16="http://schemas.microsoft.com/office/drawing/2014/main" id="{FB04A8AC-9DA2-4FB3-985A-DD8E6439135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0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2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0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3" y="31"/>
                    <a:pt x="24" y="31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0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7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19" name="Freeform 56">
              <a:extLst>
                <a:ext uri="{FF2B5EF4-FFF2-40B4-BE49-F238E27FC236}">
                  <a16:creationId xmlns:a16="http://schemas.microsoft.com/office/drawing/2014/main" id="{F365BB87-C861-4F40-A844-477BAA1EAA5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418333"/>
              <a:ext cx="55799" cy="101135"/>
            </a:xfrm>
            <a:custGeom>
              <a:avLst/>
              <a:gdLst>
                <a:gd name="T0" fmla="*/ 20 w 22"/>
                <a:gd name="T1" fmla="*/ 9 h 39"/>
                <a:gd name="T2" fmla="*/ 18 w 22"/>
                <a:gd name="T3" fmla="*/ 8 h 39"/>
                <a:gd name="T4" fmla="*/ 15 w 22"/>
                <a:gd name="T5" fmla="*/ 7 h 39"/>
                <a:gd name="T6" fmla="*/ 9 w 22"/>
                <a:gd name="T7" fmla="*/ 10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1 h 39"/>
                <a:gd name="T16" fmla="*/ 7 w 22"/>
                <a:gd name="T17" fmla="*/ 1 h 39"/>
                <a:gd name="T18" fmla="*/ 7 w 22"/>
                <a:gd name="T19" fmla="*/ 5 h 39"/>
                <a:gd name="T20" fmla="*/ 9 w 22"/>
                <a:gd name="T21" fmla="*/ 3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1 h 39"/>
                <a:gd name="T30" fmla="*/ 22 w 22"/>
                <a:gd name="T31" fmla="*/ 2 h 39"/>
                <a:gd name="T32" fmla="*/ 20 w 22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7" y="8"/>
                    <a:pt x="16" y="7"/>
                    <a:pt x="15" y="7"/>
                  </a:cubicBezTo>
                  <a:cubicBezTo>
                    <a:pt x="12" y="7"/>
                    <a:pt x="10" y="8"/>
                    <a:pt x="9" y="10"/>
                  </a:cubicBezTo>
                  <a:cubicBezTo>
                    <a:pt x="8" y="12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8" y="4"/>
                    <a:pt x="8" y="3"/>
                    <a:pt x="9" y="3"/>
                  </a:cubicBezTo>
                  <a:cubicBezTo>
                    <a:pt x="9" y="2"/>
                    <a:pt x="10" y="2"/>
                    <a:pt x="11" y="1"/>
                  </a:cubicBezTo>
                  <a:cubicBezTo>
                    <a:pt x="11" y="1"/>
                    <a:pt x="12" y="1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1"/>
                  </a:cubicBezTo>
                  <a:cubicBezTo>
                    <a:pt x="21" y="1"/>
                    <a:pt x="22" y="1"/>
                    <a:pt x="22" y="2"/>
                  </a:cubicBezTo>
                  <a:lnTo>
                    <a:pt x="20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20" name="Freeform 57">
              <a:extLst>
                <a:ext uri="{FF2B5EF4-FFF2-40B4-BE49-F238E27FC236}">
                  <a16:creationId xmlns:a16="http://schemas.microsoft.com/office/drawing/2014/main" id="{8B7E2806-AAFA-45B5-B801-55C79A92779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21" name="Freeform 58">
              <a:extLst>
                <a:ext uri="{FF2B5EF4-FFF2-40B4-BE49-F238E27FC236}">
                  <a16:creationId xmlns:a16="http://schemas.microsoft.com/office/drawing/2014/main" id="{7A49B80F-B4C0-4F31-9238-8123D3E20D1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383459"/>
              <a:ext cx="80211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10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2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8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7"/>
                    <a:pt x="9" y="17"/>
                  </a:cubicBezTo>
                  <a:cubicBezTo>
                    <a:pt x="10" y="16"/>
                    <a:pt x="11" y="16"/>
                    <a:pt x="12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22" name="Freeform 59">
              <a:extLst>
                <a:ext uri="{FF2B5EF4-FFF2-40B4-BE49-F238E27FC236}">
                  <a16:creationId xmlns:a16="http://schemas.microsoft.com/office/drawing/2014/main" id="{9C60C45F-865F-4118-A4B0-174C696B472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8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2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6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1 w 33"/>
                <a:gd name="T69" fmla="*/ 8 h 40"/>
                <a:gd name="T70" fmla="*/ 17 w 33"/>
                <a:gd name="T71" fmla="*/ 7 h 40"/>
                <a:gd name="T72" fmla="*/ 13 w 33"/>
                <a:gd name="T73" fmla="*/ 8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6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10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3" y="32"/>
                    <a:pt x="23" y="32"/>
                    <a:pt x="24" y="32"/>
                  </a:cubicBezTo>
                  <a:cubicBezTo>
                    <a:pt x="24" y="31"/>
                    <a:pt x="25" y="31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7" y="38"/>
                    <a:pt x="26" y="38"/>
                    <a:pt x="25" y="39"/>
                  </a:cubicBezTo>
                  <a:cubicBezTo>
                    <a:pt x="24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4" y="40"/>
                    <a:pt x="12" y="39"/>
                  </a:cubicBezTo>
                  <a:cubicBezTo>
                    <a:pt x="11" y="39"/>
                    <a:pt x="10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4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5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6" y="17"/>
                  </a:moveTo>
                  <a:cubicBezTo>
                    <a:pt x="26" y="15"/>
                    <a:pt x="25" y="14"/>
                    <a:pt x="25" y="13"/>
                  </a:cubicBezTo>
                  <a:cubicBezTo>
                    <a:pt x="25" y="12"/>
                    <a:pt x="24" y="11"/>
                    <a:pt x="23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20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6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23" name="Freeform 60">
              <a:extLst>
                <a:ext uri="{FF2B5EF4-FFF2-40B4-BE49-F238E27FC236}">
                  <a16:creationId xmlns:a16="http://schemas.microsoft.com/office/drawing/2014/main" id="{15FBF980-B96C-472B-A46B-A731CA164E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7435" y="6421821"/>
              <a:ext cx="122060" cy="97648"/>
            </a:xfrm>
            <a:custGeom>
              <a:avLst/>
              <a:gdLst>
                <a:gd name="T0" fmla="*/ 56 w 70"/>
                <a:gd name="T1" fmla="*/ 56 h 56"/>
                <a:gd name="T2" fmla="*/ 46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5 w 70"/>
                <a:gd name="T9" fmla="*/ 56 h 56"/>
                <a:gd name="T10" fmla="*/ 0 w 70"/>
                <a:gd name="T11" fmla="*/ 0 h 56"/>
                <a:gd name="T12" fmla="*/ 10 w 70"/>
                <a:gd name="T13" fmla="*/ 0 h 56"/>
                <a:gd name="T14" fmla="*/ 21 w 70"/>
                <a:gd name="T15" fmla="*/ 38 h 56"/>
                <a:gd name="T16" fmla="*/ 31 w 70"/>
                <a:gd name="T17" fmla="*/ 0 h 56"/>
                <a:gd name="T18" fmla="*/ 40 w 70"/>
                <a:gd name="T19" fmla="*/ 0 h 56"/>
                <a:gd name="T20" fmla="*/ 50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6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6" y="56"/>
                  </a:moveTo>
                  <a:lnTo>
                    <a:pt x="46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5" y="56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1" y="38"/>
                  </a:lnTo>
                  <a:lnTo>
                    <a:pt x="31" y="0"/>
                  </a:lnTo>
                  <a:lnTo>
                    <a:pt x="40" y="0"/>
                  </a:lnTo>
                  <a:lnTo>
                    <a:pt x="50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6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24" name="Freeform 61">
              <a:extLst>
                <a:ext uri="{FF2B5EF4-FFF2-40B4-BE49-F238E27FC236}">
                  <a16:creationId xmlns:a16="http://schemas.microsoft.com/office/drawing/2014/main" id="{64F1DD18-05EE-4F9F-9E6B-E03C4C500F2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859957" y="6418333"/>
              <a:ext cx="87186" cy="102879"/>
            </a:xfrm>
            <a:custGeom>
              <a:avLst/>
              <a:gdLst>
                <a:gd name="T0" fmla="*/ 34 w 34"/>
                <a:gd name="T1" fmla="*/ 20 h 40"/>
                <a:gd name="T2" fmla="*/ 33 w 34"/>
                <a:gd name="T3" fmla="*/ 28 h 40"/>
                <a:gd name="T4" fmla="*/ 29 w 34"/>
                <a:gd name="T5" fmla="*/ 35 h 40"/>
                <a:gd name="T6" fmla="*/ 24 w 34"/>
                <a:gd name="T7" fmla="*/ 39 h 40"/>
                <a:gd name="T8" fmla="*/ 17 w 34"/>
                <a:gd name="T9" fmla="*/ 40 h 40"/>
                <a:gd name="T10" fmla="*/ 10 w 34"/>
                <a:gd name="T11" fmla="*/ 39 h 40"/>
                <a:gd name="T12" fmla="*/ 5 w 34"/>
                <a:gd name="T13" fmla="*/ 35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2 h 40"/>
                <a:gd name="T20" fmla="*/ 5 w 34"/>
                <a:gd name="T21" fmla="*/ 5 h 40"/>
                <a:gd name="T22" fmla="*/ 11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2 h 40"/>
                <a:gd name="T32" fmla="*/ 34 w 34"/>
                <a:gd name="T33" fmla="*/ 20 h 40"/>
                <a:gd name="T34" fmla="*/ 27 w 34"/>
                <a:gd name="T35" fmla="*/ 20 h 40"/>
                <a:gd name="T36" fmla="*/ 26 w 34"/>
                <a:gd name="T37" fmla="*/ 15 h 40"/>
                <a:gd name="T38" fmla="*/ 24 w 34"/>
                <a:gd name="T39" fmla="*/ 11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1 h 40"/>
                <a:gd name="T48" fmla="*/ 8 w 34"/>
                <a:gd name="T49" fmla="*/ 15 h 40"/>
                <a:gd name="T50" fmla="*/ 8 w 34"/>
                <a:gd name="T51" fmla="*/ 20 h 40"/>
                <a:gd name="T52" fmla="*/ 8 w 34"/>
                <a:gd name="T53" fmla="*/ 26 h 40"/>
                <a:gd name="T54" fmla="*/ 10 w 34"/>
                <a:gd name="T55" fmla="*/ 30 h 40"/>
                <a:gd name="T56" fmla="*/ 13 w 34"/>
                <a:gd name="T57" fmla="*/ 32 h 40"/>
                <a:gd name="T58" fmla="*/ 17 w 34"/>
                <a:gd name="T59" fmla="*/ 33 h 40"/>
                <a:gd name="T60" fmla="*/ 21 w 34"/>
                <a:gd name="T61" fmla="*/ 32 h 40"/>
                <a:gd name="T62" fmla="*/ 24 w 34"/>
                <a:gd name="T63" fmla="*/ 29 h 40"/>
                <a:gd name="T64" fmla="*/ 26 w 34"/>
                <a:gd name="T65" fmla="*/ 25 h 40"/>
                <a:gd name="T66" fmla="*/ 27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20"/>
                  </a:moveTo>
                  <a:cubicBezTo>
                    <a:pt x="34" y="23"/>
                    <a:pt x="34" y="26"/>
                    <a:pt x="33" y="28"/>
                  </a:cubicBezTo>
                  <a:cubicBezTo>
                    <a:pt x="32" y="31"/>
                    <a:pt x="31" y="33"/>
                    <a:pt x="29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2" y="40"/>
                    <a:pt x="10" y="39"/>
                  </a:cubicBezTo>
                  <a:cubicBezTo>
                    <a:pt x="8" y="38"/>
                    <a:pt x="6" y="36"/>
                    <a:pt x="5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1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7" y="4"/>
                    <a:pt x="8" y="2"/>
                    <a:pt x="11" y="1"/>
                  </a:cubicBezTo>
                  <a:cubicBezTo>
                    <a:pt x="13" y="1"/>
                    <a:pt x="15" y="0"/>
                    <a:pt x="17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4" y="17"/>
                    <a:pt x="34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3" y="10"/>
                    <a:pt x="22" y="9"/>
                    <a:pt x="21" y="8"/>
                  </a:cubicBezTo>
                  <a:cubicBezTo>
                    <a:pt x="20" y="8"/>
                    <a:pt x="18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9" y="12"/>
                    <a:pt x="9" y="13"/>
                    <a:pt x="8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8" y="26"/>
                  </a:cubicBezTo>
                  <a:cubicBezTo>
                    <a:pt x="9" y="27"/>
                    <a:pt x="10" y="28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25" name="Freeform 62">
              <a:extLst>
                <a:ext uri="{FF2B5EF4-FFF2-40B4-BE49-F238E27FC236}">
                  <a16:creationId xmlns:a16="http://schemas.microsoft.com/office/drawing/2014/main" id="{6051CC00-BFF2-4334-9855-62AD588546F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8067" y="6418333"/>
              <a:ext cx="57543" cy="101135"/>
            </a:xfrm>
            <a:custGeom>
              <a:avLst/>
              <a:gdLst>
                <a:gd name="T0" fmla="*/ 21 w 23"/>
                <a:gd name="T1" fmla="*/ 9 h 39"/>
                <a:gd name="T2" fmla="*/ 18 w 23"/>
                <a:gd name="T3" fmla="*/ 8 h 39"/>
                <a:gd name="T4" fmla="*/ 15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9 w 23"/>
                <a:gd name="T21" fmla="*/ 3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8" y="8"/>
                    <a:pt x="17" y="7"/>
                    <a:pt x="15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8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9" y="3"/>
                  </a:cubicBezTo>
                  <a:cubicBezTo>
                    <a:pt x="10" y="2"/>
                    <a:pt x="11" y="2"/>
                    <a:pt x="11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1"/>
                  </a:cubicBezTo>
                  <a:cubicBezTo>
                    <a:pt x="21" y="1"/>
                    <a:pt x="22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26" name="Freeform 63">
              <a:extLst>
                <a:ext uri="{FF2B5EF4-FFF2-40B4-BE49-F238E27FC236}">
                  <a16:creationId xmlns:a16="http://schemas.microsoft.com/office/drawing/2014/main" id="{905DD261-B224-46ED-8CEE-E8D180BA4B7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3046" y="6383459"/>
              <a:ext cx="19181" cy="136010"/>
            </a:xfrm>
            <a:custGeom>
              <a:avLst/>
              <a:gdLst>
                <a:gd name="T0" fmla="*/ 0 w 11"/>
                <a:gd name="T1" fmla="*/ 78 h 78"/>
                <a:gd name="T2" fmla="*/ 0 w 11"/>
                <a:gd name="T3" fmla="*/ 6 h 78"/>
                <a:gd name="T4" fmla="*/ 11 w 11"/>
                <a:gd name="T5" fmla="*/ 0 h 78"/>
                <a:gd name="T6" fmla="*/ 11 w 11"/>
                <a:gd name="T7" fmla="*/ 78 h 78"/>
                <a:gd name="T8" fmla="*/ 0 w 11"/>
                <a:gd name="T9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78">
                  <a:moveTo>
                    <a:pt x="0" y="78"/>
                  </a:moveTo>
                  <a:lnTo>
                    <a:pt x="0" y="6"/>
                  </a:lnTo>
                  <a:lnTo>
                    <a:pt x="11" y="0"/>
                  </a:lnTo>
                  <a:lnTo>
                    <a:pt x="11" y="78"/>
                  </a:lnTo>
                  <a:lnTo>
                    <a:pt x="0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27" name="Freeform 64">
              <a:extLst>
                <a:ext uri="{FF2B5EF4-FFF2-40B4-BE49-F238E27FC236}">
                  <a16:creationId xmlns:a16="http://schemas.microsoft.com/office/drawing/2014/main" id="{A23129DF-0296-4CA9-9723-124682F0A70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084896" y="6383459"/>
              <a:ext cx="80211" cy="137753"/>
            </a:xfrm>
            <a:custGeom>
              <a:avLst/>
              <a:gdLst>
                <a:gd name="T0" fmla="*/ 24 w 32"/>
                <a:gd name="T1" fmla="*/ 53 h 54"/>
                <a:gd name="T2" fmla="*/ 24 w 32"/>
                <a:gd name="T3" fmla="*/ 50 h 54"/>
                <a:gd name="T4" fmla="*/ 22 w 32"/>
                <a:gd name="T5" fmla="*/ 51 h 54"/>
                <a:gd name="T6" fmla="*/ 20 w 32"/>
                <a:gd name="T7" fmla="*/ 53 h 54"/>
                <a:gd name="T8" fmla="*/ 17 w 32"/>
                <a:gd name="T9" fmla="*/ 54 h 54"/>
                <a:gd name="T10" fmla="*/ 14 w 32"/>
                <a:gd name="T11" fmla="*/ 54 h 54"/>
                <a:gd name="T12" fmla="*/ 9 w 32"/>
                <a:gd name="T13" fmla="*/ 53 h 54"/>
                <a:gd name="T14" fmla="*/ 4 w 32"/>
                <a:gd name="T15" fmla="*/ 49 h 54"/>
                <a:gd name="T16" fmla="*/ 1 w 32"/>
                <a:gd name="T17" fmla="*/ 43 h 54"/>
                <a:gd name="T18" fmla="*/ 0 w 32"/>
                <a:gd name="T19" fmla="*/ 33 h 54"/>
                <a:gd name="T20" fmla="*/ 1 w 32"/>
                <a:gd name="T21" fmla="*/ 25 h 54"/>
                <a:gd name="T22" fmla="*/ 4 w 32"/>
                <a:gd name="T23" fmla="*/ 19 h 54"/>
                <a:gd name="T24" fmla="*/ 9 w 32"/>
                <a:gd name="T25" fmla="*/ 15 h 54"/>
                <a:gd name="T26" fmla="*/ 15 w 32"/>
                <a:gd name="T27" fmla="*/ 14 h 54"/>
                <a:gd name="T28" fmla="*/ 18 w 32"/>
                <a:gd name="T29" fmla="*/ 14 h 54"/>
                <a:gd name="T30" fmla="*/ 20 w 32"/>
                <a:gd name="T31" fmla="*/ 15 h 54"/>
                <a:gd name="T32" fmla="*/ 22 w 32"/>
                <a:gd name="T33" fmla="*/ 17 h 54"/>
                <a:gd name="T34" fmla="*/ 24 w 32"/>
                <a:gd name="T35" fmla="*/ 18 h 54"/>
                <a:gd name="T36" fmla="*/ 24 w 32"/>
                <a:gd name="T37" fmla="*/ 4 h 54"/>
                <a:gd name="T38" fmla="*/ 32 w 32"/>
                <a:gd name="T39" fmla="*/ 0 h 54"/>
                <a:gd name="T40" fmla="*/ 32 w 32"/>
                <a:gd name="T41" fmla="*/ 53 h 54"/>
                <a:gd name="T42" fmla="*/ 24 w 32"/>
                <a:gd name="T43" fmla="*/ 53 h 54"/>
                <a:gd name="T44" fmla="*/ 24 w 32"/>
                <a:gd name="T45" fmla="*/ 26 h 54"/>
                <a:gd name="T46" fmla="*/ 23 w 32"/>
                <a:gd name="T47" fmla="*/ 24 h 54"/>
                <a:gd name="T48" fmla="*/ 21 w 32"/>
                <a:gd name="T49" fmla="*/ 23 h 54"/>
                <a:gd name="T50" fmla="*/ 18 w 32"/>
                <a:gd name="T51" fmla="*/ 22 h 54"/>
                <a:gd name="T52" fmla="*/ 15 w 32"/>
                <a:gd name="T53" fmla="*/ 21 h 54"/>
                <a:gd name="T54" fmla="*/ 9 w 32"/>
                <a:gd name="T55" fmla="*/ 24 h 54"/>
                <a:gd name="T56" fmla="*/ 7 w 32"/>
                <a:gd name="T57" fmla="*/ 33 h 54"/>
                <a:gd name="T58" fmla="*/ 8 w 32"/>
                <a:gd name="T59" fmla="*/ 39 h 54"/>
                <a:gd name="T60" fmla="*/ 9 w 32"/>
                <a:gd name="T61" fmla="*/ 44 h 54"/>
                <a:gd name="T62" fmla="*/ 12 w 32"/>
                <a:gd name="T63" fmla="*/ 46 h 54"/>
                <a:gd name="T64" fmla="*/ 16 w 32"/>
                <a:gd name="T65" fmla="*/ 47 h 54"/>
                <a:gd name="T66" fmla="*/ 18 w 32"/>
                <a:gd name="T67" fmla="*/ 47 h 54"/>
                <a:gd name="T68" fmla="*/ 21 w 32"/>
                <a:gd name="T69" fmla="*/ 46 h 54"/>
                <a:gd name="T70" fmla="*/ 23 w 32"/>
                <a:gd name="T71" fmla="*/ 44 h 54"/>
                <a:gd name="T72" fmla="*/ 24 w 32"/>
                <a:gd name="T73" fmla="*/ 42 h 54"/>
                <a:gd name="T74" fmla="*/ 24 w 32"/>
                <a:gd name="T75" fmla="*/ 2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2" h="54">
                  <a:moveTo>
                    <a:pt x="24" y="53"/>
                  </a:moveTo>
                  <a:cubicBezTo>
                    <a:pt x="24" y="50"/>
                    <a:pt x="24" y="50"/>
                    <a:pt x="24" y="50"/>
                  </a:cubicBezTo>
                  <a:cubicBezTo>
                    <a:pt x="24" y="50"/>
                    <a:pt x="23" y="51"/>
                    <a:pt x="22" y="51"/>
                  </a:cubicBezTo>
                  <a:cubicBezTo>
                    <a:pt x="21" y="52"/>
                    <a:pt x="21" y="52"/>
                    <a:pt x="20" y="53"/>
                  </a:cubicBezTo>
                  <a:cubicBezTo>
                    <a:pt x="19" y="53"/>
                    <a:pt x="18" y="54"/>
                    <a:pt x="17" y="54"/>
                  </a:cubicBezTo>
                  <a:cubicBezTo>
                    <a:pt x="16" y="54"/>
                    <a:pt x="15" y="54"/>
                    <a:pt x="14" y="54"/>
                  </a:cubicBezTo>
                  <a:cubicBezTo>
                    <a:pt x="12" y="54"/>
                    <a:pt x="10" y="54"/>
                    <a:pt x="9" y="53"/>
                  </a:cubicBezTo>
                  <a:cubicBezTo>
                    <a:pt x="7" y="52"/>
                    <a:pt x="5" y="51"/>
                    <a:pt x="4" y="49"/>
                  </a:cubicBezTo>
                  <a:cubicBezTo>
                    <a:pt x="3" y="48"/>
                    <a:pt x="1" y="45"/>
                    <a:pt x="1" y="43"/>
                  </a:cubicBezTo>
                  <a:cubicBezTo>
                    <a:pt x="0" y="40"/>
                    <a:pt x="0" y="37"/>
                    <a:pt x="0" y="33"/>
                  </a:cubicBezTo>
                  <a:cubicBezTo>
                    <a:pt x="0" y="30"/>
                    <a:pt x="0" y="27"/>
                    <a:pt x="1" y="25"/>
                  </a:cubicBezTo>
                  <a:cubicBezTo>
                    <a:pt x="2" y="22"/>
                    <a:pt x="3" y="20"/>
                    <a:pt x="4" y="19"/>
                  </a:cubicBezTo>
                  <a:cubicBezTo>
                    <a:pt x="6" y="17"/>
                    <a:pt x="7" y="16"/>
                    <a:pt x="9" y="15"/>
                  </a:cubicBezTo>
                  <a:cubicBezTo>
                    <a:pt x="11" y="14"/>
                    <a:pt x="13" y="14"/>
                    <a:pt x="15" y="14"/>
                  </a:cubicBezTo>
                  <a:cubicBezTo>
                    <a:pt x="16" y="14"/>
                    <a:pt x="17" y="14"/>
                    <a:pt x="18" y="14"/>
                  </a:cubicBezTo>
                  <a:cubicBezTo>
                    <a:pt x="18" y="15"/>
                    <a:pt x="19" y="15"/>
                    <a:pt x="20" y="15"/>
                  </a:cubicBezTo>
                  <a:cubicBezTo>
                    <a:pt x="21" y="16"/>
                    <a:pt x="22" y="16"/>
                    <a:pt x="22" y="17"/>
                  </a:cubicBezTo>
                  <a:cubicBezTo>
                    <a:pt x="23" y="17"/>
                    <a:pt x="24" y="18"/>
                    <a:pt x="24" y="18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53"/>
                    <a:pt x="32" y="53"/>
                    <a:pt x="32" y="53"/>
                  </a:cubicBezTo>
                  <a:lnTo>
                    <a:pt x="24" y="53"/>
                  </a:lnTo>
                  <a:close/>
                  <a:moveTo>
                    <a:pt x="24" y="26"/>
                  </a:moveTo>
                  <a:cubicBezTo>
                    <a:pt x="24" y="26"/>
                    <a:pt x="23" y="25"/>
                    <a:pt x="23" y="24"/>
                  </a:cubicBezTo>
                  <a:cubicBezTo>
                    <a:pt x="22" y="24"/>
                    <a:pt x="22" y="23"/>
                    <a:pt x="21" y="23"/>
                  </a:cubicBezTo>
                  <a:cubicBezTo>
                    <a:pt x="20" y="22"/>
                    <a:pt x="19" y="22"/>
                    <a:pt x="18" y="22"/>
                  </a:cubicBezTo>
                  <a:cubicBezTo>
                    <a:pt x="17" y="21"/>
                    <a:pt x="16" y="21"/>
                    <a:pt x="15" y="21"/>
                  </a:cubicBezTo>
                  <a:cubicBezTo>
                    <a:pt x="13" y="21"/>
                    <a:pt x="11" y="22"/>
                    <a:pt x="9" y="24"/>
                  </a:cubicBezTo>
                  <a:cubicBezTo>
                    <a:pt x="8" y="26"/>
                    <a:pt x="7" y="29"/>
                    <a:pt x="7" y="33"/>
                  </a:cubicBezTo>
                  <a:cubicBezTo>
                    <a:pt x="7" y="36"/>
                    <a:pt x="7" y="38"/>
                    <a:pt x="8" y="39"/>
                  </a:cubicBezTo>
                  <a:cubicBezTo>
                    <a:pt x="8" y="41"/>
                    <a:pt x="9" y="43"/>
                    <a:pt x="9" y="44"/>
                  </a:cubicBezTo>
                  <a:cubicBezTo>
                    <a:pt x="10" y="45"/>
                    <a:pt x="11" y="46"/>
                    <a:pt x="12" y="46"/>
                  </a:cubicBezTo>
                  <a:cubicBezTo>
                    <a:pt x="13" y="47"/>
                    <a:pt x="14" y="47"/>
                    <a:pt x="16" y="47"/>
                  </a:cubicBezTo>
                  <a:cubicBezTo>
                    <a:pt x="17" y="47"/>
                    <a:pt x="18" y="47"/>
                    <a:pt x="18" y="47"/>
                  </a:cubicBezTo>
                  <a:cubicBezTo>
                    <a:pt x="19" y="46"/>
                    <a:pt x="20" y="46"/>
                    <a:pt x="21" y="46"/>
                  </a:cubicBezTo>
                  <a:cubicBezTo>
                    <a:pt x="21" y="45"/>
                    <a:pt x="22" y="45"/>
                    <a:pt x="23" y="44"/>
                  </a:cubicBezTo>
                  <a:cubicBezTo>
                    <a:pt x="23" y="43"/>
                    <a:pt x="24" y="43"/>
                    <a:pt x="24" y="42"/>
                  </a:cubicBezTo>
                  <a:lnTo>
                    <a:pt x="24" y="2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28" name="Freeform 65">
              <a:extLst>
                <a:ext uri="{FF2B5EF4-FFF2-40B4-BE49-F238E27FC236}">
                  <a16:creationId xmlns:a16="http://schemas.microsoft.com/office/drawing/2014/main" id="{A2A2BF8E-DA3A-4AC0-B7EB-7CAABFC9E69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29624" y="6421821"/>
              <a:ext cx="122060" cy="97648"/>
            </a:xfrm>
            <a:custGeom>
              <a:avLst/>
              <a:gdLst>
                <a:gd name="T0" fmla="*/ 55 w 70"/>
                <a:gd name="T1" fmla="*/ 56 h 56"/>
                <a:gd name="T2" fmla="*/ 45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6 w 70"/>
                <a:gd name="T9" fmla="*/ 56 h 56"/>
                <a:gd name="T10" fmla="*/ 0 w 70"/>
                <a:gd name="T11" fmla="*/ 0 h 56"/>
                <a:gd name="T12" fmla="*/ 12 w 70"/>
                <a:gd name="T13" fmla="*/ 0 h 56"/>
                <a:gd name="T14" fmla="*/ 20 w 70"/>
                <a:gd name="T15" fmla="*/ 38 h 56"/>
                <a:gd name="T16" fmla="*/ 31 w 70"/>
                <a:gd name="T17" fmla="*/ 0 h 56"/>
                <a:gd name="T18" fmla="*/ 39 w 70"/>
                <a:gd name="T19" fmla="*/ 0 h 56"/>
                <a:gd name="T20" fmla="*/ 51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5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5" y="56"/>
                  </a:moveTo>
                  <a:lnTo>
                    <a:pt x="45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6" y="56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0" y="38"/>
                  </a:lnTo>
                  <a:lnTo>
                    <a:pt x="31" y="0"/>
                  </a:lnTo>
                  <a:lnTo>
                    <a:pt x="39" y="0"/>
                  </a:lnTo>
                  <a:lnTo>
                    <a:pt x="51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29" name="Freeform 66">
              <a:extLst>
                <a:ext uri="{FF2B5EF4-FFF2-40B4-BE49-F238E27FC236}">
                  <a16:creationId xmlns:a16="http://schemas.microsoft.com/office/drawing/2014/main" id="{BEBFC1A4-92B9-418F-A0A9-2E210A37BCF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62147" y="6418333"/>
              <a:ext cx="88930" cy="102879"/>
            </a:xfrm>
            <a:custGeom>
              <a:avLst/>
              <a:gdLst>
                <a:gd name="T0" fmla="*/ 35 w 35"/>
                <a:gd name="T1" fmla="*/ 20 h 40"/>
                <a:gd name="T2" fmla="*/ 33 w 35"/>
                <a:gd name="T3" fmla="*/ 28 h 40"/>
                <a:gd name="T4" fmla="*/ 30 w 35"/>
                <a:gd name="T5" fmla="*/ 35 h 40"/>
                <a:gd name="T6" fmla="*/ 24 w 35"/>
                <a:gd name="T7" fmla="*/ 39 h 40"/>
                <a:gd name="T8" fmla="*/ 17 w 35"/>
                <a:gd name="T9" fmla="*/ 40 h 40"/>
                <a:gd name="T10" fmla="*/ 11 w 35"/>
                <a:gd name="T11" fmla="*/ 39 h 40"/>
                <a:gd name="T12" fmla="*/ 5 w 35"/>
                <a:gd name="T13" fmla="*/ 35 h 40"/>
                <a:gd name="T14" fmla="*/ 2 w 35"/>
                <a:gd name="T15" fmla="*/ 28 h 40"/>
                <a:gd name="T16" fmla="*/ 0 w 35"/>
                <a:gd name="T17" fmla="*/ 20 h 40"/>
                <a:gd name="T18" fmla="*/ 2 w 35"/>
                <a:gd name="T19" fmla="*/ 12 h 40"/>
                <a:gd name="T20" fmla="*/ 5 w 35"/>
                <a:gd name="T21" fmla="*/ 5 h 40"/>
                <a:gd name="T22" fmla="*/ 11 w 35"/>
                <a:gd name="T23" fmla="*/ 1 h 40"/>
                <a:gd name="T24" fmla="*/ 18 w 35"/>
                <a:gd name="T25" fmla="*/ 0 h 40"/>
                <a:gd name="T26" fmla="*/ 24 w 35"/>
                <a:gd name="T27" fmla="*/ 1 h 40"/>
                <a:gd name="T28" fmla="*/ 30 w 35"/>
                <a:gd name="T29" fmla="*/ 5 h 40"/>
                <a:gd name="T30" fmla="*/ 33 w 35"/>
                <a:gd name="T31" fmla="*/ 12 h 40"/>
                <a:gd name="T32" fmla="*/ 35 w 35"/>
                <a:gd name="T33" fmla="*/ 20 h 40"/>
                <a:gd name="T34" fmla="*/ 27 w 35"/>
                <a:gd name="T35" fmla="*/ 20 h 40"/>
                <a:gd name="T36" fmla="*/ 26 w 35"/>
                <a:gd name="T37" fmla="*/ 15 h 40"/>
                <a:gd name="T38" fmla="*/ 24 w 35"/>
                <a:gd name="T39" fmla="*/ 11 h 40"/>
                <a:gd name="T40" fmla="*/ 21 w 35"/>
                <a:gd name="T41" fmla="*/ 8 h 40"/>
                <a:gd name="T42" fmla="*/ 17 w 35"/>
                <a:gd name="T43" fmla="*/ 7 h 40"/>
                <a:gd name="T44" fmla="*/ 13 w 35"/>
                <a:gd name="T45" fmla="*/ 8 h 40"/>
                <a:gd name="T46" fmla="*/ 10 w 35"/>
                <a:gd name="T47" fmla="*/ 11 h 40"/>
                <a:gd name="T48" fmla="*/ 9 w 35"/>
                <a:gd name="T49" fmla="*/ 15 h 40"/>
                <a:gd name="T50" fmla="*/ 8 w 35"/>
                <a:gd name="T51" fmla="*/ 20 h 40"/>
                <a:gd name="T52" fmla="*/ 9 w 35"/>
                <a:gd name="T53" fmla="*/ 26 h 40"/>
                <a:gd name="T54" fmla="*/ 11 w 35"/>
                <a:gd name="T55" fmla="*/ 30 h 40"/>
                <a:gd name="T56" fmla="*/ 14 w 35"/>
                <a:gd name="T57" fmla="*/ 32 h 40"/>
                <a:gd name="T58" fmla="*/ 18 w 35"/>
                <a:gd name="T59" fmla="*/ 33 h 40"/>
                <a:gd name="T60" fmla="*/ 21 w 35"/>
                <a:gd name="T61" fmla="*/ 32 h 40"/>
                <a:gd name="T62" fmla="*/ 24 w 35"/>
                <a:gd name="T63" fmla="*/ 29 h 40"/>
                <a:gd name="T64" fmla="*/ 26 w 35"/>
                <a:gd name="T65" fmla="*/ 25 h 40"/>
                <a:gd name="T66" fmla="*/ 27 w 35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5" h="40">
                  <a:moveTo>
                    <a:pt x="35" y="20"/>
                  </a:moveTo>
                  <a:cubicBezTo>
                    <a:pt x="35" y="23"/>
                    <a:pt x="34" y="26"/>
                    <a:pt x="33" y="28"/>
                  </a:cubicBezTo>
                  <a:cubicBezTo>
                    <a:pt x="32" y="31"/>
                    <a:pt x="31" y="33"/>
                    <a:pt x="30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3" y="40"/>
                    <a:pt x="11" y="39"/>
                  </a:cubicBezTo>
                  <a:cubicBezTo>
                    <a:pt x="8" y="38"/>
                    <a:pt x="7" y="36"/>
                    <a:pt x="5" y="35"/>
                  </a:cubicBezTo>
                  <a:cubicBezTo>
                    <a:pt x="4" y="33"/>
                    <a:pt x="2" y="31"/>
                    <a:pt x="2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3" y="9"/>
                    <a:pt x="4" y="7"/>
                    <a:pt x="5" y="5"/>
                  </a:cubicBezTo>
                  <a:cubicBezTo>
                    <a:pt x="7" y="4"/>
                    <a:pt x="9" y="2"/>
                    <a:pt x="11" y="1"/>
                  </a:cubicBezTo>
                  <a:cubicBezTo>
                    <a:pt x="13" y="1"/>
                    <a:pt x="15" y="0"/>
                    <a:pt x="18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30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5" y="17"/>
                    <a:pt x="35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4" y="10"/>
                    <a:pt x="23" y="9"/>
                    <a:pt x="21" y="8"/>
                  </a:cubicBezTo>
                  <a:cubicBezTo>
                    <a:pt x="20" y="8"/>
                    <a:pt x="19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10" y="12"/>
                    <a:pt x="9" y="13"/>
                    <a:pt x="9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9" y="26"/>
                  </a:cubicBezTo>
                  <a:cubicBezTo>
                    <a:pt x="9" y="27"/>
                    <a:pt x="10" y="28"/>
                    <a:pt x="11" y="30"/>
                  </a:cubicBezTo>
                  <a:cubicBezTo>
                    <a:pt x="11" y="31"/>
                    <a:pt x="12" y="32"/>
                    <a:pt x="14" y="32"/>
                  </a:cubicBezTo>
                  <a:cubicBezTo>
                    <a:pt x="15" y="33"/>
                    <a:pt x="16" y="33"/>
                    <a:pt x="18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3" y="31"/>
                    <a:pt x="24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30" name="Freeform 67">
              <a:extLst>
                <a:ext uri="{FF2B5EF4-FFF2-40B4-BE49-F238E27FC236}">
                  <a16:creationId xmlns:a16="http://schemas.microsoft.com/office/drawing/2014/main" id="{A28B9FD0-8354-4DD6-856A-157C5F8768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68514" y="6418333"/>
              <a:ext cx="59286" cy="101135"/>
            </a:xfrm>
            <a:custGeom>
              <a:avLst/>
              <a:gdLst>
                <a:gd name="T0" fmla="*/ 21 w 23"/>
                <a:gd name="T1" fmla="*/ 9 h 39"/>
                <a:gd name="T2" fmla="*/ 19 w 23"/>
                <a:gd name="T3" fmla="*/ 8 h 39"/>
                <a:gd name="T4" fmla="*/ 16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10 w 23"/>
                <a:gd name="T21" fmla="*/ 3 h 39"/>
                <a:gd name="T22" fmla="*/ 12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1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20" y="8"/>
                    <a:pt x="19" y="8"/>
                  </a:cubicBezTo>
                  <a:cubicBezTo>
                    <a:pt x="18" y="8"/>
                    <a:pt x="17" y="7"/>
                    <a:pt x="16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9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10" y="3"/>
                  </a:cubicBezTo>
                  <a:cubicBezTo>
                    <a:pt x="10" y="2"/>
                    <a:pt x="11" y="2"/>
                    <a:pt x="12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20" y="0"/>
                    <a:pt x="21" y="1"/>
                  </a:cubicBezTo>
                  <a:cubicBezTo>
                    <a:pt x="22" y="1"/>
                    <a:pt x="23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31" name="Freeform 68">
              <a:extLst>
                <a:ext uri="{FF2B5EF4-FFF2-40B4-BE49-F238E27FC236}">
                  <a16:creationId xmlns:a16="http://schemas.microsoft.com/office/drawing/2014/main" id="{83D3DEEE-A610-48BE-BADD-6BA188B5B86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5237" y="6383459"/>
              <a:ext cx="76723" cy="136010"/>
            </a:xfrm>
            <a:custGeom>
              <a:avLst/>
              <a:gdLst>
                <a:gd name="T0" fmla="*/ 31 w 44"/>
                <a:gd name="T1" fmla="*/ 78 h 78"/>
                <a:gd name="T2" fmla="*/ 19 w 44"/>
                <a:gd name="T3" fmla="*/ 50 h 78"/>
                <a:gd name="T4" fmla="*/ 10 w 44"/>
                <a:gd name="T5" fmla="*/ 61 h 78"/>
                <a:gd name="T6" fmla="*/ 10 w 44"/>
                <a:gd name="T7" fmla="*/ 78 h 78"/>
                <a:gd name="T8" fmla="*/ 0 w 44"/>
                <a:gd name="T9" fmla="*/ 78 h 78"/>
                <a:gd name="T10" fmla="*/ 0 w 44"/>
                <a:gd name="T11" fmla="*/ 6 h 78"/>
                <a:gd name="T12" fmla="*/ 10 w 44"/>
                <a:gd name="T13" fmla="*/ 0 h 78"/>
                <a:gd name="T14" fmla="*/ 10 w 44"/>
                <a:gd name="T15" fmla="*/ 47 h 78"/>
                <a:gd name="T16" fmla="*/ 28 w 44"/>
                <a:gd name="T17" fmla="*/ 22 h 78"/>
                <a:gd name="T18" fmla="*/ 41 w 44"/>
                <a:gd name="T19" fmla="*/ 22 h 78"/>
                <a:gd name="T20" fmla="*/ 26 w 44"/>
                <a:gd name="T21" fmla="*/ 41 h 78"/>
                <a:gd name="T22" fmla="*/ 44 w 44"/>
                <a:gd name="T23" fmla="*/ 78 h 78"/>
                <a:gd name="T24" fmla="*/ 31 w 44"/>
                <a:gd name="T25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4" h="78">
                  <a:moveTo>
                    <a:pt x="31" y="78"/>
                  </a:moveTo>
                  <a:lnTo>
                    <a:pt x="19" y="50"/>
                  </a:lnTo>
                  <a:lnTo>
                    <a:pt x="10" y="61"/>
                  </a:lnTo>
                  <a:lnTo>
                    <a:pt x="10" y="78"/>
                  </a:lnTo>
                  <a:lnTo>
                    <a:pt x="0" y="78"/>
                  </a:lnTo>
                  <a:lnTo>
                    <a:pt x="0" y="6"/>
                  </a:lnTo>
                  <a:lnTo>
                    <a:pt x="10" y="0"/>
                  </a:lnTo>
                  <a:lnTo>
                    <a:pt x="10" y="47"/>
                  </a:lnTo>
                  <a:lnTo>
                    <a:pt x="28" y="22"/>
                  </a:lnTo>
                  <a:lnTo>
                    <a:pt x="41" y="22"/>
                  </a:lnTo>
                  <a:lnTo>
                    <a:pt x="26" y="41"/>
                  </a:lnTo>
                  <a:lnTo>
                    <a:pt x="44" y="78"/>
                  </a:lnTo>
                  <a:lnTo>
                    <a:pt x="31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32" name="Freeform 69">
              <a:extLst>
                <a:ext uri="{FF2B5EF4-FFF2-40B4-BE49-F238E27FC236}">
                  <a16:creationId xmlns:a16="http://schemas.microsoft.com/office/drawing/2014/main" id="{463C7ADB-C654-4D24-9055-0B6003A770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28936" y="6418333"/>
              <a:ext cx="74980" cy="102879"/>
            </a:xfrm>
            <a:custGeom>
              <a:avLst/>
              <a:gdLst>
                <a:gd name="T0" fmla="*/ 28 w 29"/>
                <a:gd name="T1" fmla="*/ 4 h 40"/>
                <a:gd name="T2" fmla="*/ 25 w 29"/>
                <a:gd name="T3" fmla="*/ 10 h 40"/>
                <a:gd name="T4" fmla="*/ 20 w 29"/>
                <a:gd name="T5" fmla="*/ 8 h 40"/>
                <a:gd name="T6" fmla="*/ 15 w 29"/>
                <a:gd name="T7" fmla="*/ 7 h 40"/>
                <a:gd name="T8" fmla="*/ 11 w 29"/>
                <a:gd name="T9" fmla="*/ 8 h 40"/>
                <a:gd name="T10" fmla="*/ 9 w 29"/>
                <a:gd name="T11" fmla="*/ 10 h 40"/>
                <a:gd name="T12" fmla="*/ 10 w 29"/>
                <a:gd name="T13" fmla="*/ 12 h 40"/>
                <a:gd name="T14" fmla="*/ 11 w 29"/>
                <a:gd name="T15" fmla="*/ 13 h 40"/>
                <a:gd name="T16" fmla="*/ 13 w 29"/>
                <a:gd name="T17" fmla="*/ 14 h 40"/>
                <a:gd name="T18" fmla="*/ 17 w 29"/>
                <a:gd name="T19" fmla="*/ 16 h 40"/>
                <a:gd name="T20" fmla="*/ 22 w 29"/>
                <a:gd name="T21" fmla="*/ 18 h 40"/>
                <a:gd name="T22" fmla="*/ 26 w 29"/>
                <a:gd name="T23" fmla="*/ 21 h 40"/>
                <a:gd name="T24" fmla="*/ 29 w 29"/>
                <a:gd name="T25" fmla="*/ 24 h 40"/>
                <a:gd name="T26" fmla="*/ 29 w 29"/>
                <a:gd name="T27" fmla="*/ 29 h 40"/>
                <a:gd name="T28" fmla="*/ 28 w 29"/>
                <a:gd name="T29" fmla="*/ 34 h 40"/>
                <a:gd name="T30" fmla="*/ 25 w 29"/>
                <a:gd name="T31" fmla="*/ 38 h 40"/>
                <a:gd name="T32" fmla="*/ 21 w 29"/>
                <a:gd name="T33" fmla="*/ 40 h 40"/>
                <a:gd name="T34" fmla="*/ 15 w 29"/>
                <a:gd name="T35" fmla="*/ 40 h 40"/>
                <a:gd name="T36" fmla="*/ 7 w 29"/>
                <a:gd name="T37" fmla="*/ 39 h 40"/>
                <a:gd name="T38" fmla="*/ 0 w 29"/>
                <a:gd name="T39" fmla="*/ 35 h 40"/>
                <a:gd name="T40" fmla="*/ 4 w 29"/>
                <a:gd name="T41" fmla="*/ 30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20 w 29"/>
                <a:gd name="T53" fmla="*/ 26 h 40"/>
                <a:gd name="T54" fmla="*/ 17 w 29"/>
                <a:gd name="T55" fmla="*/ 24 h 40"/>
                <a:gd name="T56" fmla="*/ 13 w 29"/>
                <a:gd name="T57" fmla="*/ 23 h 40"/>
                <a:gd name="T58" fmla="*/ 8 w 29"/>
                <a:gd name="T59" fmla="*/ 20 h 40"/>
                <a:gd name="T60" fmla="*/ 4 w 29"/>
                <a:gd name="T61" fmla="*/ 18 h 40"/>
                <a:gd name="T62" fmla="*/ 2 w 29"/>
                <a:gd name="T63" fmla="*/ 15 h 40"/>
                <a:gd name="T64" fmla="*/ 2 w 29"/>
                <a:gd name="T65" fmla="*/ 11 h 40"/>
                <a:gd name="T66" fmla="*/ 3 w 29"/>
                <a:gd name="T67" fmla="*/ 6 h 40"/>
                <a:gd name="T68" fmla="*/ 6 w 29"/>
                <a:gd name="T69" fmla="*/ 3 h 40"/>
                <a:gd name="T70" fmla="*/ 10 w 29"/>
                <a:gd name="T71" fmla="*/ 1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5" y="10"/>
                    <a:pt x="25" y="10"/>
                    <a:pt x="25" y="10"/>
                  </a:cubicBezTo>
                  <a:cubicBezTo>
                    <a:pt x="23" y="9"/>
                    <a:pt x="22" y="8"/>
                    <a:pt x="20" y="8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2" y="7"/>
                    <a:pt x="11" y="8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1"/>
                    <a:pt x="10" y="11"/>
                    <a:pt x="10" y="12"/>
                  </a:cubicBezTo>
                  <a:cubicBezTo>
                    <a:pt x="10" y="12"/>
                    <a:pt x="10" y="13"/>
                    <a:pt x="11" y="13"/>
                  </a:cubicBezTo>
                  <a:cubicBezTo>
                    <a:pt x="11" y="13"/>
                    <a:pt x="12" y="14"/>
                    <a:pt x="13" y="14"/>
                  </a:cubicBezTo>
                  <a:cubicBezTo>
                    <a:pt x="14" y="15"/>
                    <a:pt x="15" y="15"/>
                    <a:pt x="17" y="16"/>
                  </a:cubicBezTo>
                  <a:cubicBezTo>
                    <a:pt x="19" y="17"/>
                    <a:pt x="21" y="18"/>
                    <a:pt x="22" y="18"/>
                  </a:cubicBezTo>
                  <a:cubicBezTo>
                    <a:pt x="24" y="19"/>
                    <a:pt x="25" y="20"/>
                    <a:pt x="26" y="21"/>
                  </a:cubicBezTo>
                  <a:cubicBezTo>
                    <a:pt x="27" y="22"/>
                    <a:pt x="28" y="23"/>
                    <a:pt x="29" y="24"/>
                  </a:cubicBezTo>
                  <a:cubicBezTo>
                    <a:pt x="29" y="25"/>
                    <a:pt x="29" y="27"/>
                    <a:pt x="29" y="29"/>
                  </a:cubicBezTo>
                  <a:cubicBezTo>
                    <a:pt x="29" y="31"/>
                    <a:pt x="29" y="33"/>
                    <a:pt x="28" y="34"/>
                  </a:cubicBezTo>
                  <a:cubicBezTo>
                    <a:pt x="28" y="36"/>
                    <a:pt x="26" y="37"/>
                    <a:pt x="25" y="38"/>
                  </a:cubicBezTo>
                  <a:cubicBezTo>
                    <a:pt x="24" y="39"/>
                    <a:pt x="22" y="39"/>
                    <a:pt x="21" y="40"/>
                  </a:cubicBezTo>
                  <a:cubicBezTo>
                    <a:pt x="19" y="40"/>
                    <a:pt x="17" y="40"/>
                    <a:pt x="15" y="40"/>
                  </a:cubicBezTo>
                  <a:cubicBezTo>
                    <a:pt x="13" y="40"/>
                    <a:pt x="10" y="40"/>
                    <a:pt x="7" y="39"/>
                  </a:cubicBezTo>
                  <a:cubicBezTo>
                    <a:pt x="5" y="38"/>
                    <a:pt x="2" y="37"/>
                    <a:pt x="0" y="35"/>
                  </a:cubicBezTo>
                  <a:cubicBezTo>
                    <a:pt x="4" y="30"/>
                    <a:pt x="4" y="30"/>
                    <a:pt x="4" y="30"/>
                  </a:cubicBezTo>
                  <a:cubicBezTo>
                    <a:pt x="6" y="31"/>
                    <a:pt x="7" y="32"/>
                    <a:pt x="9" y="32"/>
                  </a:cubicBezTo>
                  <a:cubicBezTo>
                    <a:pt x="11" y="33"/>
                    <a:pt x="13" y="33"/>
                    <a:pt x="15" y="33"/>
                  </a:cubicBezTo>
                  <a:cubicBezTo>
                    <a:pt x="17" y="33"/>
                    <a:pt x="19" y="33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8"/>
                    <a:pt x="21" y="27"/>
                  </a:cubicBezTo>
                  <a:cubicBezTo>
                    <a:pt x="21" y="27"/>
                    <a:pt x="20" y="26"/>
                    <a:pt x="20" y="26"/>
                  </a:cubicBezTo>
                  <a:cubicBezTo>
                    <a:pt x="19" y="25"/>
                    <a:pt x="18" y="25"/>
                    <a:pt x="17" y="24"/>
                  </a:cubicBezTo>
                  <a:cubicBezTo>
                    <a:pt x="16" y="24"/>
                    <a:pt x="15" y="23"/>
                    <a:pt x="13" y="23"/>
                  </a:cubicBezTo>
                  <a:cubicBezTo>
                    <a:pt x="11" y="22"/>
                    <a:pt x="9" y="21"/>
                    <a:pt x="8" y="20"/>
                  </a:cubicBezTo>
                  <a:cubicBezTo>
                    <a:pt x="6" y="19"/>
                    <a:pt x="5" y="19"/>
                    <a:pt x="4" y="18"/>
                  </a:cubicBezTo>
                  <a:cubicBezTo>
                    <a:pt x="3" y="17"/>
                    <a:pt x="3" y="16"/>
                    <a:pt x="2" y="15"/>
                  </a:cubicBezTo>
                  <a:cubicBezTo>
                    <a:pt x="2" y="13"/>
                    <a:pt x="2" y="12"/>
                    <a:pt x="2" y="11"/>
                  </a:cubicBezTo>
                  <a:cubicBezTo>
                    <a:pt x="2" y="9"/>
                    <a:pt x="2" y="7"/>
                    <a:pt x="3" y="6"/>
                  </a:cubicBezTo>
                  <a:cubicBezTo>
                    <a:pt x="3" y="5"/>
                    <a:pt x="4" y="4"/>
                    <a:pt x="6" y="3"/>
                  </a:cubicBezTo>
                  <a:cubicBezTo>
                    <a:pt x="7" y="2"/>
                    <a:pt x="8" y="1"/>
                    <a:pt x="10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20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33" name="Freeform 70">
              <a:extLst>
                <a:ext uri="{FF2B5EF4-FFF2-40B4-BE49-F238E27FC236}">
                  <a16:creationId xmlns:a16="http://schemas.microsoft.com/office/drawing/2014/main" id="{40CF3793-E792-4DB3-8064-4B43F4706A3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23096" y="6489826"/>
              <a:ext cx="27899" cy="31387"/>
            </a:xfrm>
            <a:custGeom>
              <a:avLst/>
              <a:gdLst>
                <a:gd name="T0" fmla="*/ 11 w 11"/>
                <a:gd name="T1" fmla="*/ 6 h 12"/>
                <a:gd name="T2" fmla="*/ 11 w 11"/>
                <a:gd name="T3" fmla="*/ 9 h 12"/>
                <a:gd name="T4" fmla="*/ 10 w 11"/>
                <a:gd name="T5" fmla="*/ 10 h 12"/>
                <a:gd name="T6" fmla="*/ 8 w 11"/>
                <a:gd name="T7" fmla="*/ 12 h 12"/>
                <a:gd name="T8" fmla="*/ 6 w 11"/>
                <a:gd name="T9" fmla="*/ 12 h 12"/>
                <a:gd name="T10" fmla="*/ 3 w 11"/>
                <a:gd name="T11" fmla="*/ 12 h 12"/>
                <a:gd name="T12" fmla="*/ 1 w 11"/>
                <a:gd name="T13" fmla="*/ 10 h 12"/>
                <a:gd name="T14" fmla="*/ 0 w 11"/>
                <a:gd name="T15" fmla="*/ 9 h 12"/>
                <a:gd name="T16" fmla="*/ 0 w 11"/>
                <a:gd name="T17" fmla="*/ 6 h 12"/>
                <a:gd name="T18" fmla="*/ 0 w 11"/>
                <a:gd name="T19" fmla="*/ 4 h 12"/>
                <a:gd name="T20" fmla="*/ 1 w 11"/>
                <a:gd name="T21" fmla="*/ 2 h 12"/>
                <a:gd name="T22" fmla="*/ 3 w 11"/>
                <a:gd name="T23" fmla="*/ 1 h 12"/>
                <a:gd name="T24" fmla="*/ 6 w 11"/>
                <a:gd name="T25" fmla="*/ 0 h 12"/>
                <a:gd name="T26" fmla="*/ 8 w 11"/>
                <a:gd name="T27" fmla="*/ 1 h 12"/>
                <a:gd name="T28" fmla="*/ 10 w 11"/>
                <a:gd name="T29" fmla="*/ 2 h 12"/>
                <a:gd name="T30" fmla="*/ 11 w 11"/>
                <a:gd name="T31" fmla="*/ 4 h 12"/>
                <a:gd name="T32" fmla="*/ 11 w 11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" h="12">
                  <a:moveTo>
                    <a:pt x="11" y="6"/>
                  </a:moveTo>
                  <a:cubicBezTo>
                    <a:pt x="11" y="7"/>
                    <a:pt x="11" y="8"/>
                    <a:pt x="11" y="9"/>
                  </a:cubicBezTo>
                  <a:cubicBezTo>
                    <a:pt x="11" y="9"/>
                    <a:pt x="10" y="10"/>
                    <a:pt x="10" y="10"/>
                  </a:cubicBezTo>
                  <a:cubicBezTo>
                    <a:pt x="9" y="11"/>
                    <a:pt x="9" y="11"/>
                    <a:pt x="8" y="12"/>
                  </a:cubicBezTo>
                  <a:cubicBezTo>
                    <a:pt x="7" y="12"/>
                    <a:pt x="6" y="12"/>
                    <a:pt x="6" y="12"/>
                  </a:cubicBezTo>
                  <a:cubicBezTo>
                    <a:pt x="5" y="12"/>
                    <a:pt x="4" y="12"/>
                    <a:pt x="3" y="12"/>
                  </a:cubicBezTo>
                  <a:cubicBezTo>
                    <a:pt x="3" y="11"/>
                    <a:pt x="2" y="11"/>
                    <a:pt x="1" y="10"/>
                  </a:cubicBezTo>
                  <a:cubicBezTo>
                    <a:pt x="1" y="10"/>
                    <a:pt x="1" y="9"/>
                    <a:pt x="0" y="9"/>
                  </a:cubicBezTo>
                  <a:cubicBezTo>
                    <a:pt x="0" y="8"/>
                    <a:pt x="0" y="7"/>
                    <a:pt x="0" y="6"/>
                  </a:cubicBezTo>
                  <a:cubicBezTo>
                    <a:pt x="0" y="6"/>
                    <a:pt x="0" y="5"/>
                    <a:pt x="0" y="4"/>
                  </a:cubicBezTo>
                  <a:cubicBezTo>
                    <a:pt x="1" y="3"/>
                    <a:pt x="1" y="3"/>
                    <a:pt x="1" y="2"/>
                  </a:cubicBezTo>
                  <a:cubicBezTo>
                    <a:pt x="2" y="2"/>
                    <a:pt x="3" y="1"/>
                    <a:pt x="3" y="1"/>
                  </a:cubicBezTo>
                  <a:cubicBezTo>
                    <a:pt x="4" y="1"/>
                    <a:pt x="5" y="0"/>
                    <a:pt x="6" y="0"/>
                  </a:cubicBezTo>
                  <a:cubicBezTo>
                    <a:pt x="6" y="0"/>
                    <a:pt x="7" y="1"/>
                    <a:pt x="8" y="1"/>
                  </a:cubicBezTo>
                  <a:cubicBezTo>
                    <a:pt x="9" y="1"/>
                    <a:pt x="9" y="2"/>
                    <a:pt x="10" y="2"/>
                  </a:cubicBezTo>
                  <a:cubicBezTo>
                    <a:pt x="10" y="3"/>
                    <a:pt x="11" y="3"/>
                    <a:pt x="11" y="4"/>
                  </a:cubicBezTo>
                  <a:cubicBezTo>
                    <a:pt x="11" y="5"/>
                    <a:pt x="11" y="6"/>
                    <a:pt x="11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</p:grpSp>
      <p:sp>
        <p:nvSpPr>
          <p:cNvPr id="18" name="Title 1"/>
          <p:cNvSpPr>
            <a:spLocks noGrp="1"/>
          </p:cNvSpPr>
          <p:nvPr userDrawn="1">
            <p:ph type="ctrTitle"/>
          </p:nvPr>
        </p:nvSpPr>
        <p:spPr>
          <a:xfrm>
            <a:off x="944388" y="2158329"/>
            <a:ext cx="4781392" cy="860400"/>
          </a:xfrm>
          <a:prstGeom prst="rect">
            <a:avLst/>
          </a:prstGeom>
        </p:spPr>
        <p:txBody>
          <a:bodyPr/>
          <a:lstStyle>
            <a:lvl1pPr>
              <a:defRPr sz="2998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9" name="Subtitle 2"/>
          <p:cNvSpPr>
            <a:spLocks noGrp="1"/>
          </p:cNvSpPr>
          <p:nvPr userDrawn="1">
            <p:ph type="subTitle" idx="1"/>
          </p:nvPr>
        </p:nvSpPr>
        <p:spPr>
          <a:xfrm>
            <a:off x="944580" y="3200329"/>
            <a:ext cx="4805525" cy="64574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998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  <a:lvl2pPr marL="0" indent="0" algn="l">
              <a:buNone/>
              <a:defRPr sz="1598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9134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2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69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37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04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72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3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3" name="Freeform: Shape 2">
            <a:extLst>
              <a:ext uri="{FF2B5EF4-FFF2-40B4-BE49-F238E27FC236}">
                <a16:creationId xmlns:a16="http://schemas.microsoft.com/office/drawing/2014/main" id="{44A731D0-020D-4D8E-955D-2354AF0FE452}"/>
              </a:ext>
            </a:extLst>
          </p:cNvPr>
          <p:cNvSpPr/>
          <p:nvPr userDrawn="1"/>
        </p:nvSpPr>
        <p:spPr>
          <a:xfrm>
            <a:off x="489113" y="723658"/>
            <a:ext cx="5677988" cy="3452894"/>
          </a:xfrm>
          <a:custGeom>
            <a:avLst/>
            <a:gdLst>
              <a:gd name="connsiteX0" fmla="*/ 8749 w 5680945"/>
              <a:gd name="connsiteY0" fmla="*/ 1021520 h 3452894"/>
              <a:gd name="connsiteX1" fmla="*/ 8749 w 5680945"/>
              <a:gd name="connsiteY1" fmla="*/ 3164181 h 3452894"/>
              <a:gd name="connsiteX2" fmla="*/ 151414 w 5680945"/>
              <a:gd name="connsiteY2" fmla="*/ 3164181 h 3452894"/>
              <a:gd name="connsiteX3" fmla="*/ 151414 w 5680945"/>
              <a:gd name="connsiteY3" fmla="*/ 1140155 h 3452894"/>
              <a:gd name="connsiteX4" fmla="*/ 5534897 w 5680945"/>
              <a:gd name="connsiteY4" fmla="*/ 179294 h 3452894"/>
              <a:gd name="connsiteX5" fmla="*/ 5534897 w 5680945"/>
              <a:gd name="connsiteY5" fmla="*/ 3306846 h 3452894"/>
              <a:gd name="connsiteX6" fmla="*/ 864624 w 5680945"/>
              <a:gd name="connsiteY6" fmla="*/ 3306846 h 3452894"/>
              <a:gd name="connsiteX7" fmla="*/ 864624 w 5680945"/>
              <a:gd name="connsiteY7" fmla="*/ 3449395 h 3452894"/>
              <a:gd name="connsiteX8" fmla="*/ 5677562 w 5680945"/>
              <a:gd name="connsiteY8" fmla="*/ 3449395 h 3452894"/>
              <a:gd name="connsiteX9" fmla="*/ 5677562 w 5680945"/>
              <a:gd name="connsiteY9" fmla="*/ 8749 h 3452894"/>
              <a:gd name="connsiteX10" fmla="*/ 8749 w 5680945"/>
              <a:gd name="connsiteY10" fmla="*/ 1021520 h 34528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5680945" h="3452894">
                <a:moveTo>
                  <a:pt x="8749" y="1021520"/>
                </a:moveTo>
                <a:lnTo>
                  <a:pt x="8749" y="3164181"/>
                </a:lnTo>
                <a:lnTo>
                  <a:pt x="151414" y="3164181"/>
                </a:lnTo>
                <a:lnTo>
                  <a:pt x="151414" y="1140155"/>
                </a:lnTo>
                <a:lnTo>
                  <a:pt x="5534897" y="179294"/>
                </a:lnTo>
                <a:lnTo>
                  <a:pt x="5534897" y="3306846"/>
                </a:lnTo>
                <a:lnTo>
                  <a:pt x="864624" y="3306846"/>
                </a:lnTo>
                <a:lnTo>
                  <a:pt x="864624" y="3449395"/>
                </a:lnTo>
                <a:lnTo>
                  <a:pt x="5677562" y="3449395"/>
                </a:lnTo>
                <a:lnTo>
                  <a:pt x="5677562" y="8749"/>
                </a:lnTo>
                <a:lnTo>
                  <a:pt x="8749" y="1021520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 sz="1798" dirty="0"/>
          </a:p>
        </p:txBody>
      </p:sp>
      <p:sp>
        <p:nvSpPr>
          <p:cNvPr id="4" name="Freeform: Shape 3">
            <a:extLst>
              <a:ext uri="{FF2B5EF4-FFF2-40B4-BE49-F238E27FC236}">
                <a16:creationId xmlns:a16="http://schemas.microsoft.com/office/drawing/2014/main" id="{15324C54-B75E-4AC0-90C2-FA558C7716F7}"/>
              </a:ext>
            </a:extLst>
          </p:cNvPr>
          <p:cNvSpPr/>
          <p:nvPr/>
        </p:nvSpPr>
        <p:spPr>
          <a:xfrm>
            <a:off x="489113" y="4021758"/>
            <a:ext cx="151568" cy="151647"/>
          </a:xfrm>
          <a:custGeom>
            <a:avLst/>
            <a:gdLst>
              <a:gd name="connsiteX0" fmla="*/ 8749 w 151647"/>
              <a:gd name="connsiteY0" fmla="*/ 8749 h 151647"/>
              <a:gd name="connsiteX1" fmla="*/ 151414 w 151647"/>
              <a:gd name="connsiteY1" fmla="*/ 8749 h 151647"/>
              <a:gd name="connsiteX2" fmla="*/ 151414 w 151647"/>
              <a:gd name="connsiteY2" fmla="*/ 151414 h 151647"/>
              <a:gd name="connsiteX3" fmla="*/ 8749 w 151647"/>
              <a:gd name="connsiteY3" fmla="*/ 151414 h 151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647" h="151647">
                <a:moveTo>
                  <a:pt x="8749" y="8749"/>
                </a:moveTo>
                <a:lnTo>
                  <a:pt x="151414" y="8749"/>
                </a:lnTo>
                <a:lnTo>
                  <a:pt x="151414" y="151414"/>
                </a:lnTo>
                <a:lnTo>
                  <a:pt x="8749" y="151414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 sz="1798" dirty="0"/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CAA95478-C099-485F-AD95-A617656C6C7C}"/>
              </a:ext>
            </a:extLst>
          </p:cNvPr>
          <p:cNvSpPr/>
          <p:nvPr/>
        </p:nvSpPr>
        <p:spPr>
          <a:xfrm>
            <a:off x="774294" y="4021758"/>
            <a:ext cx="151568" cy="151647"/>
          </a:xfrm>
          <a:custGeom>
            <a:avLst/>
            <a:gdLst>
              <a:gd name="connsiteX0" fmla="*/ 8749 w 151647"/>
              <a:gd name="connsiteY0" fmla="*/ 8749 h 151647"/>
              <a:gd name="connsiteX1" fmla="*/ 151414 w 151647"/>
              <a:gd name="connsiteY1" fmla="*/ 8749 h 151647"/>
              <a:gd name="connsiteX2" fmla="*/ 151414 w 151647"/>
              <a:gd name="connsiteY2" fmla="*/ 151414 h 151647"/>
              <a:gd name="connsiteX3" fmla="*/ 8749 w 151647"/>
              <a:gd name="connsiteY3" fmla="*/ 151414 h 151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647" h="151647">
                <a:moveTo>
                  <a:pt x="8749" y="8749"/>
                </a:moveTo>
                <a:lnTo>
                  <a:pt x="151414" y="8749"/>
                </a:lnTo>
                <a:lnTo>
                  <a:pt x="151414" y="151414"/>
                </a:lnTo>
                <a:lnTo>
                  <a:pt x="8749" y="151414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 sz="1798" dirty="0"/>
          </a:p>
        </p:txBody>
      </p: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D65680A1-86D1-44C2-AA38-0DF5735F1F26}"/>
              </a:ext>
            </a:extLst>
          </p:cNvPr>
          <p:cNvSpPr/>
          <p:nvPr/>
        </p:nvSpPr>
        <p:spPr>
          <a:xfrm>
            <a:off x="1059360" y="4021758"/>
            <a:ext cx="151568" cy="151647"/>
          </a:xfrm>
          <a:custGeom>
            <a:avLst/>
            <a:gdLst>
              <a:gd name="connsiteX0" fmla="*/ 8749 w 151647"/>
              <a:gd name="connsiteY0" fmla="*/ 8749 h 151647"/>
              <a:gd name="connsiteX1" fmla="*/ 151414 w 151647"/>
              <a:gd name="connsiteY1" fmla="*/ 8749 h 151647"/>
              <a:gd name="connsiteX2" fmla="*/ 151414 w 151647"/>
              <a:gd name="connsiteY2" fmla="*/ 151414 h 151647"/>
              <a:gd name="connsiteX3" fmla="*/ 8749 w 151647"/>
              <a:gd name="connsiteY3" fmla="*/ 151414 h 151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647" h="151647">
                <a:moveTo>
                  <a:pt x="8749" y="8749"/>
                </a:moveTo>
                <a:lnTo>
                  <a:pt x="151414" y="8749"/>
                </a:lnTo>
                <a:lnTo>
                  <a:pt x="151414" y="151414"/>
                </a:lnTo>
                <a:lnTo>
                  <a:pt x="8749" y="151414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 sz="1798" dirty="0"/>
          </a:p>
        </p:txBody>
      </p:sp>
      <p:grpSp>
        <p:nvGrpSpPr>
          <p:cNvPr id="104" name="Group 4">
            <a:extLst>
              <a:ext uri="{FF2B5EF4-FFF2-40B4-BE49-F238E27FC236}">
                <a16:creationId xmlns:a16="http://schemas.microsoft.com/office/drawing/2014/main" id="{89402076-F24D-44C5-B8A7-1127F9C4B9B7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59392" y="4960938"/>
            <a:ext cx="1224912" cy="1435100"/>
            <a:chOff x="6529" y="3125"/>
            <a:chExt cx="772" cy="904"/>
          </a:xfrm>
        </p:grpSpPr>
        <p:sp>
          <p:nvSpPr>
            <p:cNvPr id="105" name="Freeform 5">
              <a:extLst>
                <a:ext uri="{FF2B5EF4-FFF2-40B4-BE49-F238E27FC236}">
                  <a16:creationId xmlns:a16="http://schemas.microsoft.com/office/drawing/2014/main" id="{A239DDBF-0740-4B20-9CF3-A05C2A0BF5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/>
            </a:p>
          </p:txBody>
        </p:sp>
        <p:sp>
          <p:nvSpPr>
            <p:cNvPr id="106" name="Freeform 6">
              <a:extLst>
                <a:ext uri="{FF2B5EF4-FFF2-40B4-BE49-F238E27FC236}">
                  <a16:creationId xmlns:a16="http://schemas.microsoft.com/office/drawing/2014/main" id="{380EECCA-3396-425E-AB04-F11ABB1B509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/>
            </a:p>
          </p:txBody>
        </p:sp>
      </p:grpSp>
    </p:spTree>
    <p:extLst>
      <p:ext uri="{BB962C8B-B14F-4D97-AF65-F5344CB8AC3E}">
        <p14:creationId xmlns:p14="http://schemas.microsoft.com/office/powerpoint/2010/main" val="49587365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pproved question tall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9F0DE042-7748-4A4D-98C5-C92ADB5B92A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1"/>
            <a:ext cx="12192000" cy="6858001"/>
          </a:xfrm>
          <a:prstGeom prst="rect">
            <a:avLst/>
          </a:prstGeom>
        </p:spPr>
      </p:pic>
      <p:pic>
        <p:nvPicPr>
          <p:cNvPr id="85" name="Graphic 84">
            <a:extLst>
              <a:ext uri="{FF2B5EF4-FFF2-40B4-BE49-F238E27FC236}">
                <a16:creationId xmlns:a16="http://schemas.microsoft.com/office/drawing/2014/main" id="{819BCB30-E1AA-4383-BEF0-0BE30C6425D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89111" y="869579"/>
            <a:ext cx="4845500" cy="3933825"/>
          </a:xfrm>
          <a:prstGeom prst="rect">
            <a:avLst/>
          </a:prstGeom>
        </p:spPr>
      </p:pic>
      <p:grpSp>
        <p:nvGrpSpPr>
          <p:cNvPr id="186" name="Group 185">
            <a:extLst>
              <a:ext uri="{FF2B5EF4-FFF2-40B4-BE49-F238E27FC236}">
                <a16:creationId xmlns:a16="http://schemas.microsoft.com/office/drawing/2014/main" id="{9CDE954B-B280-441B-9B2D-3DC58AAE3926}"/>
              </a:ext>
            </a:extLst>
          </p:cNvPr>
          <p:cNvGrpSpPr/>
          <p:nvPr userDrawn="1"/>
        </p:nvGrpSpPr>
        <p:grpSpPr>
          <a:xfrm>
            <a:off x="497856" y="5826615"/>
            <a:ext cx="3876004" cy="570195"/>
            <a:chOff x="498115" y="5951018"/>
            <a:chExt cx="3878023" cy="570195"/>
          </a:xfrm>
        </p:grpSpPr>
        <p:sp>
          <p:nvSpPr>
            <p:cNvPr id="187" name="Rectangle 186">
              <a:extLst>
                <a:ext uri="{FF2B5EF4-FFF2-40B4-BE49-F238E27FC236}">
                  <a16:creationId xmlns:a16="http://schemas.microsoft.com/office/drawing/2014/main" id="{93D8FAC8-9530-49D4-8284-D35D1B1509D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98115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/>
            </a:p>
          </p:txBody>
        </p:sp>
        <p:sp>
          <p:nvSpPr>
            <p:cNvPr id="188" name="Rectangle 6">
              <a:extLst>
                <a:ext uri="{FF2B5EF4-FFF2-40B4-BE49-F238E27FC236}">
                  <a16:creationId xmlns:a16="http://schemas.microsoft.com/office/drawing/2014/main" id="{FD924F44-93C1-4254-B594-53DB14FD995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9341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/>
            </a:p>
          </p:txBody>
        </p:sp>
        <p:sp>
          <p:nvSpPr>
            <p:cNvPr id="189" name="Rectangle 7">
              <a:extLst>
                <a:ext uri="{FF2B5EF4-FFF2-40B4-BE49-F238E27FC236}">
                  <a16:creationId xmlns:a16="http://schemas.microsoft.com/office/drawing/2014/main" id="{2A2DA425-7935-45A1-B63F-2D14CF8D5F9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9045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/>
            </a:p>
          </p:txBody>
        </p:sp>
        <p:sp>
          <p:nvSpPr>
            <p:cNvPr id="190" name="Freeform 8">
              <a:extLst>
                <a:ext uri="{FF2B5EF4-FFF2-40B4-BE49-F238E27FC236}">
                  <a16:creationId xmlns:a16="http://schemas.microsoft.com/office/drawing/2014/main" id="{91EFF75E-13E7-4E35-B108-D9FD5E9C802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181188"/>
              <a:ext cx="94161" cy="130778"/>
            </a:xfrm>
            <a:custGeom>
              <a:avLst/>
              <a:gdLst>
                <a:gd name="T0" fmla="*/ 32 w 54"/>
                <a:gd name="T1" fmla="*/ 11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1 h 75"/>
                <a:gd name="T8" fmla="*/ 0 w 54"/>
                <a:gd name="T9" fmla="*/ 11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1 h 75"/>
                <a:gd name="T16" fmla="*/ 32 w 54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1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1"/>
                  </a:lnTo>
                  <a:lnTo>
                    <a:pt x="32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191" name="Freeform 9">
              <a:extLst>
                <a:ext uri="{FF2B5EF4-FFF2-40B4-BE49-F238E27FC236}">
                  <a16:creationId xmlns:a16="http://schemas.microsoft.com/office/drawing/2014/main" id="{4411951F-E009-4FE7-B2EC-47771CA8E17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174213"/>
              <a:ext cx="78468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192" name="Freeform 10">
              <a:extLst>
                <a:ext uri="{FF2B5EF4-FFF2-40B4-BE49-F238E27FC236}">
                  <a16:creationId xmlns:a16="http://schemas.microsoft.com/office/drawing/2014/main" id="{B28EE49C-5F5A-49C6-AEB8-6D12DDF344E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193" name="Freeform 11">
              <a:extLst>
                <a:ext uri="{FF2B5EF4-FFF2-40B4-BE49-F238E27FC236}">
                  <a16:creationId xmlns:a16="http://schemas.microsoft.com/office/drawing/2014/main" id="{6E2B7D76-D660-491F-8B04-169C6F138B0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174213"/>
              <a:ext cx="83698" cy="139497"/>
            </a:xfrm>
            <a:custGeom>
              <a:avLst/>
              <a:gdLst>
                <a:gd name="T0" fmla="*/ 33 w 33"/>
                <a:gd name="T1" fmla="*/ 35 h 55"/>
                <a:gd name="T2" fmla="*/ 31 w 33"/>
                <a:gd name="T3" fmla="*/ 44 h 55"/>
                <a:gd name="T4" fmla="*/ 28 w 33"/>
                <a:gd name="T5" fmla="*/ 50 h 55"/>
                <a:gd name="T6" fmla="*/ 23 w 33"/>
                <a:gd name="T7" fmla="*/ 53 h 55"/>
                <a:gd name="T8" fmla="*/ 17 w 33"/>
                <a:gd name="T9" fmla="*/ 55 h 55"/>
                <a:gd name="T10" fmla="*/ 12 w 33"/>
                <a:gd name="T11" fmla="*/ 53 h 55"/>
                <a:gd name="T12" fmla="*/ 8 w 33"/>
                <a:gd name="T13" fmla="*/ 50 h 55"/>
                <a:gd name="T14" fmla="*/ 8 w 33"/>
                <a:gd name="T15" fmla="*/ 54 h 55"/>
                <a:gd name="T16" fmla="*/ 0 w 33"/>
                <a:gd name="T17" fmla="*/ 54 h 55"/>
                <a:gd name="T18" fmla="*/ 0 w 33"/>
                <a:gd name="T19" fmla="*/ 4 h 55"/>
                <a:gd name="T20" fmla="*/ 8 w 33"/>
                <a:gd name="T21" fmla="*/ 0 h 55"/>
                <a:gd name="T22" fmla="*/ 8 w 33"/>
                <a:gd name="T23" fmla="*/ 19 h 55"/>
                <a:gd name="T24" fmla="*/ 10 w 33"/>
                <a:gd name="T25" fmla="*/ 17 h 55"/>
                <a:gd name="T26" fmla="*/ 12 w 33"/>
                <a:gd name="T27" fmla="*/ 16 h 55"/>
                <a:gd name="T28" fmla="*/ 14 w 33"/>
                <a:gd name="T29" fmla="*/ 15 h 55"/>
                <a:gd name="T30" fmla="*/ 18 w 33"/>
                <a:gd name="T31" fmla="*/ 15 h 55"/>
                <a:gd name="T32" fmla="*/ 24 w 33"/>
                <a:gd name="T33" fmla="*/ 16 h 55"/>
                <a:gd name="T34" fmla="*/ 28 w 33"/>
                <a:gd name="T35" fmla="*/ 19 h 55"/>
                <a:gd name="T36" fmla="*/ 31 w 33"/>
                <a:gd name="T37" fmla="*/ 26 h 55"/>
                <a:gd name="T38" fmla="*/ 33 w 33"/>
                <a:gd name="T39" fmla="*/ 35 h 55"/>
                <a:gd name="T40" fmla="*/ 25 w 33"/>
                <a:gd name="T41" fmla="*/ 35 h 55"/>
                <a:gd name="T42" fmla="*/ 23 w 33"/>
                <a:gd name="T43" fmla="*/ 25 h 55"/>
                <a:gd name="T44" fmla="*/ 16 w 33"/>
                <a:gd name="T45" fmla="*/ 22 h 55"/>
                <a:gd name="T46" fmla="*/ 14 w 33"/>
                <a:gd name="T47" fmla="*/ 22 h 55"/>
                <a:gd name="T48" fmla="*/ 11 w 33"/>
                <a:gd name="T49" fmla="*/ 23 h 55"/>
                <a:gd name="T50" fmla="*/ 9 w 33"/>
                <a:gd name="T51" fmla="*/ 25 h 55"/>
                <a:gd name="T52" fmla="*/ 8 w 33"/>
                <a:gd name="T53" fmla="*/ 26 h 55"/>
                <a:gd name="T54" fmla="*/ 8 w 33"/>
                <a:gd name="T55" fmla="*/ 43 h 55"/>
                <a:gd name="T56" fmla="*/ 9 w 33"/>
                <a:gd name="T57" fmla="*/ 44 h 55"/>
                <a:gd name="T58" fmla="*/ 11 w 33"/>
                <a:gd name="T59" fmla="*/ 46 h 55"/>
                <a:gd name="T60" fmla="*/ 14 w 33"/>
                <a:gd name="T61" fmla="*/ 47 h 55"/>
                <a:gd name="T62" fmla="*/ 17 w 33"/>
                <a:gd name="T63" fmla="*/ 48 h 55"/>
                <a:gd name="T64" fmla="*/ 23 w 33"/>
                <a:gd name="T65" fmla="*/ 45 h 55"/>
                <a:gd name="T66" fmla="*/ 25 w 33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5">
                  <a:moveTo>
                    <a:pt x="33" y="35"/>
                  </a:moveTo>
                  <a:cubicBezTo>
                    <a:pt x="33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7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6" y="55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8"/>
                    <a:pt x="10" y="17"/>
                  </a:cubicBezTo>
                  <a:cubicBezTo>
                    <a:pt x="11" y="17"/>
                    <a:pt x="11" y="16"/>
                    <a:pt x="12" y="16"/>
                  </a:cubicBezTo>
                  <a:cubicBezTo>
                    <a:pt x="13" y="16"/>
                    <a:pt x="13" y="15"/>
                    <a:pt x="14" y="15"/>
                  </a:cubicBezTo>
                  <a:cubicBezTo>
                    <a:pt x="15" y="15"/>
                    <a:pt x="16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30" y="21"/>
                    <a:pt x="31" y="23"/>
                    <a:pt x="31" y="26"/>
                  </a:cubicBezTo>
                  <a:cubicBezTo>
                    <a:pt x="32" y="28"/>
                    <a:pt x="33" y="32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5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1" y="23"/>
                    <a:pt x="10" y="24"/>
                    <a:pt x="9" y="25"/>
                  </a:cubicBezTo>
                  <a:cubicBezTo>
                    <a:pt x="9" y="25"/>
                    <a:pt x="8" y="26"/>
                    <a:pt x="8" y="26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8" y="43"/>
                    <a:pt x="9" y="44"/>
                    <a:pt x="9" y="44"/>
                  </a:cubicBezTo>
                  <a:cubicBezTo>
                    <a:pt x="10" y="45"/>
                    <a:pt x="11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6" y="48"/>
                    <a:pt x="17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194" name="Freeform 12">
              <a:extLst>
                <a:ext uri="{FF2B5EF4-FFF2-40B4-BE49-F238E27FC236}">
                  <a16:creationId xmlns:a16="http://schemas.microsoft.com/office/drawing/2014/main" id="{41BE51DE-402B-48B5-99C8-D8BB9A32DF3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195" name="Freeform 13">
              <a:extLst>
                <a:ext uri="{FF2B5EF4-FFF2-40B4-BE49-F238E27FC236}">
                  <a16:creationId xmlns:a16="http://schemas.microsoft.com/office/drawing/2014/main" id="{8D5E878B-8859-44FA-A69D-DCE630AAB0D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1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2" y="54"/>
                    <a:pt x="11" y="54"/>
                  </a:cubicBezTo>
                  <a:cubicBezTo>
                    <a:pt x="10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2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196" name="Freeform 14">
              <a:extLst>
                <a:ext uri="{FF2B5EF4-FFF2-40B4-BE49-F238E27FC236}">
                  <a16:creationId xmlns:a16="http://schemas.microsoft.com/office/drawing/2014/main" id="{08D55808-ECDC-4E9B-84ED-7301E9E716C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197" name="Freeform 15">
              <a:extLst>
                <a:ext uri="{FF2B5EF4-FFF2-40B4-BE49-F238E27FC236}">
                  <a16:creationId xmlns:a16="http://schemas.microsoft.com/office/drawing/2014/main" id="{3436B310-313E-4A53-A70D-CA0D0D97FE7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0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2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0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3" y="31"/>
                    <a:pt x="24" y="30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0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7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198" name="Freeform 16">
              <a:extLst>
                <a:ext uri="{FF2B5EF4-FFF2-40B4-BE49-F238E27FC236}">
                  <a16:creationId xmlns:a16="http://schemas.microsoft.com/office/drawing/2014/main" id="{F3CE55A9-AE55-4169-A58D-8171D9916EC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212575"/>
              <a:ext cx="55799" cy="99391"/>
            </a:xfrm>
            <a:custGeom>
              <a:avLst/>
              <a:gdLst>
                <a:gd name="T0" fmla="*/ 20 w 22"/>
                <a:gd name="T1" fmla="*/ 8 h 39"/>
                <a:gd name="T2" fmla="*/ 18 w 22"/>
                <a:gd name="T3" fmla="*/ 7 h 39"/>
                <a:gd name="T4" fmla="*/ 15 w 22"/>
                <a:gd name="T5" fmla="*/ 7 h 39"/>
                <a:gd name="T6" fmla="*/ 9 w 22"/>
                <a:gd name="T7" fmla="*/ 9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0 h 39"/>
                <a:gd name="T16" fmla="*/ 7 w 22"/>
                <a:gd name="T17" fmla="*/ 0 h 39"/>
                <a:gd name="T18" fmla="*/ 7 w 22"/>
                <a:gd name="T19" fmla="*/ 4 h 39"/>
                <a:gd name="T20" fmla="*/ 9 w 22"/>
                <a:gd name="T21" fmla="*/ 2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0 h 39"/>
                <a:gd name="T30" fmla="*/ 22 w 22"/>
                <a:gd name="T31" fmla="*/ 1 h 39"/>
                <a:gd name="T32" fmla="*/ 20 w 22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2" y="7"/>
                    <a:pt x="10" y="8"/>
                    <a:pt x="9" y="9"/>
                  </a:cubicBezTo>
                  <a:cubicBezTo>
                    <a:pt x="8" y="11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9" y="2"/>
                    <a:pt x="10" y="1"/>
                    <a:pt x="11" y="1"/>
                  </a:cubicBezTo>
                  <a:cubicBezTo>
                    <a:pt x="11" y="0"/>
                    <a:pt x="12" y="0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0"/>
                  </a:cubicBezTo>
                  <a:cubicBezTo>
                    <a:pt x="21" y="0"/>
                    <a:pt x="22" y="1"/>
                    <a:pt x="22" y="1"/>
                  </a:cubicBezTo>
                  <a:lnTo>
                    <a:pt x="20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199" name="Freeform 17">
              <a:extLst>
                <a:ext uri="{FF2B5EF4-FFF2-40B4-BE49-F238E27FC236}">
                  <a16:creationId xmlns:a16="http://schemas.microsoft.com/office/drawing/2014/main" id="{FA01BC48-4605-46FC-A7AC-192C7DBCA0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00" name="Freeform 18">
              <a:extLst>
                <a:ext uri="{FF2B5EF4-FFF2-40B4-BE49-F238E27FC236}">
                  <a16:creationId xmlns:a16="http://schemas.microsoft.com/office/drawing/2014/main" id="{870190F3-472B-4296-B88D-D6904B9F30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2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8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9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01" name="Freeform 19">
              <a:extLst>
                <a:ext uri="{FF2B5EF4-FFF2-40B4-BE49-F238E27FC236}">
                  <a16:creationId xmlns:a16="http://schemas.microsoft.com/office/drawing/2014/main" id="{6CEA0F2B-4AAB-4A16-B7F1-CFCB0C0DCEE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02" name="Freeform 20">
              <a:extLst>
                <a:ext uri="{FF2B5EF4-FFF2-40B4-BE49-F238E27FC236}">
                  <a16:creationId xmlns:a16="http://schemas.microsoft.com/office/drawing/2014/main" id="{CD64F657-7EE7-4AF2-ADE4-160C87E64D6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30922" y="6212575"/>
              <a:ext cx="80211" cy="134265"/>
            </a:xfrm>
            <a:custGeom>
              <a:avLst/>
              <a:gdLst>
                <a:gd name="T0" fmla="*/ 25 w 32"/>
                <a:gd name="T1" fmla="*/ 53 h 53"/>
                <a:gd name="T2" fmla="*/ 25 w 32"/>
                <a:gd name="T3" fmla="*/ 35 h 53"/>
                <a:gd name="T4" fmla="*/ 20 w 32"/>
                <a:gd name="T5" fmla="*/ 38 h 53"/>
                <a:gd name="T6" fmla="*/ 15 w 32"/>
                <a:gd name="T7" fmla="*/ 40 h 53"/>
                <a:gd name="T8" fmla="*/ 9 w 32"/>
                <a:gd name="T9" fmla="*/ 38 h 53"/>
                <a:gd name="T10" fmla="*/ 4 w 32"/>
                <a:gd name="T11" fmla="*/ 35 h 53"/>
                <a:gd name="T12" fmla="*/ 1 w 32"/>
                <a:gd name="T13" fmla="*/ 28 h 53"/>
                <a:gd name="T14" fmla="*/ 0 w 32"/>
                <a:gd name="T15" fmla="*/ 19 h 53"/>
                <a:gd name="T16" fmla="*/ 1 w 32"/>
                <a:gd name="T17" fmla="*/ 10 h 53"/>
                <a:gd name="T18" fmla="*/ 4 w 32"/>
                <a:gd name="T19" fmla="*/ 4 h 53"/>
                <a:gd name="T20" fmla="*/ 9 w 32"/>
                <a:gd name="T21" fmla="*/ 1 h 53"/>
                <a:gd name="T22" fmla="*/ 15 w 32"/>
                <a:gd name="T23" fmla="*/ 0 h 53"/>
                <a:gd name="T24" fmla="*/ 18 w 32"/>
                <a:gd name="T25" fmla="*/ 0 h 53"/>
                <a:gd name="T26" fmla="*/ 20 w 32"/>
                <a:gd name="T27" fmla="*/ 1 h 53"/>
                <a:gd name="T28" fmla="*/ 23 w 32"/>
                <a:gd name="T29" fmla="*/ 2 h 53"/>
                <a:gd name="T30" fmla="*/ 25 w 32"/>
                <a:gd name="T31" fmla="*/ 4 h 53"/>
                <a:gd name="T32" fmla="*/ 25 w 32"/>
                <a:gd name="T33" fmla="*/ 0 h 53"/>
                <a:gd name="T34" fmla="*/ 32 w 32"/>
                <a:gd name="T35" fmla="*/ 0 h 53"/>
                <a:gd name="T36" fmla="*/ 32 w 32"/>
                <a:gd name="T37" fmla="*/ 49 h 53"/>
                <a:gd name="T38" fmla="*/ 25 w 32"/>
                <a:gd name="T39" fmla="*/ 53 h 53"/>
                <a:gd name="T40" fmla="*/ 25 w 32"/>
                <a:gd name="T41" fmla="*/ 12 h 53"/>
                <a:gd name="T42" fmla="*/ 23 w 32"/>
                <a:gd name="T43" fmla="*/ 10 h 53"/>
                <a:gd name="T44" fmla="*/ 21 w 32"/>
                <a:gd name="T45" fmla="*/ 8 h 53"/>
                <a:gd name="T46" fmla="*/ 18 w 32"/>
                <a:gd name="T47" fmla="*/ 7 h 53"/>
                <a:gd name="T48" fmla="*/ 16 w 32"/>
                <a:gd name="T49" fmla="*/ 7 h 53"/>
                <a:gd name="T50" fmla="*/ 9 w 32"/>
                <a:gd name="T51" fmla="*/ 10 h 53"/>
                <a:gd name="T52" fmla="*/ 7 w 32"/>
                <a:gd name="T53" fmla="*/ 19 h 53"/>
                <a:gd name="T54" fmla="*/ 10 w 32"/>
                <a:gd name="T55" fmla="*/ 29 h 53"/>
                <a:gd name="T56" fmla="*/ 16 w 32"/>
                <a:gd name="T57" fmla="*/ 33 h 53"/>
                <a:gd name="T58" fmla="*/ 21 w 32"/>
                <a:gd name="T59" fmla="*/ 31 h 53"/>
                <a:gd name="T60" fmla="*/ 25 w 32"/>
                <a:gd name="T61" fmla="*/ 28 h 53"/>
                <a:gd name="T62" fmla="*/ 25 w 32"/>
                <a:gd name="T63" fmla="*/ 1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2" h="53">
                  <a:moveTo>
                    <a:pt x="25" y="53"/>
                  </a:moveTo>
                  <a:cubicBezTo>
                    <a:pt x="25" y="35"/>
                    <a:pt x="25" y="35"/>
                    <a:pt x="25" y="35"/>
                  </a:cubicBezTo>
                  <a:cubicBezTo>
                    <a:pt x="23" y="36"/>
                    <a:pt x="22" y="37"/>
                    <a:pt x="20" y="38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3" y="40"/>
                    <a:pt x="11" y="39"/>
                    <a:pt x="9" y="38"/>
                  </a:cubicBezTo>
                  <a:cubicBezTo>
                    <a:pt x="7" y="38"/>
                    <a:pt x="5" y="36"/>
                    <a:pt x="4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0" y="26"/>
                    <a:pt x="0" y="23"/>
                    <a:pt x="0" y="19"/>
                  </a:cubicBezTo>
                  <a:cubicBezTo>
                    <a:pt x="0" y="16"/>
                    <a:pt x="0" y="13"/>
                    <a:pt x="1" y="10"/>
                  </a:cubicBezTo>
                  <a:cubicBezTo>
                    <a:pt x="2" y="8"/>
                    <a:pt x="3" y="6"/>
                    <a:pt x="4" y="4"/>
                  </a:cubicBezTo>
                  <a:cubicBezTo>
                    <a:pt x="6" y="3"/>
                    <a:pt x="7" y="2"/>
                    <a:pt x="9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6" y="0"/>
                    <a:pt x="17" y="0"/>
                    <a:pt x="18" y="0"/>
                  </a:cubicBezTo>
                  <a:cubicBezTo>
                    <a:pt x="19" y="0"/>
                    <a:pt x="20" y="0"/>
                    <a:pt x="20" y="1"/>
                  </a:cubicBezTo>
                  <a:cubicBezTo>
                    <a:pt x="21" y="1"/>
                    <a:pt x="22" y="2"/>
                    <a:pt x="23" y="2"/>
                  </a:cubicBezTo>
                  <a:cubicBezTo>
                    <a:pt x="23" y="3"/>
                    <a:pt x="24" y="3"/>
                    <a:pt x="25" y="4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49"/>
                    <a:pt x="32" y="49"/>
                    <a:pt x="32" y="49"/>
                  </a:cubicBezTo>
                  <a:lnTo>
                    <a:pt x="25" y="53"/>
                  </a:lnTo>
                  <a:close/>
                  <a:moveTo>
                    <a:pt x="25" y="12"/>
                  </a:moveTo>
                  <a:cubicBezTo>
                    <a:pt x="24" y="11"/>
                    <a:pt x="24" y="10"/>
                    <a:pt x="23" y="10"/>
                  </a:cubicBezTo>
                  <a:cubicBezTo>
                    <a:pt x="23" y="9"/>
                    <a:pt x="22" y="9"/>
                    <a:pt x="21" y="8"/>
                  </a:cubicBezTo>
                  <a:cubicBezTo>
                    <a:pt x="20" y="8"/>
                    <a:pt x="19" y="7"/>
                    <a:pt x="18" y="7"/>
                  </a:cubicBezTo>
                  <a:cubicBezTo>
                    <a:pt x="18" y="7"/>
                    <a:pt x="17" y="7"/>
                    <a:pt x="16" y="7"/>
                  </a:cubicBezTo>
                  <a:cubicBezTo>
                    <a:pt x="13" y="7"/>
                    <a:pt x="11" y="8"/>
                    <a:pt x="9" y="10"/>
                  </a:cubicBezTo>
                  <a:cubicBezTo>
                    <a:pt x="8" y="12"/>
                    <a:pt x="7" y="15"/>
                    <a:pt x="7" y="19"/>
                  </a:cubicBezTo>
                  <a:cubicBezTo>
                    <a:pt x="7" y="23"/>
                    <a:pt x="8" y="27"/>
                    <a:pt x="10" y="29"/>
                  </a:cubicBezTo>
                  <a:cubicBezTo>
                    <a:pt x="11" y="31"/>
                    <a:pt x="13" y="33"/>
                    <a:pt x="16" y="33"/>
                  </a:cubicBezTo>
                  <a:cubicBezTo>
                    <a:pt x="18" y="33"/>
                    <a:pt x="19" y="32"/>
                    <a:pt x="21" y="31"/>
                  </a:cubicBezTo>
                  <a:cubicBezTo>
                    <a:pt x="22" y="30"/>
                    <a:pt x="24" y="29"/>
                    <a:pt x="25" y="28"/>
                  </a:cubicBezTo>
                  <a:lnTo>
                    <a:pt x="25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03" name="Freeform 21">
              <a:extLst>
                <a:ext uri="{FF2B5EF4-FFF2-40B4-BE49-F238E27FC236}">
                  <a16:creationId xmlns:a16="http://schemas.microsoft.com/office/drawing/2014/main" id="{FA80A690-9084-4519-8D88-A01963C0236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35545" y="6212575"/>
              <a:ext cx="78468" cy="101135"/>
            </a:xfrm>
            <a:custGeom>
              <a:avLst/>
              <a:gdLst>
                <a:gd name="T0" fmla="*/ 24 w 31"/>
                <a:gd name="T1" fmla="*/ 39 h 40"/>
                <a:gd name="T2" fmla="*/ 24 w 31"/>
                <a:gd name="T3" fmla="*/ 35 h 40"/>
                <a:gd name="T4" fmla="*/ 20 w 31"/>
                <a:gd name="T5" fmla="*/ 38 h 40"/>
                <a:gd name="T6" fmla="*/ 14 w 31"/>
                <a:gd name="T7" fmla="*/ 40 h 40"/>
                <a:gd name="T8" fmla="*/ 4 w 31"/>
                <a:gd name="T9" fmla="*/ 35 h 40"/>
                <a:gd name="T10" fmla="*/ 0 w 31"/>
                <a:gd name="T11" fmla="*/ 22 h 40"/>
                <a:gd name="T12" fmla="*/ 0 w 31"/>
                <a:gd name="T13" fmla="*/ 0 h 40"/>
                <a:gd name="T14" fmla="*/ 8 w 31"/>
                <a:gd name="T15" fmla="*/ 0 h 40"/>
                <a:gd name="T16" fmla="*/ 8 w 31"/>
                <a:gd name="T17" fmla="*/ 22 h 40"/>
                <a:gd name="T18" fmla="*/ 10 w 31"/>
                <a:gd name="T19" fmla="*/ 30 h 40"/>
                <a:gd name="T20" fmla="*/ 16 w 31"/>
                <a:gd name="T21" fmla="*/ 33 h 40"/>
                <a:gd name="T22" fmla="*/ 22 w 31"/>
                <a:gd name="T23" fmla="*/ 30 h 40"/>
                <a:gd name="T24" fmla="*/ 24 w 31"/>
                <a:gd name="T25" fmla="*/ 23 h 40"/>
                <a:gd name="T26" fmla="*/ 24 w 31"/>
                <a:gd name="T27" fmla="*/ 0 h 40"/>
                <a:gd name="T28" fmla="*/ 31 w 31"/>
                <a:gd name="T29" fmla="*/ 0 h 40"/>
                <a:gd name="T30" fmla="*/ 31 w 31"/>
                <a:gd name="T31" fmla="*/ 39 h 40"/>
                <a:gd name="T32" fmla="*/ 24 w 31"/>
                <a:gd name="T33" fmla="*/ 39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1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2" y="38"/>
                    <a:pt x="20" y="38"/>
                  </a:cubicBezTo>
                  <a:cubicBezTo>
                    <a:pt x="18" y="39"/>
                    <a:pt x="16" y="40"/>
                    <a:pt x="14" y="40"/>
                  </a:cubicBezTo>
                  <a:cubicBezTo>
                    <a:pt x="10" y="40"/>
                    <a:pt x="6" y="38"/>
                    <a:pt x="4" y="35"/>
                  </a:cubicBezTo>
                  <a:cubicBezTo>
                    <a:pt x="2" y="32"/>
                    <a:pt x="0" y="28"/>
                    <a:pt x="0" y="2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6"/>
                    <a:pt x="9" y="28"/>
                    <a:pt x="10" y="30"/>
                  </a:cubicBezTo>
                  <a:cubicBezTo>
                    <a:pt x="11" y="32"/>
                    <a:pt x="13" y="33"/>
                    <a:pt x="16" y="33"/>
                  </a:cubicBezTo>
                  <a:cubicBezTo>
                    <a:pt x="18" y="33"/>
                    <a:pt x="20" y="32"/>
                    <a:pt x="22" y="30"/>
                  </a:cubicBezTo>
                  <a:cubicBezTo>
                    <a:pt x="23" y="28"/>
                    <a:pt x="24" y="26"/>
                    <a:pt x="24" y="23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4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04" name="Freeform 22">
              <a:extLst>
                <a:ext uri="{FF2B5EF4-FFF2-40B4-BE49-F238E27FC236}">
                  <a16:creationId xmlns:a16="http://schemas.microsoft.com/office/drawing/2014/main" id="{E847401D-2482-482A-AC12-D2E83C13546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93493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1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2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05" name="Freeform 23">
              <a:extLst>
                <a:ext uri="{FF2B5EF4-FFF2-40B4-BE49-F238E27FC236}">
                  <a16:creationId xmlns:a16="http://schemas.microsoft.com/office/drawing/2014/main" id="{86054F72-4509-4465-B9A8-8DAE3EFD35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30841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1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4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7 w 29"/>
                <a:gd name="T55" fmla="*/ 24 h 40"/>
                <a:gd name="T56" fmla="*/ 13 w 29"/>
                <a:gd name="T57" fmla="*/ 22 h 40"/>
                <a:gd name="T58" fmla="*/ 8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2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3" y="6"/>
                    <a:pt x="11" y="7"/>
                    <a:pt x="10" y="7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1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9" y="25"/>
                    <a:pt x="18" y="24"/>
                    <a:pt x="17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8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3" y="15"/>
                    <a:pt x="2" y="14"/>
                  </a:cubicBezTo>
                  <a:cubicBezTo>
                    <a:pt x="2" y="13"/>
                    <a:pt x="2" y="12"/>
                    <a:pt x="2" y="10"/>
                  </a:cubicBezTo>
                  <a:cubicBezTo>
                    <a:pt x="2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06" name="Freeform 24">
              <a:extLst>
                <a:ext uri="{FF2B5EF4-FFF2-40B4-BE49-F238E27FC236}">
                  <a16:creationId xmlns:a16="http://schemas.microsoft.com/office/drawing/2014/main" id="{813850E4-4B62-4FDA-ABD6-F5A5AA5E7C2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1802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07" name="Freeform 25">
              <a:extLst>
                <a:ext uri="{FF2B5EF4-FFF2-40B4-BE49-F238E27FC236}">
                  <a16:creationId xmlns:a16="http://schemas.microsoft.com/office/drawing/2014/main" id="{1B4F0124-2FAE-4D54-9ECC-E88A8031BBD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194750" y="6175958"/>
              <a:ext cx="24412" cy="136010"/>
            </a:xfrm>
            <a:custGeom>
              <a:avLst/>
              <a:gdLst>
                <a:gd name="T0" fmla="*/ 10 w 10"/>
                <a:gd name="T1" fmla="*/ 5 h 53"/>
                <a:gd name="T2" fmla="*/ 9 w 10"/>
                <a:gd name="T3" fmla="*/ 6 h 53"/>
                <a:gd name="T4" fmla="*/ 8 w 10"/>
                <a:gd name="T5" fmla="*/ 8 h 53"/>
                <a:gd name="T6" fmla="*/ 7 w 10"/>
                <a:gd name="T7" fmla="*/ 9 h 53"/>
                <a:gd name="T8" fmla="*/ 5 w 10"/>
                <a:gd name="T9" fmla="*/ 9 h 53"/>
                <a:gd name="T10" fmla="*/ 3 w 10"/>
                <a:gd name="T11" fmla="*/ 9 h 53"/>
                <a:gd name="T12" fmla="*/ 1 w 10"/>
                <a:gd name="T13" fmla="*/ 8 h 53"/>
                <a:gd name="T14" fmla="*/ 0 w 10"/>
                <a:gd name="T15" fmla="*/ 6 h 53"/>
                <a:gd name="T16" fmla="*/ 0 w 10"/>
                <a:gd name="T17" fmla="*/ 5 h 53"/>
                <a:gd name="T18" fmla="*/ 0 w 10"/>
                <a:gd name="T19" fmla="*/ 3 h 53"/>
                <a:gd name="T20" fmla="*/ 1 w 10"/>
                <a:gd name="T21" fmla="*/ 1 h 53"/>
                <a:gd name="T22" fmla="*/ 3 w 10"/>
                <a:gd name="T23" fmla="*/ 0 h 53"/>
                <a:gd name="T24" fmla="*/ 5 w 10"/>
                <a:gd name="T25" fmla="*/ 0 h 53"/>
                <a:gd name="T26" fmla="*/ 7 w 10"/>
                <a:gd name="T27" fmla="*/ 0 h 53"/>
                <a:gd name="T28" fmla="*/ 8 w 10"/>
                <a:gd name="T29" fmla="*/ 1 h 53"/>
                <a:gd name="T30" fmla="*/ 9 w 10"/>
                <a:gd name="T31" fmla="*/ 3 h 53"/>
                <a:gd name="T32" fmla="*/ 10 w 10"/>
                <a:gd name="T33" fmla="*/ 5 h 53"/>
                <a:gd name="T34" fmla="*/ 1 w 10"/>
                <a:gd name="T35" fmla="*/ 53 h 53"/>
                <a:gd name="T36" fmla="*/ 1 w 10"/>
                <a:gd name="T37" fmla="*/ 14 h 53"/>
                <a:gd name="T38" fmla="*/ 9 w 10"/>
                <a:gd name="T39" fmla="*/ 14 h 53"/>
                <a:gd name="T40" fmla="*/ 9 w 10"/>
                <a:gd name="T41" fmla="*/ 53 h 53"/>
                <a:gd name="T42" fmla="*/ 1 w 10"/>
                <a:gd name="T43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" h="53">
                  <a:moveTo>
                    <a:pt x="10" y="5"/>
                  </a:moveTo>
                  <a:cubicBezTo>
                    <a:pt x="10" y="5"/>
                    <a:pt x="10" y="6"/>
                    <a:pt x="9" y="6"/>
                  </a:cubicBezTo>
                  <a:cubicBezTo>
                    <a:pt x="9" y="7"/>
                    <a:pt x="9" y="8"/>
                    <a:pt x="8" y="8"/>
                  </a:cubicBezTo>
                  <a:cubicBezTo>
                    <a:pt x="8" y="8"/>
                    <a:pt x="7" y="9"/>
                    <a:pt x="7" y="9"/>
                  </a:cubicBezTo>
                  <a:cubicBezTo>
                    <a:pt x="6" y="9"/>
                    <a:pt x="6" y="9"/>
                    <a:pt x="5" y="9"/>
                  </a:cubicBezTo>
                  <a:cubicBezTo>
                    <a:pt x="4" y="9"/>
                    <a:pt x="4" y="9"/>
                    <a:pt x="3" y="9"/>
                  </a:cubicBezTo>
                  <a:cubicBezTo>
                    <a:pt x="2" y="9"/>
                    <a:pt x="2" y="8"/>
                    <a:pt x="1" y="8"/>
                  </a:cubicBezTo>
                  <a:cubicBezTo>
                    <a:pt x="1" y="8"/>
                    <a:pt x="1" y="7"/>
                    <a:pt x="0" y="6"/>
                  </a:cubicBezTo>
                  <a:cubicBezTo>
                    <a:pt x="0" y="6"/>
                    <a:pt x="0" y="5"/>
                    <a:pt x="0" y="5"/>
                  </a:cubicBezTo>
                  <a:cubicBezTo>
                    <a:pt x="0" y="4"/>
                    <a:pt x="0" y="3"/>
                    <a:pt x="0" y="3"/>
                  </a:cubicBezTo>
                  <a:cubicBezTo>
                    <a:pt x="1" y="2"/>
                    <a:pt x="1" y="2"/>
                    <a:pt x="1" y="1"/>
                  </a:cubicBezTo>
                  <a:cubicBezTo>
                    <a:pt x="2" y="1"/>
                    <a:pt x="2" y="0"/>
                    <a:pt x="3" y="0"/>
                  </a:cubicBezTo>
                  <a:cubicBezTo>
                    <a:pt x="4" y="0"/>
                    <a:pt x="4" y="0"/>
                    <a:pt x="5" y="0"/>
                  </a:cubicBezTo>
                  <a:cubicBezTo>
                    <a:pt x="6" y="0"/>
                    <a:pt x="6" y="0"/>
                    <a:pt x="7" y="0"/>
                  </a:cubicBezTo>
                  <a:cubicBezTo>
                    <a:pt x="7" y="0"/>
                    <a:pt x="8" y="1"/>
                    <a:pt x="8" y="1"/>
                  </a:cubicBezTo>
                  <a:cubicBezTo>
                    <a:pt x="9" y="2"/>
                    <a:pt x="9" y="2"/>
                    <a:pt x="9" y="3"/>
                  </a:cubicBezTo>
                  <a:cubicBezTo>
                    <a:pt x="10" y="3"/>
                    <a:pt x="10" y="4"/>
                    <a:pt x="10" y="5"/>
                  </a:cubicBezTo>
                  <a:close/>
                  <a:moveTo>
                    <a:pt x="1" y="53"/>
                  </a:moveTo>
                  <a:cubicBezTo>
                    <a:pt x="1" y="14"/>
                    <a:pt x="1" y="14"/>
                    <a:pt x="1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53"/>
                    <a:pt x="9" y="53"/>
                    <a:pt x="9" y="53"/>
                  </a:cubicBezTo>
                  <a:lnTo>
                    <a:pt x="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08" name="Freeform 26">
              <a:extLst>
                <a:ext uri="{FF2B5EF4-FFF2-40B4-BE49-F238E27FC236}">
                  <a16:creationId xmlns:a16="http://schemas.microsoft.com/office/drawing/2014/main" id="{2A730E5F-DF9C-488E-B4E0-EE9F501529E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236599" y="6212575"/>
              <a:ext cx="87186" cy="101135"/>
            </a:xfrm>
            <a:custGeom>
              <a:avLst/>
              <a:gdLst>
                <a:gd name="T0" fmla="*/ 34 w 34"/>
                <a:gd name="T1" fmla="*/ 19 h 40"/>
                <a:gd name="T2" fmla="*/ 33 w 34"/>
                <a:gd name="T3" fmla="*/ 28 h 40"/>
                <a:gd name="T4" fmla="*/ 29 w 34"/>
                <a:gd name="T5" fmla="*/ 34 h 40"/>
                <a:gd name="T6" fmla="*/ 24 w 34"/>
                <a:gd name="T7" fmla="*/ 38 h 40"/>
                <a:gd name="T8" fmla="*/ 17 w 34"/>
                <a:gd name="T9" fmla="*/ 40 h 40"/>
                <a:gd name="T10" fmla="*/ 10 w 34"/>
                <a:gd name="T11" fmla="*/ 38 h 40"/>
                <a:gd name="T12" fmla="*/ 5 w 34"/>
                <a:gd name="T13" fmla="*/ 34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1 h 40"/>
                <a:gd name="T20" fmla="*/ 5 w 34"/>
                <a:gd name="T21" fmla="*/ 5 h 40"/>
                <a:gd name="T22" fmla="*/ 10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1 h 40"/>
                <a:gd name="T32" fmla="*/ 34 w 34"/>
                <a:gd name="T33" fmla="*/ 19 h 40"/>
                <a:gd name="T34" fmla="*/ 26 w 34"/>
                <a:gd name="T35" fmla="*/ 20 h 40"/>
                <a:gd name="T36" fmla="*/ 26 w 34"/>
                <a:gd name="T37" fmla="*/ 14 h 40"/>
                <a:gd name="T38" fmla="*/ 24 w 34"/>
                <a:gd name="T39" fmla="*/ 10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0 h 40"/>
                <a:gd name="T48" fmla="*/ 8 w 34"/>
                <a:gd name="T49" fmla="*/ 14 h 40"/>
                <a:gd name="T50" fmla="*/ 7 w 34"/>
                <a:gd name="T51" fmla="*/ 19 h 40"/>
                <a:gd name="T52" fmla="*/ 8 w 34"/>
                <a:gd name="T53" fmla="*/ 25 h 40"/>
                <a:gd name="T54" fmla="*/ 10 w 34"/>
                <a:gd name="T55" fmla="*/ 29 h 40"/>
                <a:gd name="T56" fmla="*/ 13 w 34"/>
                <a:gd name="T57" fmla="*/ 32 h 40"/>
                <a:gd name="T58" fmla="*/ 17 w 34"/>
                <a:gd name="T59" fmla="*/ 32 h 40"/>
                <a:gd name="T60" fmla="*/ 21 w 34"/>
                <a:gd name="T61" fmla="*/ 31 h 40"/>
                <a:gd name="T62" fmla="*/ 24 w 34"/>
                <a:gd name="T63" fmla="*/ 29 h 40"/>
                <a:gd name="T64" fmla="*/ 26 w 34"/>
                <a:gd name="T65" fmla="*/ 25 h 40"/>
                <a:gd name="T66" fmla="*/ 26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19"/>
                  </a:moveTo>
                  <a:cubicBezTo>
                    <a:pt x="34" y="23"/>
                    <a:pt x="34" y="25"/>
                    <a:pt x="33" y="28"/>
                  </a:cubicBezTo>
                  <a:cubicBezTo>
                    <a:pt x="32" y="30"/>
                    <a:pt x="31" y="33"/>
                    <a:pt x="29" y="34"/>
                  </a:cubicBezTo>
                  <a:cubicBezTo>
                    <a:pt x="28" y="36"/>
                    <a:pt x="26" y="37"/>
                    <a:pt x="24" y="38"/>
                  </a:cubicBezTo>
                  <a:cubicBezTo>
                    <a:pt x="21" y="39"/>
                    <a:pt x="19" y="40"/>
                    <a:pt x="17" y="40"/>
                  </a:cubicBezTo>
                  <a:cubicBezTo>
                    <a:pt x="14" y="40"/>
                    <a:pt x="12" y="39"/>
                    <a:pt x="10" y="38"/>
                  </a:cubicBezTo>
                  <a:cubicBezTo>
                    <a:pt x="8" y="37"/>
                    <a:pt x="6" y="36"/>
                    <a:pt x="5" y="34"/>
                  </a:cubicBezTo>
                  <a:cubicBezTo>
                    <a:pt x="3" y="32"/>
                    <a:pt x="2" y="30"/>
                    <a:pt x="1" y="28"/>
                  </a:cubicBezTo>
                  <a:cubicBezTo>
                    <a:pt x="0" y="25"/>
                    <a:pt x="0" y="23"/>
                    <a:pt x="0" y="20"/>
                  </a:cubicBezTo>
                  <a:cubicBezTo>
                    <a:pt x="0" y="16"/>
                    <a:pt x="0" y="14"/>
                    <a:pt x="1" y="11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8" y="3"/>
                    <a:pt x="29" y="5"/>
                  </a:cubicBezTo>
                  <a:cubicBezTo>
                    <a:pt x="31" y="7"/>
                    <a:pt x="32" y="9"/>
                    <a:pt x="33" y="11"/>
                  </a:cubicBezTo>
                  <a:cubicBezTo>
                    <a:pt x="34" y="14"/>
                    <a:pt x="34" y="16"/>
                    <a:pt x="34" y="19"/>
                  </a:cubicBezTo>
                  <a:close/>
                  <a:moveTo>
                    <a:pt x="26" y="20"/>
                  </a:moveTo>
                  <a:cubicBezTo>
                    <a:pt x="26" y="18"/>
                    <a:pt x="26" y="16"/>
                    <a:pt x="26" y="14"/>
                  </a:cubicBezTo>
                  <a:cubicBezTo>
                    <a:pt x="25" y="13"/>
                    <a:pt x="25" y="11"/>
                    <a:pt x="24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19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11"/>
                    <a:pt x="8" y="13"/>
                    <a:pt x="8" y="14"/>
                  </a:cubicBezTo>
                  <a:cubicBezTo>
                    <a:pt x="8" y="16"/>
                    <a:pt x="7" y="17"/>
                    <a:pt x="7" y="19"/>
                  </a:cubicBezTo>
                  <a:cubicBezTo>
                    <a:pt x="7" y="21"/>
                    <a:pt x="8" y="23"/>
                    <a:pt x="8" y="25"/>
                  </a:cubicBezTo>
                  <a:cubicBezTo>
                    <a:pt x="9" y="27"/>
                    <a:pt x="9" y="28"/>
                    <a:pt x="10" y="29"/>
                  </a:cubicBezTo>
                  <a:cubicBezTo>
                    <a:pt x="11" y="30"/>
                    <a:pt x="12" y="31"/>
                    <a:pt x="13" y="32"/>
                  </a:cubicBezTo>
                  <a:cubicBezTo>
                    <a:pt x="14" y="32"/>
                    <a:pt x="16" y="32"/>
                    <a:pt x="17" y="32"/>
                  </a:cubicBezTo>
                  <a:cubicBezTo>
                    <a:pt x="18" y="32"/>
                    <a:pt x="20" y="32"/>
                    <a:pt x="21" y="31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7"/>
                    <a:pt x="25" y="26"/>
                    <a:pt x="26" y="25"/>
                  </a:cubicBezTo>
                  <a:cubicBezTo>
                    <a:pt x="26" y="23"/>
                    <a:pt x="26" y="21"/>
                    <a:pt x="26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09" name="Freeform 27">
              <a:extLst>
                <a:ext uri="{FF2B5EF4-FFF2-40B4-BE49-F238E27FC236}">
                  <a16:creationId xmlns:a16="http://schemas.microsoft.com/office/drawing/2014/main" id="{39861D7E-D8DA-436F-9E2F-5C08A8BFB4D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44710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1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9 w 31"/>
                <a:gd name="T11" fmla="*/ 9 h 39"/>
                <a:gd name="T12" fmla="*/ 8 w 31"/>
                <a:gd name="T13" fmla="*/ 12 h 39"/>
                <a:gd name="T14" fmla="*/ 7 w 31"/>
                <a:gd name="T15" fmla="*/ 16 h 39"/>
                <a:gd name="T16" fmla="*/ 7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7 w 31"/>
                <a:gd name="T23" fmla="*/ 0 h 39"/>
                <a:gd name="T24" fmla="*/ 7 w 31"/>
                <a:gd name="T25" fmla="*/ 4 h 39"/>
                <a:gd name="T26" fmla="*/ 9 w 31"/>
                <a:gd name="T27" fmla="*/ 2 h 39"/>
                <a:gd name="T28" fmla="*/ 11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7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1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9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7" y="15"/>
                    <a:pt x="7" y="16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9" y="0"/>
                    <a:pt x="21" y="0"/>
                    <a:pt x="23" y="1"/>
                  </a:cubicBezTo>
                  <a:cubicBezTo>
                    <a:pt x="25" y="1"/>
                    <a:pt x="26" y="2"/>
                    <a:pt x="27" y="4"/>
                  </a:cubicBezTo>
                  <a:cubicBezTo>
                    <a:pt x="28" y="5"/>
                    <a:pt x="29" y="7"/>
                    <a:pt x="30" y="9"/>
                  </a:cubicBezTo>
                  <a:cubicBezTo>
                    <a:pt x="30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10" name="Freeform 28">
              <a:extLst>
                <a:ext uri="{FF2B5EF4-FFF2-40B4-BE49-F238E27FC236}">
                  <a16:creationId xmlns:a16="http://schemas.microsoft.com/office/drawing/2014/main" id="{8B038F9F-6A9C-4E57-A659-0090AF47059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45845" y="6284068"/>
              <a:ext cx="31387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4 w 12"/>
                <a:gd name="T11" fmla="*/ 11 h 12"/>
                <a:gd name="T12" fmla="*/ 2 w 12"/>
                <a:gd name="T13" fmla="*/ 10 h 12"/>
                <a:gd name="T14" fmla="*/ 1 w 12"/>
                <a:gd name="T15" fmla="*/ 8 h 12"/>
                <a:gd name="T16" fmla="*/ 0 w 12"/>
                <a:gd name="T17" fmla="*/ 6 h 12"/>
                <a:gd name="T18" fmla="*/ 1 w 12"/>
                <a:gd name="T19" fmla="*/ 4 h 12"/>
                <a:gd name="T20" fmla="*/ 2 w 12"/>
                <a:gd name="T21" fmla="*/ 2 h 12"/>
                <a:gd name="T22" fmla="*/ 4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4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1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1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4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11" name="Freeform 29">
              <a:extLst>
                <a:ext uri="{FF2B5EF4-FFF2-40B4-BE49-F238E27FC236}">
                  <a16:creationId xmlns:a16="http://schemas.microsoft.com/office/drawing/2014/main" id="{15E4EB7D-754D-4053-9A23-596C7CFDA98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0006" y="6181188"/>
              <a:ext cx="97648" cy="130778"/>
            </a:xfrm>
            <a:custGeom>
              <a:avLst/>
              <a:gdLst>
                <a:gd name="T0" fmla="*/ 34 w 56"/>
                <a:gd name="T1" fmla="*/ 11 h 75"/>
                <a:gd name="T2" fmla="*/ 34 w 56"/>
                <a:gd name="T3" fmla="*/ 75 h 75"/>
                <a:gd name="T4" fmla="*/ 22 w 56"/>
                <a:gd name="T5" fmla="*/ 75 h 75"/>
                <a:gd name="T6" fmla="*/ 22 w 56"/>
                <a:gd name="T7" fmla="*/ 11 h 75"/>
                <a:gd name="T8" fmla="*/ 0 w 56"/>
                <a:gd name="T9" fmla="*/ 11 h 75"/>
                <a:gd name="T10" fmla="*/ 0 w 56"/>
                <a:gd name="T11" fmla="*/ 0 h 75"/>
                <a:gd name="T12" fmla="*/ 56 w 56"/>
                <a:gd name="T13" fmla="*/ 0 h 75"/>
                <a:gd name="T14" fmla="*/ 56 w 56"/>
                <a:gd name="T15" fmla="*/ 11 h 75"/>
                <a:gd name="T16" fmla="*/ 34 w 56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6" h="75">
                  <a:moveTo>
                    <a:pt x="34" y="11"/>
                  </a:moveTo>
                  <a:lnTo>
                    <a:pt x="34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6" y="0"/>
                  </a:lnTo>
                  <a:lnTo>
                    <a:pt x="56" y="11"/>
                  </a:lnTo>
                  <a:lnTo>
                    <a:pt x="34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12" name="Freeform 30">
              <a:extLst>
                <a:ext uri="{FF2B5EF4-FFF2-40B4-BE49-F238E27FC236}">
                  <a16:creationId xmlns:a16="http://schemas.microsoft.com/office/drawing/2014/main" id="{28E147CB-2B8F-497B-B00B-C25E679DC5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51603" y="6174213"/>
              <a:ext cx="80211" cy="137753"/>
            </a:xfrm>
            <a:custGeom>
              <a:avLst/>
              <a:gdLst>
                <a:gd name="T0" fmla="*/ 24 w 31"/>
                <a:gd name="T1" fmla="*/ 54 h 54"/>
                <a:gd name="T2" fmla="*/ 24 w 31"/>
                <a:gd name="T3" fmla="*/ 32 h 54"/>
                <a:gd name="T4" fmla="*/ 22 w 31"/>
                <a:gd name="T5" fmla="*/ 24 h 54"/>
                <a:gd name="T6" fmla="*/ 16 w 31"/>
                <a:gd name="T7" fmla="*/ 22 h 54"/>
                <a:gd name="T8" fmla="*/ 13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8 w 31"/>
                <a:gd name="T15" fmla="*/ 31 h 54"/>
                <a:gd name="T16" fmla="*/ 8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8 w 31"/>
                <a:gd name="T23" fmla="*/ 0 h 54"/>
                <a:gd name="T24" fmla="*/ 8 w 31"/>
                <a:gd name="T25" fmla="*/ 19 h 54"/>
                <a:gd name="T26" fmla="*/ 10 w 31"/>
                <a:gd name="T27" fmla="*/ 17 h 54"/>
                <a:gd name="T28" fmla="*/ 12 w 31"/>
                <a:gd name="T29" fmla="*/ 16 h 54"/>
                <a:gd name="T30" fmla="*/ 15 w 31"/>
                <a:gd name="T31" fmla="*/ 15 h 54"/>
                <a:gd name="T32" fmla="*/ 18 w 31"/>
                <a:gd name="T33" fmla="*/ 15 h 54"/>
                <a:gd name="T34" fmla="*/ 24 w 31"/>
                <a:gd name="T35" fmla="*/ 16 h 54"/>
                <a:gd name="T36" fmla="*/ 28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4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4" y="54"/>
                  </a:moveTo>
                  <a:cubicBezTo>
                    <a:pt x="24" y="32"/>
                    <a:pt x="24" y="32"/>
                    <a:pt x="24" y="32"/>
                  </a:cubicBezTo>
                  <a:cubicBezTo>
                    <a:pt x="24" y="28"/>
                    <a:pt x="23" y="26"/>
                    <a:pt x="22" y="24"/>
                  </a:cubicBezTo>
                  <a:cubicBezTo>
                    <a:pt x="21" y="22"/>
                    <a:pt x="19" y="22"/>
                    <a:pt x="16" y="22"/>
                  </a:cubicBezTo>
                  <a:cubicBezTo>
                    <a:pt x="15" y="22"/>
                    <a:pt x="14" y="22"/>
                    <a:pt x="13" y="22"/>
                  </a:cubicBezTo>
                  <a:cubicBezTo>
                    <a:pt x="12" y="22"/>
                    <a:pt x="11" y="23"/>
                    <a:pt x="10" y="24"/>
                  </a:cubicBezTo>
                  <a:cubicBezTo>
                    <a:pt x="9" y="25"/>
                    <a:pt x="9" y="26"/>
                    <a:pt x="8" y="27"/>
                  </a:cubicBezTo>
                  <a:cubicBezTo>
                    <a:pt x="8" y="28"/>
                    <a:pt x="8" y="30"/>
                    <a:pt x="8" y="31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3" y="15"/>
                    <a:pt x="14" y="15"/>
                    <a:pt x="15" y="15"/>
                  </a:cubicBezTo>
                  <a:cubicBezTo>
                    <a:pt x="16" y="15"/>
                    <a:pt x="17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29" y="20"/>
                    <a:pt x="30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4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13" name="Freeform 31">
              <a:extLst>
                <a:ext uri="{FF2B5EF4-FFF2-40B4-BE49-F238E27FC236}">
                  <a16:creationId xmlns:a16="http://schemas.microsoft.com/office/drawing/2014/main" id="{E68BC676-C787-429D-B59B-1A5CE062F78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50996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1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14" name="Freeform 32">
              <a:extLst>
                <a:ext uri="{FF2B5EF4-FFF2-40B4-BE49-F238E27FC236}">
                  <a16:creationId xmlns:a16="http://schemas.microsoft.com/office/drawing/2014/main" id="{71266960-73CB-44B9-9A97-81085898914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02698" y="6174213"/>
              <a:ext cx="80211" cy="139497"/>
            </a:xfrm>
            <a:custGeom>
              <a:avLst/>
              <a:gdLst>
                <a:gd name="T0" fmla="*/ 32 w 32"/>
                <a:gd name="T1" fmla="*/ 35 h 55"/>
                <a:gd name="T2" fmla="*/ 31 w 32"/>
                <a:gd name="T3" fmla="*/ 44 h 55"/>
                <a:gd name="T4" fmla="*/ 28 w 32"/>
                <a:gd name="T5" fmla="*/ 50 h 55"/>
                <a:gd name="T6" fmla="*/ 23 w 32"/>
                <a:gd name="T7" fmla="*/ 53 h 55"/>
                <a:gd name="T8" fmla="*/ 17 w 32"/>
                <a:gd name="T9" fmla="*/ 55 h 55"/>
                <a:gd name="T10" fmla="*/ 12 w 32"/>
                <a:gd name="T11" fmla="*/ 53 h 55"/>
                <a:gd name="T12" fmla="*/ 7 w 32"/>
                <a:gd name="T13" fmla="*/ 50 h 55"/>
                <a:gd name="T14" fmla="*/ 7 w 32"/>
                <a:gd name="T15" fmla="*/ 54 h 55"/>
                <a:gd name="T16" fmla="*/ 0 w 32"/>
                <a:gd name="T17" fmla="*/ 54 h 55"/>
                <a:gd name="T18" fmla="*/ 0 w 32"/>
                <a:gd name="T19" fmla="*/ 4 h 55"/>
                <a:gd name="T20" fmla="*/ 7 w 32"/>
                <a:gd name="T21" fmla="*/ 0 h 55"/>
                <a:gd name="T22" fmla="*/ 7 w 32"/>
                <a:gd name="T23" fmla="*/ 19 h 55"/>
                <a:gd name="T24" fmla="*/ 10 w 32"/>
                <a:gd name="T25" fmla="*/ 17 h 55"/>
                <a:gd name="T26" fmla="*/ 12 w 32"/>
                <a:gd name="T27" fmla="*/ 16 h 55"/>
                <a:gd name="T28" fmla="*/ 14 w 32"/>
                <a:gd name="T29" fmla="*/ 15 h 55"/>
                <a:gd name="T30" fmla="*/ 17 w 32"/>
                <a:gd name="T31" fmla="*/ 15 h 55"/>
                <a:gd name="T32" fmla="*/ 23 w 32"/>
                <a:gd name="T33" fmla="*/ 16 h 55"/>
                <a:gd name="T34" fmla="*/ 28 w 32"/>
                <a:gd name="T35" fmla="*/ 19 h 55"/>
                <a:gd name="T36" fmla="*/ 31 w 32"/>
                <a:gd name="T37" fmla="*/ 26 h 55"/>
                <a:gd name="T38" fmla="*/ 32 w 32"/>
                <a:gd name="T39" fmla="*/ 35 h 55"/>
                <a:gd name="T40" fmla="*/ 25 w 32"/>
                <a:gd name="T41" fmla="*/ 35 h 55"/>
                <a:gd name="T42" fmla="*/ 23 w 32"/>
                <a:gd name="T43" fmla="*/ 25 h 55"/>
                <a:gd name="T44" fmla="*/ 16 w 32"/>
                <a:gd name="T45" fmla="*/ 22 h 55"/>
                <a:gd name="T46" fmla="*/ 14 w 32"/>
                <a:gd name="T47" fmla="*/ 22 h 55"/>
                <a:gd name="T48" fmla="*/ 11 w 32"/>
                <a:gd name="T49" fmla="*/ 23 h 55"/>
                <a:gd name="T50" fmla="*/ 9 w 32"/>
                <a:gd name="T51" fmla="*/ 25 h 55"/>
                <a:gd name="T52" fmla="*/ 7 w 32"/>
                <a:gd name="T53" fmla="*/ 26 h 55"/>
                <a:gd name="T54" fmla="*/ 7 w 32"/>
                <a:gd name="T55" fmla="*/ 43 h 55"/>
                <a:gd name="T56" fmla="*/ 9 w 32"/>
                <a:gd name="T57" fmla="*/ 44 h 55"/>
                <a:gd name="T58" fmla="*/ 11 w 32"/>
                <a:gd name="T59" fmla="*/ 46 h 55"/>
                <a:gd name="T60" fmla="*/ 14 w 32"/>
                <a:gd name="T61" fmla="*/ 47 h 55"/>
                <a:gd name="T62" fmla="*/ 16 w 32"/>
                <a:gd name="T63" fmla="*/ 48 h 55"/>
                <a:gd name="T64" fmla="*/ 23 w 32"/>
                <a:gd name="T65" fmla="*/ 45 h 55"/>
                <a:gd name="T66" fmla="*/ 25 w 32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2" h="55">
                  <a:moveTo>
                    <a:pt x="32" y="35"/>
                  </a:moveTo>
                  <a:cubicBezTo>
                    <a:pt x="32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6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5" y="55"/>
                    <a:pt x="13" y="54"/>
                    <a:pt x="12" y="53"/>
                  </a:cubicBezTo>
                  <a:cubicBezTo>
                    <a:pt x="10" y="52"/>
                    <a:pt x="9" y="51"/>
                    <a:pt x="7" y="50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6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20" y="15"/>
                    <a:pt x="21" y="15"/>
                    <a:pt x="23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29" y="21"/>
                    <a:pt x="30" y="23"/>
                    <a:pt x="31" y="26"/>
                  </a:cubicBezTo>
                  <a:cubicBezTo>
                    <a:pt x="32" y="28"/>
                    <a:pt x="32" y="32"/>
                    <a:pt x="32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4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0" y="23"/>
                    <a:pt x="10" y="24"/>
                    <a:pt x="9" y="25"/>
                  </a:cubicBezTo>
                  <a:cubicBezTo>
                    <a:pt x="8" y="25"/>
                    <a:pt x="8" y="26"/>
                    <a:pt x="7" y="26"/>
                  </a:cubicBezTo>
                  <a:cubicBezTo>
                    <a:pt x="7" y="43"/>
                    <a:pt x="7" y="43"/>
                    <a:pt x="7" y="43"/>
                  </a:cubicBezTo>
                  <a:cubicBezTo>
                    <a:pt x="8" y="43"/>
                    <a:pt x="8" y="44"/>
                    <a:pt x="9" y="44"/>
                  </a:cubicBezTo>
                  <a:cubicBezTo>
                    <a:pt x="10" y="45"/>
                    <a:pt x="10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5" y="48"/>
                    <a:pt x="16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15" name="Freeform 33">
              <a:extLst>
                <a:ext uri="{FF2B5EF4-FFF2-40B4-BE49-F238E27FC236}">
                  <a16:creationId xmlns:a16="http://schemas.microsoft.com/office/drawing/2014/main" id="{3FF3AC5A-B742-4B29-8E04-03A71D82B9A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9860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8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8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3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7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16" name="Freeform 34">
              <a:extLst>
                <a:ext uri="{FF2B5EF4-FFF2-40B4-BE49-F238E27FC236}">
                  <a16:creationId xmlns:a16="http://schemas.microsoft.com/office/drawing/2014/main" id="{0C912743-E24B-4E48-8196-5FBD1ECEE9A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625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3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17" name="Freeform 35">
              <a:extLst>
                <a:ext uri="{FF2B5EF4-FFF2-40B4-BE49-F238E27FC236}">
                  <a16:creationId xmlns:a16="http://schemas.microsoft.com/office/drawing/2014/main" id="{6E2F01F4-1410-4FE1-B043-EA97A1541F3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64256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7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6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7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18" name="Freeform 36">
              <a:extLst>
                <a:ext uri="{FF2B5EF4-FFF2-40B4-BE49-F238E27FC236}">
                  <a16:creationId xmlns:a16="http://schemas.microsoft.com/office/drawing/2014/main" id="{58ACFF1C-49F0-414E-B9E3-DE4E9FFAA38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2340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19" name="Freeform 37">
              <a:extLst>
                <a:ext uri="{FF2B5EF4-FFF2-40B4-BE49-F238E27FC236}">
                  <a16:creationId xmlns:a16="http://schemas.microsoft.com/office/drawing/2014/main" id="{DACBD04B-22FF-4A4F-8B29-A2F31A0542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36884" y="6212575"/>
              <a:ext cx="59286" cy="99391"/>
            </a:xfrm>
            <a:custGeom>
              <a:avLst/>
              <a:gdLst>
                <a:gd name="T0" fmla="*/ 21 w 23"/>
                <a:gd name="T1" fmla="*/ 8 h 39"/>
                <a:gd name="T2" fmla="*/ 19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9" y="7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20" name="Freeform 38">
              <a:extLst>
                <a:ext uri="{FF2B5EF4-FFF2-40B4-BE49-F238E27FC236}">
                  <a16:creationId xmlns:a16="http://schemas.microsoft.com/office/drawing/2014/main" id="{A13F6E37-C22B-4FD3-ADFE-9C53ECB446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51969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21" name="Freeform 39">
              <a:extLst>
                <a:ext uri="{FF2B5EF4-FFF2-40B4-BE49-F238E27FC236}">
                  <a16:creationId xmlns:a16="http://schemas.microsoft.com/office/drawing/2014/main" id="{76256F1D-405A-49F9-8592-A899623F2D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30436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22" name="Freeform 40">
              <a:extLst>
                <a:ext uri="{FF2B5EF4-FFF2-40B4-BE49-F238E27FC236}">
                  <a16:creationId xmlns:a16="http://schemas.microsoft.com/office/drawing/2014/main" id="{2F9CAE14-DB05-4B70-867F-3F6164BDB74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62808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23" name="Freeform 41">
              <a:extLst>
                <a:ext uri="{FF2B5EF4-FFF2-40B4-BE49-F238E27FC236}">
                  <a16:creationId xmlns:a16="http://schemas.microsoft.com/office/drawing/2014/main" id="{30C7B10F-7027-41F9-BEE2-F1575CB690D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772813" y="6212575"/>
              <a:ext cx="81955" cy="101135"/>
            </a:xfrm>
            <a:custGeom>
              <a:avLst/>
              <a:gdLst>
                <a:gd name="T0" fmla="*/ 24 w 32"/>
                <a:gd name="T1" fmla="*/ 39 h 40"/>
                <a:gd name="T2" fmla="*/ 24 w 32"/>
                <a:gd name="T3" fmla="*/ 35 h 40"/>
                <a:gd name="T4" fmla="*/ 22 w 32"/>
                <a:gd name="T5" fmla="*/ 37 h 40"/>
                <a:gd name="T6" fmla="*/ 20 w 32"/>
                <a:gd name="T7" fmla="*/ 38 h 40"/>
                <a:gd name="T8" fmla="*/ 17 w 32"/>
                <a:gd name="T9" fmla="*/ 39 h 40"/>
                <a:gd name="T10" fmla="*/ 14 w 32"/>
                <a:gd name="T11" fmla="*/ 40 h 40"/>
                <a:gd name="T12" fmla="*/ 9 w 32"/>
                <a:gd name="T13" fmla="*/ 39 h 40"/>
                <a:gd name="T14" fmla="*/ 5 w 32"/>
                <a:gd name="T15" fmla="*/ 37 h 40"/>
                <a:gd name="T16" fmla="*/ 2 w 32"/>
                <a:gd name="T17" fmla="*/ 33 h 40"/>
                <a:gd name="T18" fmla="*/ 0 w 32"/>
                <a:gd name="T19" fmla="*/ 27 h 40"/>
                <a:gd name="T20" fmla="*/ 2 w 32"/>
                <a:gd name="T21" fmla="*/ 21 h 40"/>
                <a:gd name="T22" fmla="*/ 5 w 32"/>
                <a:gd name="T23" fmla="*/ 17 h 40"/>
                <a:gd name="T24" fmla="*/ 10 w 32"/>
                <a:gd name="T25" fmla="*/ 15 h 40"/>
                <a:gd name="T26" fmla="*/ 16 w 32"/>
                <a:gd name="T27" fmla="*/ 14 h 40"/>
                <a:gd name="T28" fmla="*/ 21 w 32"/>
                <a:gd name="T29" fmla="*/ 15 h 40"/>
                <a:gd name="T30" fmla="*/ 24 w 32"/>
                <a:gd name="T31" fmla="*/ 16 h 40"/>
                <a:gd name="T32" fmla="*/ 24 w 32"/>
                <a:gd name="T33" fmla="*/ 13 h 40"/>
                <a:gd name="T34" fmla="*/ 22 w 32"/>
                <a:gd name="T35" fmla="*/ 8 h 40"/>
                <a:gd name="T36" fmla="*/ 17 w 32"/>
                <a:gd name="T37" fmla="*/ 6 h 40"/>
                <a:gd name="T38" fmla="*/ 12 w 32"/>
                <a:gd name="T39" fmla="*/ 7 h 40"/>
                <a:gd name="T40" fmla="*/ 7 w 32"/>
                <a:gd name="T41" fmla="*/ 9 h 40"/>
                <a:gd name="T42" fmla="*/ 4 w 32"/>
                <a:gd name="T43" fmla="*/ 3 h 40"/>
                <a:gd name="T44" fmla="*/ 10 w 32"/>
                <a:gd name="T45" fmla="*/ 0 h 40"/>
                <a:gd name="T46" fmla="*/ 17 w 32"/>
                <a:gd name="T47" fmla="*/ 0 h 40"/>
                <a:gd name="T48" fmla="*/ 23 w 32"/>
                <a:gd name="T49" fmla="*/ 0 h 40"/>
                <a:gd name="T50" fmla="*/ 28 w 32"/>
                <a:gd name="T51" fmla="*/ 3 h 40"/>
                <a:gd name="T52" fmla="*/ 31 w 32"/>
                <a:gd name="T53" fmla="*/ 7 h 40"/>
                <a:gd name="T54" fmla="*/ 32 w 32"/>
                <a:gd name="T55" fmla="*/ 12 h 40"/>
                <a:gd name="T56" fmla="*/ 32 w 32"/>
                <a:gd name="T57" fmla="*/ 39 h 40"/>
                <a:gd name="T58" fmla="*/ 24 w 32"/>
                <a:gd name="T59" fmla="*/ 39 h 40"/>
                <a:gd name="T60" fmla="*/ 24 w 32"/>
                <a:gd name="T61" fmla="*/ 22 h 40"/>
                <a:gd name="T62" fmla="*/ 22 w 32"/>
                <a:gd name="T63" fmla="*/ 22 h 40"/>
                <a:gd name="T64" fmla="*/ 21 w 32"/>
                <a:gd name="T65" fmla="*/ 21 h 40"/>
                <a:gd name="T66" fmla="*/ 18 w 32"/>
                <a:gd name="T67" fmla="*/ 21 h 40"/>
                <a:gd name="T68" fmla="*/ 16 w 32"/>
                <a:gd name="T69" fmla="*/ 21 h 40"/>
                <a:gd name="T70" fmla="*/ 10 w 32"/>
                <a:gd name="T71" fmla="*/ 22 h 40"/>
                <a:gd name="T72" fmla="*/ 8 w 32"/>
                <a:gd name="T73" fmla="*/ 26 h 40"/>
                <a:gd name="T74" fmla="*/ 8 w 32"/>
                <a:gd name="T75" fmla="*/ 29 h 40"/>
                <a:gd name="T76" fmla="*/ 10 w 32"/>
                <a:gd name="T77" fmla="*/ 31 h 40"/>
                <a:gd name="T78" fmla="*/ 12 w 32"/>
                <a:gd name="T79" fmla="*/ 32 h 40"/>
                <a:gd name="T80" fmla="*/ 15 w 32"/>
                <a:gd name="T81" fmla="*/ 33 h 40"/>
                <a:gd name="T82" fmla="*/ 18 w 32"/>
                <a:gd name="T83" fmla="*/ 32 h 40"/>
                <a:gd name="T84" fmla="*/ 21 w 32"/>
                <a:gd name="T85" fmla="*/ 31 h 40"/>
                <a:gd name="T86" fmla="*/ 23 w 32"/>
                <a:gd name="T87" fmla="*/ 30 h 40"/>
                <a:gd name="T88" fmla="*/ 24 w 32"/>
                <a:gd name="T89" fmla="*/ 28 h 40"/>
                <a:gd name="T90" fmla="*/ 24 w 32"/>
                <a:gd name="T91" fmla="*/ 2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2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3" y="37"/>
                    <a:pt x="22" y="37"/>
                  </a:cubicBezTo>
                  <a:cubicBezTo>
                    <a:pt x="21" y="37"/>
                    <a:pt x="21" y="38"/>
                    <a:pt x="20" y="38"/>
                  </a:cubicBezTo>
                  <a:cubicBezTo>
                    <a:pt x="19" y="39"/>
                    <a:pt x="18" y="39"/>
                    <a:pt x="17" y="39"/>
                  </a:cubicBezTo>
                  <a:cubicBezTo>
                    <a:pt x="16" y="39"/>
                    <a:pt x="15" y="40"/>
                    <a:pt x="14" y="40"/>
                  </a:cubicBezTo>
                  <a:cubicBezTo>
                    <a:pt x="12" y="40"/>
                    <a:pt x="11" y="39"/>
                    <a:pt x="9" y="39"/>
                  </a:cubicBezTo>
                  <a:cubicBezTo>
                    <a:pt x="7" y="38"/>
                    <a:pt x="6" y="38"/>
                    <a:pt x="5" y="37"/>
                  </a:cubicBezTo>
                  <a:cubicBezTo>
                    <a:pt x="3" y="36"/>
                    <a:pt x="2" y="34"/>
                    <a:pt x="2" y="33"/>
                  </a:cubicBezTo>
                  <a:cubicBezTo>
                    <a:pt x="1" y="31"/>
                    <a:pt x="0" y="29"/>
                    <a:pt x="0" y="27"/>
                  </a:cubicBezTo>
                  <a:cubicBezTo>
                    <a:pt x="0" y="24"/>
                    <a:pt x="1" y="23"/>
                    <a:pt x="2" y="21"/>
                  </a:cubicBezTo>
                  <a:cubicBezTo>
                    <a:pt x="2" y="20"/>
                    <a:pt x="3" y="18"/>
                    <a:pt x="5" y="17"/>
                  </a:cubicBezTo>
                  <a:cubicBezTo>
                    <a:pt x="6" y="16"/>
                    <a:pt x="8" y="15"/>
                    <a:pt x="10" y="15"/>
                  </a:cubicBezTo>
                  <a:cubicBezTo>
                    <a:pt x="12" y="14"/>
                    <a:pt x="14" y="14"/>
                    <a:pt x="16" y="14"/>
                  </a:cubicBezTo>
                  <a:cubicBezTo>
                    <a:pt x="18" y="14"/>
                    <a:pt x="19" y="14"/>
                    <a:pt x="21" y="15"/>
                  </a:cubicBezTo>
                  <a:cubicBezTo>
                    <a:pt x="22" y="15"/>
                    <a:pt x="23" y="15"/>
                    <a:pt x="24" y="16"/>
                  </a:cubicBezTo>
                  <a:cubicBezTo>
                    <a:pt x="24" y="13"/>
                    <a:pt x="24" y="13"/>
                    <a:pt x="24" y="13"/>
                  </a:cubicBezTo>
                  <a:cubicBezTo>
                    <a:pt x="24" y="11"/>
                    <a:pt x="24" y="9"/>
                    <a:pt x="22" y="8"/>
                  </a:cubicBezTo>
                  <a:cubicBezTo>
                    <a:pt x="21" y="7"/>
                    <a:pt x="19" y="6"/>
                    <a:pt x="17" y="6"/>
                  </a:cubicBezTo>
                  <a:cubicBezTo>
                    <a:pt x="15" y="6"/>
                    <a:pt x="13" y="6"/>
                    <a:pt x="12" y="7"/>
                  </a:cubicBezTo>
                  <a:cubicBezTo>
                    <a:pt x="10" y="7"/>
                    <a:pt x="9" y="8"/>
                    <a:pt x="7" y="9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6" y="2"/>
                    <a:pt x="8" y="1"/>
                    <a:pt x="10" y="0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19" y="0"/>
                    <a:pt x="21" y="0"/>
                    <a:pt x="23" y="0"/>
                  </a:cubicBezTo>
                  <a:cubicBezTo>
                    <a:pt x="25" y="1"/>
                    <a:pt x="26" y="2"/>
                    <a:pt x="28" y="3"/>
                  </a:cubicBezTo>
                  <a:cubicBezTo>
                    <a:pt x="29" y="4"/>
                    <a:pt x="30" y="5"/>
                    <a:pt x="31" y="7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2" y="39"/>
                    <a:pt x="32" y="39"/>
                    <a:pt x="32" y="39"/>
                  </a:cubicBezTo>
                  <a:lnTo>
                    <a:pt x="24" y="39"/>
                  </a:lnTo>
                  <a:close/>
                  <a:moveTo>
                    <a:pt x="24" y="22"/>
                  </a:moveTo>
                  <a:cubicBezTo>
                    <a:pt x="24" y="22"/>
                    <a:pt x="23" y="22"/>
                    <a:pt x="22" y="22"/>
                  </a:cubicBezTo>
                  <a:cubicBezTo>
                    <a:pt x="22" y="21"/>
                    <a:pt x="21" y="21"/>
                    <a:pt x="21" y="21"/>
                  </a:cubicBezTo>
                  <a:cubicBezTo>
                    <a:pt x="20" y="21"/>
                    <a:pt x="19" y="21"/>
                    <a:pt x="18" y="21"/>
                  </a:cubicBezTo>
                  <a:cubicBezTo>
                    <a:pt x="17" y="21"/>
                    <a:pt x="17" y="21"/>
                    <a:pt x="16" y="21"/>
                  </a:cubicBezTo>
                  <a:cubicBezTo>
                    <a:pt x="13" y="21"/>
                    <a:pt x="11" y="21"/>
                    <a:pt x="10" y="22"/>
                  </a:cubicBezTo>
                  <a:cubicBezTo>
                    <a:pt x="8" y="23"/>
                    <a:pt x="8" y="25"/>
                    <a:pt x="8" y="26"/>
                  </a:cubicBezTo>
                  <a:cubicBezTo>
                    <a:pt x="8" y="28"/>
                    <a:pt x="8" y="29"/>
                    <a:pt x="8" y="29"/>
                  </a:cubicBezTo>
                  <a:cubicBezTo>
                    <a:pt x="9" y="30"/>
                    <a:pt x="9" y="31"/>
                    <a:pt x="10" y="31"/>
                  </a:cubicBezTo>
                  <a:cubicBezTo>
                    <a:pt x="10" y="32"/>
                    <a:pt x="11" y="32"/>
                    <a:pt x="12" y="32"/>
                  </a:cubicBezTo>
                  <a:cubicBezTo>
                    <a:pt x="13" y="33"/>
                    <a:pt x="14" y="33"/>
                    <a:pt x="15" y="33"/>
                  </a:cubicBezTo>
                  <a:cubicBezTo>
                    <a:pt x="16" y="33"/>
                    <a:pt x="17" y="33"/>
                    <a:pt x="18" y="32"/>
                  </a:cubicBezTo>
                  <a:cubicBezTo>
                    <a:pt x="19" y="32"/>
                    <a:pt x="20" y="32"/>
                    <a:pt x="21" y="31"/>
                  </a:cubicBezTo>
                  <a:cubicBezTo>
                    <a:pt x="21" y="31"/>
                    <a:pt x="22" y="30"/>
                    <a:pt x="23" y="30"/>
                  </a:cubicBezTo>
                  <a:cubicBezTo>
                    <a:pt x="23" y="29"/>
                    <a:pt x="24" y="28"/>
                    <a:pt x="24" y="28"/>
                  </a:cubicBezTo>
                  <a:lnTo>
                    <a:pt x="24" y="2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24" name="Freeform 42">
              <a:extLst>
                <a:ext uri="{FF2B5EF4-FFF2-40B4-BE49-F238E27FC236}">
                  <a16:creationId xmlns:a16="http://schemas.microsoft.com/office/drawing/2014/main" id="{16B384B2-A2D9-4CB4-AF87-AF1004852B5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77436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2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10 w 31"/>
                <a:gd name="T11" fmla="*/ 9 h 39"/>
                <a:gd name="T12" fmla="*/ 8 w 31"/>
                <a:gd name="T13" fmla="*/ 12 h 39"/>
                <a:gd name="T14" fmla="*/ 8 w 31"/>
                <a:gd name="T15" fmla="*/ 16 h 39"/>
                <a:gd name="T16" fmla="*/ 8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8 w 31"/>
                <a:gd name="T23" fmla="*/ 0 h 39"/>
                <a:gd name="T24" fmla="*/ 8 w 31"/>
                <a:gd name="T25" fmla="*/ 4 h 39"/>
                <a:gd name="T26" fmla="*/ 9 w 31"/>
                <a:gd name="T27" fmla="*/ 2 h 39"/>
                <a:gd name="T28" fmla="*/ 12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8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2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10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8" y="15"/>
                    <a:pt x="8" y="16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2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20" y="0"/>
                    <a:pt x="22" y="0"/>
                    <a:pt x="23" y="1"/>
                  </a:cubicBezTo>
                  <a:cubicBezTo>
                    <a:pt x="25" y="1"/>
                    <a:pt x="26" y="2"/>
                    <a:pt x="28" y="4"/>
                  </a:cubicBezTo>
                  <a:cubicBezTo>
                    <a:pt x="29" y="5"/>
                    <a:pt x="29" y="7"/>
                    <a:pt x="30" y="9"/>
                  </a:cubicBezTo>
                  <a:cubicBezTo>
                    <a:pt x="31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25" name="Freeform 43">
              <a:extLst>
                <a:ext uri="{FF2B5EF4-FFF2-40B4-BE49-F238E27FC236}">
                  <a16:creationId xmlns:a16="http://schemas.microsoft.com/office/drawing/2014/main" id="{DC309D60-84B9-4652-BEF1-F71EFAD3A40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75084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0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3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6 w 29"/>
                <a:gd name="T55" fmla="*/ 24 h 40"/>
                <a:gd name="T56" fmla="*/ 13 w 29"/>
                <a:gd name="T57" fmla="*/ 22 h 40"/>
                <a:gd name="T58" fmla="*/ 7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1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2" y="6"/>
                    <a:pt x="11" y="7"/>
                    <a:pt x="10" y="7"/>
                  </a:cubicBezTo>
                  <a:cubicBezTo>
                    <a:pt x="9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1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8" y="25"/>
                    <a:pt x="18" y="24"/>
                    <a:pt x="16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7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2" y="15"/>
                    <a:pt x="2" y="14"/>
                  </a:cubicBezTo>
                  <a:cubicBezTo>
                    <a:pt x="2" y="13"/>
                    <a:pt x="1" y="12"/>
                    <a:pt x="1" y="10"/>
                  </a:cubicBezTo>
                  <a:cubicBezTo>
                    <a:pt x="1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26" name="Freeform 44">
              <a:extLst>
                <a:ext uri="{FF2B5EF4-FFF2-40B4-BE49-F238E27FC236}">
                  <a16:creationId xmlns:a16="http://schemas.microsoft.com/office/drawing/2014/main" id="{A4440044-5486-483F-B652-7EE3849461B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58782" y="6212575"/>
              <a:ext cx="122060" cy="99391"/>
            </a:xfrm>
            <a:custGeom>
              <a:avLst/>
              <a:gdLst>
                <a:gd name="T0" fmla="*/ 55 w 70"/>
                <a:gd name="T1" fmla="*/ 57 h 57"/>
                <a:gd name="T2" fmla="*/ 45 w 70"/>
                <a:gd name="T3" fmla="*/ 57 h 57"/>
                <a:gd name="T4" fmla="*/ 35 w 70"/>
                <a:gd name="T5" fmla="*/ 17 h 57"/>
                <a:gd name="T6" fmla="*/ 25 w 70"/>
                <a:gd name="T7" fmla="*/ 57 h 57"/>
                <a:gd name="T8" fmla="*/ 14 w 70"/>
                <a:gd name="T9" fmla="*/ 57 h 57"/>
                <a:gd name="T10" fmla="*/ 0 w 70"/>
                <a:gd name="T11" fmla="*/ 0 h 57"/>
                <a:gd name="T12" fmla="*/ 10 w 70"/>
                <a:gd name="T13" fmla="*/ 0 h 57"/>
                <a:gd name="T14" fmla="*/ 20 w 70"/>
                <a:gd name="T15" fmla="*/ 39 h 57"/>
                <a:gd name="T16" fmla="*/ 30 w 70"/>
                <a:gd name="T17" fmla="*/ 0 h 57"/>
                <a:gd name="T18" fmla="*/ 39 w 70"/>
                <a:gd name="T19" fmla="*/ 0 h 57"/>
                <a:gd name="T20" fmla="*/ 49 w 70"/>
                <a:gd name="T21" fmla="*/ 39 h 57"/>
                <a:gd name="T22" fmla="*/ 60 w 70"/>
                <a:gd name="T23" fmla="*/ 0 h 57"/>
                <a:gd name="T24" fmla="*/ 70 w 70"/>
                <a:gd name="T25" fmla="*/ 0 h 57"/>
                <a:gd name="T26" fmla="*/ 55 w 70"/>
                <a:gd name="T27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7">
                  <a:moveTo>
                    <a:pt x="55" y="57"/>
                  </a:moveTo>
                  <a:lnTo>
                    <a:pt x="45" y="57"/>
                  </a:lnTo>
                  <a:lnTo>
                    <a:pt x="35" y="17"/>
                  </a:lnTo>
                  <a:lnTo>
                    <a:pt x="25" y="57"/>
                  </a:lnTo>
                  <a:lnTo>
                    <a:pt x="14" y="57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0" y="39"/>
                  </a:lnTo>
                  <a:lnTo>
                    <a:pt x="30" y="0"/>
                  </a:lnTo>
                  <a:lnTo>
                    <a:pt x="39" y="0"/>
                  </a:lnTo>
                  <a:lnTo>
                    <a:pt x="49" y="39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27" name="Freeform 45">
              <a:extLst>
                <a:ext uri="{FF2B5EF4-FFF2-40B4-BE49-F238E27FC236}">
                  <a16:creationId xmlns:a16="http://schemas.microsoft.com/office/drawing/2014/main" id="{446771E9-EA09-4256-8955-FE392C07AFC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1913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28" name="Freeform 46">
              <a:extLst>
                <a:ext uri="{FF2B5EF4-FFF2-40B4-BE49-F238E27FC236}">
                  <a16:creationId xmlns:a16="http://schemas.microsoft.com/office/drawing/2014/main" id="{FE985025-CAA5-44F2-9174-87CD1D8BA18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95927" y="6212575"/>
              <a:ext cx="57543" cy="99391"/>
            </a:xfrm>
            <a:custGeom>
              <a:avLst/>
              <a:gdLst>
                <a:gd name="T0" fmla="*/ 21 w 23"/>
                <a:gd name="T1" fmla="*/ 8 h 39"/>
                <a:gd name="T2" fmla="*/ 18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6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0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29" name="Freeform 47">
              <a:extLst>
                <a:ext uri="{FF2B5EF4-FFF2-40B4-BE49-F238E27FC236}">
                  <a16:creationId xmlns:a16="http://schemas.microsoft.com/office/drawing/2014/main" id="{1105FBBE-AD06-4F22-94D8-E2E98185FA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6494" y="6284068"/>
              <a:ext cx="29644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3 w 12"/>
                <a:gd name="T11" fmla="*/ 11 h 12"/>
                <a:gd name="T12" fmla="*/ 2 w 12"/>
                <a:gd name="T13" fmla="*/ 10 h 12"/>
                <a:gd name="T14" fmla="*/ 0 w 12"/>
                <a:gd name="T15" fmla="*/ 8 h 12"/>
                <a:gd name="T16" fmla="*/ 0 w 12"/>
                <a:gd name="T17" fmla="*/ 6 h 12"/>
                <a:gd name="T18" fmla="*/ 0 w 12"/>
                <a:gd name="T19" fmla="*/ 4 h 12"/>
                <a:gd name="T20" fmla="*/ 2 w 12"/>
                <a:gd name="T21" fmla="*/ 2 h 12"/>
                <a:gd name="T22" fmla="*/ 3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3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0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3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30" name="Freeform 48">
              <a:extLst>
                <a:ext uri="{FF2B5EF4-FFF2-40B4-BE49-F238E27FC236}">
                  <a16:creationId xmlns:a16="http://schemas.microsoft.com/office/drawing/2014/main" id="{8141824A-6AD4-4B53-B837-71461DD538C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388691"/>
              <a:ext cx="94161" cy="130778"/>
            </a:xfrm>
            <a:custGeom>
              <a:avLst/>
              <a:gdLst>
                <a:gd name="T0" fmla="*/ 32 w 54"/>
                <a:gd name="T1" fmla="*/ 12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2 h 75"/>
                <a:gd name="T8" fmla="*/ 0 w 54"/>
                <a:gd name="T9" fmla="*/ 12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2 h 75"/>
                <a:gd name="T16" fmla="*/ 32 w 54"/>
                <a:gd name="T17" fmla="*/ 12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2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2"/>
                  </a:lnTo>
                  <a:lnTo>
                    <a:pt x="0" y="12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2"/>
                  </a:lnTo>
                  <a:lnTo>
                    <a:pt x="32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31" name="Freeform 49">
              <a:extLst>
                <a:ext uri="{FF2B5EF4-FFF2-40B4-BE49-F238E27FC236}">
                  <a16:creationId xmlns:a16="http://schemas.microsoft.com/office/drawing/2014/main" id="{1CEF1D95-CD6C-417A-9539-CB4DBAA5E07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383459"/>
              <a:ext cx="78468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9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1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7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7"/>
                    <a:pt x="9" y="17"/>
                  </a:cubicBezTo>
                  <a:cubicBezTo>
                    <a:pt x="10" y="16"/>
                    <a:pt x="10" y="16"/>
                    <a:pt x="11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32" name="Freeform 50">
              <a:extLst>
                <a:ext uri="{FF2B5EF4-FFF2-40B4-BE49-F238E27FC236}">
                  <a16:creationId xmlns:a16="http://schemas.microsoft.com/office/drawing/2014/main" id="{BF6CB5D3-9648-4D73-AB7C-5374814E5BA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418333"/>
              <a:ext cx="85443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7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3 w 33"/>
                <a:gd name="T73" fmla="*/ 8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9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2" y="32"/>
                    <a:pt x="23" y="32"/>
                    <a:pt x="23" y="32"/>
                  </a:cubicBezTo>
                  <a:cubicBezTo>
                    <a:pt x="24" y="31"/>
                    <a:pt x="25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1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5" y="13"/>
                  </a:cubicBezTo>
                  <a:cubicBezTo>
                    <a:pt x="24" y="12"/>
                    <a:pt x="24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33" name="Freeform 51">
              <a:extLst>
                <a:ext uri="{FF2B5EF4-FFF2-40B4-BE49-F238E27FC236}">
                  <a16:creationId xmlns:a16="http://schemas.microsoft.com/office/drawing/2014/main" id="{55F0E322-3AEE-482E-8E59-9FB04FACA93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383459"/>
              <a:ext cx="83698" cy="137753"/>
            </a:xfrm>
            <a:custGeom>
              <a:avLst/>
              <a:gdLst>
                <a:gd name="T0" fmla="*/ 33 w 33"/>
                <a:gd name="T1" fmla="*/ 35 h 54"/>
                <a:gd name="T2" fmla="*/ 31 w 33"/>
                <a:gd name="T3" fmla="*/ 43 h 54"/>
                <a:gd name="T4" fmla="*/ 28 w 33"/>
                <a:gd name="T5" fmla="*/ 49 h 54"/>
                <a:gd name="T6" fmla="*/ 23 w 33"/>
                <a:gd name="T7" fmla="*/ 53 h 54"/>
                <a:gd name="T8" fmla="*/ 17 w 33"/>
                <a:gd name="T9" fmla="*/ 54 h 54"/>
                <a:gd name="T10" fmla="*/ 12 w 33"/>
                <a:gd name="T11" fmla="*/ 53 h 54"/>
                <a:gd name="T12" fmla="*/ 8 w 33"/>
                <a:gd name="T13" fmla="*/ 50 h 54"/>
                <a:gd name="T14" fmla="*/ 8 w 33"/>
                <a:gd name="T15" fmla="*/ 53 h 54"/>
                <a:gd name="T16" fmla="*/ 0 w 33"/>
                <a:gd name="T17" fmla="*/ 53 h 54"/>
                <a:gd name="T18" fmla="*/ 0 w 33"/>
                <a:gd name="T19" fmla="*/ 4 h 54"/>
                <a:gd name="T20" fmla="*/ 8 w 33"/>
                <a:gd name="T21" fmla="*/ 0 h 54"/>
                <a:gd name="T22" fmla="*/ 8 w 33"/>
                <a:gd name="T23" fmla="*/ 19 h 54"/>
                <a:gd name="T24" fmla="*/ 10 w 33"/>
                <a:gd name="T25" fmla="*/ 17 h 54"/>
                <a:gd name="T26" fmla="*/ 12 w 33"/>
                <a:gd name="T27" fmla="*/ 16 h 54"/>
                <a:gd name="T28" fmla="*/ 14 w 33"/>
                <a:gd name="T29" fmla="*/ 14 h 54"/>
                <a:gd name="T30" fmla="*/ 18 w 33"/>
                <a:gd name="T31" fmla="*/ 14 h 54"/>
                <a:gd name="T32" fmla="*/ 24 w 33"/>
                <a:gd name="T33" fmla="*/ 15 h 54"/>
                <a:gd name="T34" fmla="*/ 28 w 33"/>
                <a:gd name="T35" fmla="*/ 19 h 54"/>
                <a:gd name="T36" fmla="*/ 31 w 33"/>
                <a:gd name="T37" fmla="*/ 25 h 54"/>
                <a:gd name="T38" fmla="*/ 33 w 33"/>
                <a:gd name="T39" fmla="*/ 35 h 54"/>
                <a:gd name="T40" fmla="*/ 25 w 33"/>
                <a:gd name="T41" fmla="*/ 35 h 54"/>
                <a:gd name="T42" fmla="*/ 23 w 33"/>
                <a:gd name="T43" fmla="*/ 24 h 54"/>
                <a:gd name="T44" fmla="*/ 16 w 33"/>
                <a:gd name="T45" fmla="*/ 21 h 54"/>
                <a:gd name="T46" fmla="*/ 14 w 33"/>
                <a:gd name="T47" fmla="*/ 21 h 54"/>
                <a:gd name="T48" fmla="*/ 11 w 33"/>
                <a:gd name="T49" fmla="*/ 23 h 54"/>
                <a:gd name="T50" fmla="*/ 9 w 33"/>
                <a:gd name="T51" fmla="*/ 24 h 54"/>
                <a:gd name="T52" fmla="*/ 8 w 33"/>
                <a:gd name="T53" fmla="*/ 26 h 54"/>
                <a:gd name="T54" fmla="*/ 8 w 33"/>
                <a:gd name="T55" fmla="*/ 42 h 54"/>
                <a:gd name="T56" fmla="*/ 9 w 33"/>
                <a:gd name="T57" fmla="*/ 44 h 54"/>
                <a:gd name="T58" fmla="*/ 11 w 33"/>
                <a:gd name="T59" fmla="*/ 45 h 54"/>
                <a:gd name="T60" fmla="*/ 14 w 33"/>
                <a:gd name="T61" fmla="*/ 47 h 54"/>
                <a:gd name="T62" fmla="*/ 17 w 33"/>
                <a:gd name="T63" fmla="*/ 47 h 54"/>
                <a:gd name="T64" fmla="*/ 23 w 33"/>
                <a:gd name="T65" fmla="*/ 44 h 54"/>
                <a:gd name="T66" fmla="*/ 25 w 33"/>
                <a:gd name="T67" fmla="*/ 35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4">
                  <a:moveTo>
                    <a:pt x="33" y="35"/>
                  </a:moveTo>
                  <a:cubicBezTo>
                    <a:pt x="33" y="38"/>
                    <a:pt x="32" y="41"/>
                    <a:pt x="31" y="43"/>
                  </a:cubicBezTo>
                  <a:cubicBezTo>
                    <a:pt x="30" y="46"/>
                    <a:pt x="29" y="48"/>
                    <a:pt x="28" y="49"/>
                  </a:cubicBezTo>
                  <a:cubicBezTo>
                    <a:pt x="27" y="51"/>
                    <a:pt x="25" y="52"/>
                    <a:pt x="23" y="53"/>
                  </a:cubicBezTo>
                  <a:cubicBezTo>
                    <a:pt x="21" y="54"/>
                    <a:pt x="19" y="54"/>
                    <a:pt x="17" y="54"/>
                  </a:cubicBezTo>
                  <a:cubicBezTo>
                    <a:pt x="16" y="54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7"/>
                    <a:pt x="10" y="17"/>
                  </a:cubicBezTo>
                  <a:cubicBezTo>
                    <a:pt x="11" y="16"/>
                    <a:pt x="11" y="16"/>
                    <a:pt x="12" y="16"/>
                  </a:cubicBezTo>
                  <a:cubicBezTo>
                    <a:pt x="13" y="15"/>
                    <a:pt x="13" y="15"/>
                    <a:pt x="14" y="14"/>
                  </a:cubicBezTo>
                  <a:cubicBezTo>
                    <a:pt x="15" y="14"/>
                    <a:pt x="16" y="14"/>
                    <a:pt x="18" y="14"/>
                  </a:cubicBezTo>
                  <a:cubicBezTo>
                    <a:pt x="20" y="14"/>
                    <a:pt x="22" y="14"/>
                    <a:pt x="24" y="15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30" y="21"/>
                    <a:pt x="31" y="23"/>
                    <a:pt x="31" y="25"/>
                  </a:cubicBezTo>
                  <a:cubicBezTo>
                    <a:pt x="32" y="28"/>
                    <a:pt x="33" y="31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0"/>
                    <a:pt x="24" y="27"/>
                    <a:pt x="23" y="24"/>
                  </a:cubicBezTo>
                  <a:cubicBezTo>
                    <a:pt x="21" y="22"/>
                    <a:pt x="19" y="21"/>
                    <a:pt x="16" y="21"/>
                  </a:cubicBezTo>
                  <a:cubicBezTo>
                    <a:pt x="15" y="21"/>
                    <a:pt x="15" y="21"/>
                    <a:pt x="14" y="21"/>
                  </a:cubicBezTo>
                  <a:cubicBezTo>
                    <a:pt x="13" y="22"/>
                    <a:pt x="12" y="22"/>
                    <a:pt x="11" y="23"/>
                  </a:cubicBezTo>
                  <a:cubicBezTo>
                    <a:pt x="11" y="23"/>
                    <a:pt x="10" y="24"/>
                    <a:pt x="9" y="24"/>
                  </a:cubicBezTo>
                  <a:cubicBezTo>
                    <a:pt x="9" y="25"/>
                    <a:pt x="8" y="25"/>
                    <a:pt x="8" y="26"/>
                  </a:cubicBezTo>
                  <a:cubicBezTo>
                    <a:pt x="8" y="42"/>
                    <a:pt x="8" y="42"/>
                    <a:pt x="8" y="42"/>
                  </a:cubicBezTo>
                  <a:cubicBezTo>
                    <a:pt x="8" y="43"/>
                    <a:pt x="9" y="43"/>
                    <a:pt x="9" y="44"/>
                  </a:cubicBezTo>
                  <a:cubicBezTo>
                    <a:pt x="10" y="44"/>
                    <a:pt x="11" y="45"/>
                    <a:pt x="11" y="45"/>
                  </a:cubicBezTo>
                  <a:cubicBezTo>
                    <a:pt x="12" y="46"/>
                    <a:pt x="13" y="46"/>
                    <a:pt x="14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9" y="47"/>
                    <a:pt x="21" y="46"/>
                    <a:pt x="23" y="44"/>
                  </a:cubicBezTo>
                  <a:cubicBezTo>
                    <a:pt x="24" y="42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34" name="Freeform 52">
              <a:extLst>
                <a:ext uri="{FF2B5EF4-FFF2-40B4-BE49-F238E27FC236}">
                  <a16:creationId xmlns:a16="http://schemas.microsoft.com/office/drawing/2014/main" id="{0D3C59AD-7CCF-4166-9D21-3C348488931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1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4" y="31"/>
                    <a:pt x="24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35" name="Freeform 53">
              <a:extLst>
                <a:ext uri="{FF2B5EF4-FFF2-40B4-BE49-F238E27FC236}">
                  <a16:creationId xmlns:a16="http://schemas.microsoft.com/office/drawing/2014/main" id="{9C9DA4CE-7B4D-42AE-9264-92B7D7757DD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1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2" y="54"/>
                    <a:pt x="11" y="54"/>
                  </a:cubicBezTo>
                  <a:cubicBezTo>
                    <a:pt x="10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2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36" name="Freeform 54">
              <a:extLst>
                <a:ext uri="{FF2B5EF4-FFF2-40B4-BE49-F238E27FC236}">
                  <a16:creationId xmlns:a16="http://schemas.microsoft.com/office/drawing/2014/main" id="{DBCBD0D2-5C9C-4B12-8CF8-9CA320825ED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37" name="Freeform 55">
              <a:extLst>
                <a:ext uri="{FF2B5EF4-FFF2-40B4-BE49-F238E27FC236}">
                  <a16:creationId xmlns:a16="http://schemas.microsoft.com/office/drawing/2014/main" id="{CDCFBD31-7961-4587-876E-1FAFC4E74AB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0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2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0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3" y="31"/>
                    <a:pt x="24" y="31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0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7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38" name="Freeform 56">
              <a:extLst>
                <a:ext uri="{FF2B5EF4-FFF2-40B4-BE49-F238E27FC236}">
                  <a16:creationId xmlns:a16="http://schemas.microsoft.com/office/drawing/2014/main" id="{52482C08-723A-4738-9787-3516B3C1714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418333"/>
              <a:ext cx="55799" cy="101135"/>
            </a:xfrm>
            <a:custGeom>
              <a:avLst/>
              <a:gdLst>
                <a:gd name="T0" fmla="*/ 20 w 22"/>
                <a:gd name="T1" fmla="*/ 9 h 39"/>
                <a:gd name="T2" fmla="*/ 18 w 22"/>
                <a:gd name="T3" fmla="*/ 8 h 39"/>
                <a:gd name="T4" fmla="*/ 15 w 22"/>
                <a:gd name="T5" fmla="*/ 7 h 39"/>
                <a:gd name="T6" fmla="*/ 9 w 22"/>
                <a:gd name="T7" fmla="*/ 10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1 h 39"/>
                <a:gd name="T16" fmla="*/ 7 w 22"/>
                <a:gd name="T17" fmla="*/ 1 h 39"/>
                <a:gd name="T18" fmla="*/ 7 w 22"/>
                <a:gd name="T19" fmla="*/ 5 h 39"/>
                <a:gd name="T20" fmla="*/ 9 w 22"/>
                <a:gd name="T21" fmla="*/ 3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1 h 39"/>
                <a:gd name="T30" fmla="*/ 22 w 22"/>
                <a:gd name="T31" fmla="*/ 2 h 39"/>
                <a:gd name="T32" fmla="*/ 20 w 22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7" y="8"/>
                    <a:pt x="16" y="7"/>
                    <a:pt x="15" y="7"/>
                  </a:cubicBezTo>
                  <a:cubicBezTo>
                    <a:pt x="12" y="7"/>
                    <a:pt x="10" y="8"/>
                    <a:pt x="9" y="10"/>
                  </a:cubicBezTo>
                  <a:cubicBezTo>
                    <a:pt x="8" y="12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8" y="4"/>
                    <a:pt x="8" y="3"/>
                    <a:pt x="9" y="3"/>
                  </a:cubicBezTo>
                  <a:cubicBezTo>
                    <a:pt x="9" y="2"/>
                    <a:pt x="10" y="2"/>
                    <a:pt x="11" y="1"/>
                  </a:cubicBezTo>
                  <a:cubicBezTo>
                    <a:pt x="11" y="1"/>
                    <a:pt x="12" y="1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1"/>
                  </a:cubicBezTo>
                  <a:cubicBezTo>
                    <a:pt x="21" y="1"/>
                    <a:pt x="22" y="1"/>
                    <a:pt x="22" y="2"/>
                  </a:cubicBezTo>
                  <a:lnTo>
                    <a:pt x="20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39" name="Freeform 57">
              <a:extLst>
                <a:ext uri="{FF2B5EF4-FFF2-40B4-BE49-F238E27FC236}">
                  <a16:creationId xmlns:a16="http://schemas.microsoft.com/office/drawing/2014/main" id="{5B72A8F0-33E3-42CD-88C2-C35BEC0E983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40" name="Freeform 58">
              <a:extLst>
                <a:ext uri="{FF2B5EF4-FFF2-40B4-BE49-F238E27FC236}">
                  <a16:creationId xmlns:a16="http://schemas.microsoft.com/office/drawing/2014/main" id="{73FC54A2-6588-499B-968A-79F4CA9CF5F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383459"/>
              <a:ext cx="80211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10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2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8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7"/>
                    <a:pt x="9" y="17"/>
                  </a:cubicBezTo>
                  <a:cubicBezTo>
                    <a:pt x="10" y="16"/>
                    <a:pt x="11" y="16"/>
                    <a:pt x="12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41" name="Freeform 59">
              <a:extLst>
                <a:ext uri="{FF2B5EF4-FFF2-40B4-BE49-F238E27FC236}">
                  <a16:creationId xmlns:a16="http://schemas.microsoft.com/office/drawing/2014/main" id="{1E6AB002-C130-4648-A18E-BA496FF1756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8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2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6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1 w 33"/>
                <a:gd name="T69" fmla="*/ 8 h 40"/>
                <a:gd name="T70" fmla="*/ 17 w 33"/>
                <a:gd name="T71" fmla="*/ 7 h 40"/>
                <a:gd name="T72" fmla="*/ 13 w 33"/>
                <a:gd name="T73" fmla="*/ 8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6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10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3" y="32"/>
                    <a:pt x="23" y="32"/>
                    <a:pt x="24" y="32"/>
                  </a:cubicBezTo>
                  <a:cubicBezTo>
                    <a:pt x="24" y="31"/>
                    <a:pt x="25" y="31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7" y="38"/>
                    <a:pt x="26" y="38"/>
                    <a:pt x="25" y="39"/>
                  </a:cubicBezTo>
                  <a:cubicBezTo>
                    <a:pt x="24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4" y="40"/>
                    <a:pt x="12" y="39"/>
                  </a:cubicBezTo>
                  <a:cubicBezTo>
                    <a:pt x="11" y="39"/>
                    <a:pt x="10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4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5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6" y="17"/>
                  </a:moveTo>
                  <a:cubicBezTo>
                    <a:pt x="26" y="15"/>
                    <a:pt x="25" y="14"/>
                    <a:pt x="25" y="13"/>
                  </a:cubicBezTo>
                  <a:cubicBezTo>
                    <a:pt x="25" y="12"/>
                    <a:pt x="24" y="11"/>
                    <a:pt x="23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20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6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42" name="Freeform 60">
              <a:extLst>
                <a:ext uri="{FF2B5EF4-FFF2-40B4-BE49-F238E27FC236}">
                  <a16:creationId xmlns:a16="http://schemas.microsoft.com/office/drawing/2014/main" id="{B0044278-9F7F-4596-96D2-ACFBE0DEC0B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7435" y="6421821"/>
              <a:ext cx="122060" cy="97648"/>
            </a:xfrm>
            <a:custGeom>
              <a:avLst/>
              <a:gdLst>
                <a:gd name="T0" fmla="*/ 56 w 70"/>
                <a:gd name="T1" fmla="*/ 56 h 56"/>
                <a:gd name="T2" fmla="*/ 46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5 w 70"/>
                <a:gd name="T9" fmla="*/ 56 h 56"/>
                <a:gd name="T10" fmla="*/ 0 w 70"/>
                <a:gd name="T11" fmla="*/ 0 h 56"/>
                <a:gd name="T12" fmla="*/ 10 w 70"/>
                <a:gd name="T13" fmla="*/ 0 h 56"/>
                <a:gd name="T14" fmla="*/ 21 w 70"/>
                <a:gd name="T15" fmla="*/ 38 h 56"/>
                <a:gd name="T16" fmla="*/ 31 w 70"/>
                <a:gd name="T17" fmla="*/ 0 h 56"/>
                <a:gd name="T18" fmla="*/ 40 w 70"/>
                <a:gd name="T19" fmla="*/ 0 h 56"/>
                <a:gd name="T20" fmla="*/ 50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6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6" y="56"/>
                  </a:moveTo>
                  <a:lnTo>
                    <a:pt x="46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5" y="56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1" y="38"/>
                  </a:lnTo>
                  <a:lnTo>
                    <a:pt x="31" y="0"/>
                  </a:lnTo>
                  <a:lnTo>
                    <a:pt x="40" y="0"/>
                  </a:lnTo>
                  <a:lnTo>
                    <a:pt x="50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6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43" name="Freeform 61">
              <a:extLst>
                <a:ext uri="{FF2B5EF4-FFF2-40B4-BE49-F238E27FC236}">
                  <a16:creationId xmlns:a16="http://schemas.microsoft.com/office/drawing/2014/main" id="{79F75E0D-27A7-44C1-BF19-495F4768F99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859957" y="6418333"/>
              <a:ext cx="87186" cy="102879"/>
            </a:xfrm>
            <a:custGeom>
              <a:avLst/>
              <a:gdLst>
                <a:gd name="T0" fmla="*/ 34 w 34"/>
                <a:gd name="T1" fmla="*/ 20 h 40"/>
                <a:gd name="T2" fmla="*/ 33 w 34"/>
                <a:gd name="T3" fmla="*/ 28 h 40"/>
                <a:gd name="T4" fmla="*/ 29 w 34"/>
                <a:gd name="T5" fmla="*/ 35 h 40"/>
                <a:gd name="T6" fmla="*/ 24 w 34"/>
                <a:gd name="T7" fmla="*/ 39 h 40"/>
                <a:gd name="T8" fmla="*/ 17 w 34"/>
                <a:gd name="T9" fmla="*/ 40 h 40"/>
                <a:gd name="T10" fmla="*/ 10 w 34"/>
                <a:gd name="T11" fmla="*/ 39 h 40"/>
                <a:gd name="T12" fmla="*/ 5 w 34"/>
                <a:gd name="T13" fmla="*/ 35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2 h 40"/>
                <a:gd name="T20" fmla="*/ 5 w 34"/>
                <a:gd name="T21" fmla="*/ 5 h 40"/>
                <a:gd name="T22" fmla="*/ 11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2 h 40"/>
                <a:gd name="T32" fmla="*/ 34 w 34"/>
                <a:gd name="T33" fmla="*/ 20 h 40"/>
                <a:gd name="T34" fmla="*/ 27 w 34"/>
                <a:gd name="T35" fmla="*/ 20 h 40"/>
                <a:gd name="T36" fmla="*/ 26 w 34"/>
                <a:gd name="T37" fmla="*/ 15 h 40"/>
                <a:gd name="T38" fmla="*/ 24 w 34"/>
                <a:gd name="T39" fmla="*/ 11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1 h 40"/>
                <a:gd name="T48" fmla="*/ 8 w 34"/>
                <a:gd name="T49" fmla="*/ 15 h 40"/>
                <a:gd name="T50" fmla="*/ 8 w 34"/>
                <a:gd name="T51" fmla="*/ 20 h 40"/>
                <a:gd name="T52" fmla="*/ 8 w 34"/>
                <a:gd name="T53" fmla="*/ 26 h 40"/>
                <a:gd name="T54" fmla="*/ 10 w 34"/>
                <a:gd name="T55" fmla="*/ 30 h 40"/>
                <a:gd name="T56" fmla="*/ 13 w 34"/>
                <a:gd name="T57" fmla="*/ 32 h 40"/>
                <a:gd name="T58" fmla="*/ 17 w 34"/>
                <a:gd name="T59" fmla="*/ 33 h 40"/>
                <a:gd name="T60" fmla="*/ 21 w 34"/>
                <a:gd name="T61" fmla="*/ 32 h 40"/>
                <a:gd name="T62" fmla="*/ 24 w 34"/>
                <a:gd name="T63" fmla="*/ 29 h 40"/>
                <a:gd name="T64" fmla="*/ 26 w 34"/>
                <a:gd name="T65" fmla="*/ 25 h 40"/>
                <a:gd name="T66" fmla="*/ 27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20"/>
                  </a:moveTo>
                  <a:cubicBezTo>
                    <a:pt x="34" y="23"/>
                    <a:pt x="34" y="26"/>
                    <a:pt x="33" y="28"/>
                  </a:cubicBezTo>
                  <a:cubicBezTo>
                    <a:pt x="32" y="31"/>
                    <a:pt x="31" y="33"/>
                    <a:pt x="29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2" y="40"/>
                    <a:pt x="10" y="39"/>
                  </a:cubicBezTo>
                  <a:cubicBezTo>
                    <a:pt x="8" y="38"/>
                    <a:pt x="6" y="36"/>
                    <a:pt x="5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1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7" y="4"/>
                    <a:pt x="8" y="2"/>
                    <a:pt x="11" y="1"/>
                  </a:cubicBezTo>
                  <a:cubicBezTo>
                    <a:pt x="13" y="1"/>
                    <a:pt x="15" y="0"/>
                    <a:pt x="17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4" y="17"/>
                    <a:pt x="34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3" y="10"/>
                    <a:pt x="22" y="9"/>
                    <a:pt x="21" y="8"/>
                  </a:cubicBezTo>
                  <a:cubicBezTo>
                    <a:pt x="20" y="8"/>
                    <a:pt x="18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9" y="12"/>
                    <a:pt x="9" y="13"/>
                    <a:pt x="8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8" y="26"/>
                  </a:cubicBezTo>
                  <a:cubicBezTo>
                    <a:pt x="9" y="27"/>
                    <a:pt x="10" y="28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44" name="Freeform 62">
              <a:extLst>
                <a:ext uri="{FF2B5EF4-FFF2-40B4-BE49-F238E27FC236}">
                  <a16:creationId xmlns:a16="http://schemas.microsoft.com/office/drawing/2014/main" id="{E5B9E395-C74C-4D98-8911-EE2C765D8B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8067" y="6418333"/>
              <a:ext cx="57543" cy="101135"/>
            </a:xfrm>
            <a:custGeom>
              <a:avLst/>
              <a:gdLst>
                <a:gd name="T0" fmla="*/ 21 w 23"/>
                <a:gd name="T1" fmla="*/ 9 h 39"/>
                <a:gd name="T2" fmla="*/ 18 w 23"/>
                <a:gd name="T3" fmla="*/ 8 h 39"/>
                <a:gd name="T4" fmla="*/ 15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9 w 23"/>
                <a:gd name="T21" fmla="*/ 3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8" y="8"/>
                    <a:pt x="17" y="7"/>
                    <a:pt x="15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8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9" y="3"/>
                  </a:cubicBezTo>
                  <a:cubicBezTo>
                    <a:pt x="10" y="2"/>
                    <a:pt x="11" y="2"/>
                    <a:pt x="11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1"/>
                  </a:cubicBezTo>
                  <a:cubicBezTo>
                    <a:pt x="21" y="1"/>
                    <a:pt x="22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45" name="Freeform 63">
              <a:extLst>
                <a:ext uri="{FF2B5EF4-FFF2-40B4-BE49-F238E27FC236}">
                  <a16:creationId xmlns:a16="http://schemas.microsoft.com/office/drawing/2014/main" id="{53BB8418-388C-4142-9A80-8BF00A87F7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3046" y="6383459"/>
              <a:ext cx="19181" cy="136010"/>
            </a:xfrm>
            <a:custGeom>
              <a:avLst/>
              <a:gdLst>
                <a:gd name="T0" fmla="*/ 0 w 11"/>
                <a:gd name="T1" fmla="*/ 78 h 78"/>
                <a:gd name="T2" fmla="*/ 0 w 11"/>
                <a:gd name="T3" fmla="*/ 6 h 78"/>
                <a:gd name="T4" fmla="*/ 11 w 11"/>
                <a:gd name="T5" fmla="*/ 0 h 78"/>
                <a:gd name="T6" fmla="*/ 11 w 11"/>
                <a:gd name="T7" fmla="*/ 78 h 78"/>
                <a:gd name="T8" fmla="*/ 0 w 11"/>
                <a:gd name="T9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78">
                  <a:moveTo>
                    <a:pt x="0" y="78"/>
                  </a:moveTo>
                  <a:lnTo>
                    <a:pt x="0" y="6"/>
                  </a:lnTo>
                  <a:lnTo>
                    <a:pt x="11" y="0"/>
                  </a:lnTo>
                  <a:lnTo>
                    <a:pt x="11" y="78"/>
                  </a:lnTo>
                  <a:lnTo>
                    <a:pt x="0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46" name="Freeform 64">
              <a:extLst>
                <a:ext uri="{FF2B5EF4-FFF2-40B4-BE49-F238E27FC236}">
                  <a16:creationId xmlns:a16="http://schemas.microsoft.com/office/drawing/2014/main" id="{0256DB41-B3C1-4FEB-B394-9762C00E7F7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084896" y="6383459"/>
              <a:ext cx="80211" cy="137753"/>
            </a:xfrm>
            <a:custGeom>
              <a:avLst/>
              <a:gdLst>
                <a:gd name="T0" fmla="*/ 24 w 32"/>
                <a:gd name="T1" fmla="*/ 53 h 54"/>
                <a:gd name="T2" fmla="*/ 24 w 32"/>
                <a:gd name="T3" fmla="*/ 50 h 54"/>
                <a:gd name="T4" fmla="*/ 22 w 32"/>
                <a:gd name="T5" fmla="*/ 51 h 54"/>
                <a:gd name="T6" fmla="*/ 20 w 32"/>
                <a:gd name="T7" fmla="*/ 53 h 54"/>
                <a:gd name="T8" fmla="*/ 17 w 32"/>
                <a:gd name="T9" fmla="*/ 54 h 54"/>
                <a:gd name="T10" fmla="*/ 14 w 32"/>
                <a:gd name="T11" fmla="*/ 54 h 54"/>
                <a:gd name="T12" fmla="*/ 9 w 32"/>
                <a:gd name="T13" fmla="*/ 53 h 54"/>
                <a:gd name="T14" fmla="*/ 4 w 32"/>
                <a:gd name="T15" fmla="*/ 49 h 54"/>
                <a:gd name="T16" fmla="*/ 1 w 32"/>
                <a:gd name="T17" fmla="*/ 43 h 54"/>
                <a:gd name="T18" fmla="*/ 0 w 32"/>
                <a:gd name="T19" fmla="*/ 33 h 54"/>
                <a:gd name="T20" fmla="*/ 1 w 32"/>
                <a:gd name="T21" fmla="*/ 25 h 54"/>
                <a:gd name="T22" fmla="*/ 4 w 32"/>
                <a:gd name="T23" fmla="*/ 19 h 54"/>
                <a:gd name="T24" fmla="*/ 9 w 32"/>
                <a:gd name="T25" fmla="*/ 15 h 54"/>
                <a:gd name="T26" fmla="*/ 15 w 32"/>
                <a:gd name="T27" fmla="*/ 14 h 54"/>
                <a:gd name="T28" fmla="*/ 18 w 32"/>
                <a:gd name="T29" fmla="*/ 14 h 54"/>
                <a:gd name="T30" fmla="*/ 20 w 32"/>
                <a:gd name="T31" fmla="*/ 15 h 54"/>
                <a:gd name="T32" fmla="*/ 22 w 32"/>
                <a:gd name="T33" fmla="*/ 17 h 54"/>
                <a:gd name="T34" fmla="*/ 24 w 32"/>
                <a:gd name="T35" fmla="*/ 18 h 54"/>
                <a:gd name="T36" fmla="*/ 24 w 32"/>
                <a:gd name="T37" fmla="*/ 4 h 54"/>
                <a:gd name="T38" fmla="*/ 32 w 32"/>
                <a:gd name="T39" fmla="*/ 0 h 54"/>
                <a:gd name="T40" fmla="*/ 32 w 32"/>
                <a:gd name="T41" fmla="*/ 53 h 54"/>
                <a:gd name="T42" fmla="*/ 24 w 32"/>
                <a:gd name="T43" fmla="*/ 53 h 54"/>
                <a:gd name="T44" fmla="*/ 24 w 32"/>
                <a:gd name="T45" fmla="*/ 26 h 54"/>
                <a:gd name="T46" fmla="*/ 23 w 32"/>
                <a:gd name="T47" fmla="*/ 24 h 54"/>
                <a:gd name="T48" fmla="*/ 21 w 32"/>
                <a:gd name="T49" fmla="*/ 23 h 54"/>
                <a:gd name="T50" fmla="*/ 18 w 32"/>
                <a:gd name="T51" fmla="*/ 22 h 54"/>
                <a:gd name="T52" fmla="*/ 15 w 32"/>
                <a:gd name="T53" fmla="*/ 21 h 54"/>
                <a:gd name="T54" fmla="*/ 9 w 32"/>
                <a:gd name="T55" fmla="*/ 24 h 54"/>
                <a:gd name="T56" fmla="*/ 7 w 32"/>
                <a:gd name="T57" fmla="*/ 33 h 54"/>
                <a:gd name="T58" fmla="*/ 8 w 32"/>
                <a:gd name="T59" fmla="*/ 39 h 54"/>
                <a:gd name="T60" fmla="*/ 9 w 32"/>
                <a:gd name="T61" fmla="*/ 44 h 54"/>
                <a:gd name="T62" fmla="*/ 12 w 32"/>
                <a:gd name="T63" fmla="*/ 46 h 54"/>
                <a:gd name="T64" fmla="*/ 16 w 32"/>
                <a:gd name="T65" fmla="*/ 47 h 54"/>
                <a:gd name="T66" fmla="*/ 18 w 32"/>
                <a:gd name="T67" fmla="*/ 47 h 54"/>
                <a:gd name="T68" fmla="*/ 21 w 32"/>
                <a:gd name="T69" fmla="*/ 46 h 54"/>
                <a:gd name="T70" fmla="*/ 23 w 32"/>
                <a:gd name="T71" fmla="*/ 44 h 54"/>
                <a:gd name="T72" fmla="*/ 24 w 32"/>
                <a:gd name="T73" fmla="*/ 42 h 54"/>
                <a:gd name="T74" fmla="*/ 24 w 32"/>
                <a:gd name="T75" fmla="*/ 2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2" h="54">
                  <a:moveTo>
                    <a:pt x="24" y="53"/>
                  </a:moveTo>
                  <a:cubicBezTo>
                    <a:pt x="24" y="50"/>
                    <a:pt x="24" y="50"/>
                    <a:pt x="24" y="50"/>
                  </a:cubicBezTo>
                  <a:cubicBezTo>
                    <a:pt x="24" y="50"/>
                    <a:pt x="23" y="51"/>
                    <a:pt x="22" y="51"/>
                  </a:cubicBezTo>
                  <a:cubicBezTo>
                    <a:pt x="21" y="52"/>
                    <a:pt x="21" y="52"/>
                    <a:pt x="20" y="53"/>
                  </a:cubicBezTo>
                  <a:cubicBezTo>
                    <a:pt x="19" y="53"/>
                    <a:pt x="18" y="54"/>
                    <a:pt x="17" y="54"/>
                  </a:cubicBezTo>
                  <a:cubicBezTo>
                    <a:pt x="16" y="54"/>
                    <a:pt x="15" y="54"/>
                    <a:pt x="14" y="54"/>
                  </a:cubicBezTo>
                  <a:cubicBezTo>
                    <a:pt x="12" y="54"/>
                    <a:pt x="10" y="54"/>
                    <a:pt x="9" y="53"/>
                  </a:cubicBezTo>
                  <a:cubicBezTo>
                    <a:pt x="7" y="52"/>
                    <a:pt x="5" y="51"/>
                    <a:pt x="4" y="49"/>
                  </a:cubicBezTo>
                  <a:cubicBezTo>
                    <a:pt x="3" y="48"/>
                    <a:pt x="1" y="45"/>
                    <a:pt x="1" y="43"/>
                  </a:cubicBezTo>
                  <a:cubicBezTo>
                    <a:pt x="0" y="40"/>
                    <a:pt x="0" y="37"/>
                    <a:pt x="0" y="33"/>
                  </a:cubicBezTo>
                  <a:cubicBezTo>
                    <a:pt x="0" y="30"/>
                    <a:pt x="0" y="27"/>
                    <a:pt x="1" y="25"/>
                  </a:cubicBezTo>
                  <a:cubicBezTo>
                    <a:pt x="2" y="22"/>
                    <a:pt x="3" y="20"/>
                    <a:pt x="4" y="19"/>
                  </a:cubicBezTo>
                  <a:cubicBezTo>
                    <a:pt x="6" y="17"/>
                    <a:pt x="7" y="16"/>
                    <a:pt x="9" y="15"/>
                  </a:cubicBezTo>
                  <a:cubicBezTo>
                    <a:pt x="11" y="14"/>
                    <a:pt x="13" y="14"/>
                    <a:pt x="15" y="14"/>
                  </a:cubicBezTo>
                  <a:cubicBezTo>
                    <a:pt x="16" y="14"/>
                    <a:pt x="17" y="14"/>
                    <a:pt x="18" y="14"/>
                  </a:cubicBezTo>
                  <a:cubicBezTo>
                    <a:pt x="18" y="15"/>
                    <a:pt x="19" y="15"/>
                    <a:pt x="20" y="15"/>
                  </a:cubicBezTo>
                  <a:cubicBezTo>
                    <a:pt x="21" y="16"/>
                    <a:pt x="22" y="16"/>
                    <a:pt x="22" y="17"/>
                  </a:cubicBezTo>
                  <a:cubicBezTo>
                    <a:pt x="23" y="17"/>
                    <a:pt x="24" y="18"/>
                    <a:pt x="24" y="18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53"/>
                    <a:pt x="32" y="53"/>
                    <a:pt x="32" y="53"/>
                  </a:cubicBezTo>
                  <a:lnTo>
                    <a:pt x="24" y="53"/>
                  </a:lnTo>
                  <a:close/>
                  <a:moveTo>
                    <a:pt x="24" y="26"/>
                  </a:moveTo>
                  <a:cubicBezTo>
                    <a:pt x="24" y="26"/>
                    <a:pt x="23" y="25"/>
                    <a:pt x="23" y="24"/>
                  </a:cubicBezTo>
                  <a:cubicBezTo>
                    <a:pt x="22" y="24"/>
                    <a:pt x="22" y="23"/>
                    <a:pt x="21" y="23"/>
                  </a:cubicBezTo>
                  <a:cubicBezTo>
                    <a:pt x="20" y="22"/>
                    <a:pt x="19" y="22"/>
                    <a:pt x="18" y="22"/>
                  </a:cubicBezTo>
                  <a:cubicBezTo>
                    <a:pt x="17" y="21"/>
                    <a:pt x="16" y="21"/>
                    <a:pt x="15" y="21"/>
                  </a:cubicBezTo>
                  <a:cubicBezTo>
                    <a:pt x="13" y="21"/>
                    <a:pt x="11" y="22"/>
                    <a:pt x="9" y="24"/>
                  </a:cubicBezTo>
                  <a:cubicBezTo>
                    <a:pt x="8" y="26"/>
                    <a:pt x="7" y="29"/>
                    <a:pt x="7" y="33"/>
                  </a:cubicBezTo>
                  <a:cubicBezTo>
                    <a:pt x="7" y="36"/>
                    <a:pt x="7" y="38"/>
                    <a:pt x="8" y="39"/>
                  </a:cubicBezTo>
                  <a:cubicBezTo>
                    <a:pt x="8" y="41"/>
                    <a:pt x="9" y="43"/>
                    <a:pt x="9" y="44"/>
                  </a:cubicBezTo>
                  <a:cubicBezTo>
                    <a:pt x="10" y="45"/>
                    <a:pt x="11" y="46"/>
                    <a:pt x="12" y="46"/>
                  </a:cubicBezTo>
                  <a:cubicBezTo>
                    <a:pt x="13" y="47"/>
                    <a:pt x="14" y="47"/>
                    <a:pt x="16" y="47"/>
                  </a:cubicBezTo>
                  <a:cubicBezTo>
                    <a:pt x="17" y="47"/>
                    <a:pt x="18" y="47"/>
                    <a:pt x="18" y="47"/>
                  </a:cubicBezTo>
                  <a:cubicBezTo>
                    <a:pt x="19" y="46"/>
                    <a:pt x="20" y="46"/>
                    <a:pt x="21" y="46"/>
                  </a:cubicBezTo>
                  <a:cubicBezTo>
                    <a:pt x="21" y="45"/>
                    <a:pt x="22" y="45"/>
                    <a:pt x="23" y="44"/>
                  </a:cubicBezTo>
                  <a:cubicBezTo>
                    <a:pt x="23" y="43"/>
                    <a:pt x="24" y="43"/>
                    <a:pt x="24" y="42"/>
                  </a:cubicBezTo>
                  <a:lnTo>
                    <a:pt x="24" y="2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47" name="Freeform 65">
              <a:extLst>
                <a:ext uri="{FF2B5EF4-FFF2-40B4-BE49-F238E27FC236}">
                  <a16:creationId xmlns:a16="http://schemas.microsoft.com/office/drawing/2014/main" id="{F2BC9C1F-3F30-47A6-B503-20FB179B7F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29624" y="6421821"/>
              <a:ext cx="122060" cy="97648"/>
            </a:xfrm>
            <a:custGeom>
              <a:avLst/>
              <a:gdLst>
                <a:gd name="T0" fmla="*/ 55 w 70"/>
                <a:gd name="T1" fmla="*/ 56 h 56"/>
                <a:gd name="T2" fmla="*/ 45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6 w 70"/>
                <a:gd name="T9" fmla="*/ 56 h 56"/>
                <a:gd name="T10" fmla="*/ 0 w 70"/>
                <a:gd name="T11" fmla="*/ 0 h 56"/>
                <a:gd name="T12" fmla="*/ 12 w 70"/>
                <a:gd name="T13" fmla="*/ 0 h 56"/>
                <a:gd name="T14" fmla="*/ 20 w 70"/>
                <a:gd name="T15" fmla="*/ 38 h 56"/>
                <a:gd name="T16" fmla="*/ 31 w 70"/>
                <a:gd name="T17" fmla="*/ 0 h 56"/>
                <a:gd name="T18" fmla="*/ 39 w 70"/>
                <a:gd name="T19" fmla="*/ 0 h 56"/>
                <a:gd name="T20" fmla="*/ 51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5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5" y="56"/>
                  </a:moveTo>
                  <a:lnTo>
                    <a:pt x="45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6" y="56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0" y="38"/>
                  </a:lnTo>
                  <a:lnTo>
                    <a:pt x="31" y="0"/>
                  </a:lnTo>
                  <a:lnTo>
                    <a:pt x="39" y="0"/>
                  </a:lnTo>
                  <a:lnTo>
                    <a:pt x="51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48" name="Freeform 66">
              <a:extLst>
                <a:ext uri="{FF2B5EF4-FFF2-40B4-BE49-F238E27FC236}">
                  <a16:creationId xmlns:a16="http://schemas.microsoft.com/office/drawing/2014/main" id="{F2E1921C-CA0E-4886-93CA-956A6497CF0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62147" y="6418333"/>
              <a:ext cx="88930" cy="102879"/>
            </a:xfrm>
            <a:custGeom>
              <a:avLst/>
              <a:gdLst>
                <a:gd name="T0" fmla="*/ 35 w 35"/>
                <a:gd name="T1" fmla="*/ 20 h 40"/>
                <a:gd name="T2" fmla="*/ 33 w 35"/>
                <a:gd name="T3" fmla="*/ 28 h 40"/>
                <a:gd name="T4" fmla="*/ 30 w 35"/>
                <a:gd name="T5" fmla="*/ 35 h 40"/>
                <a:gd name="T6" fmla="*/ 24 w 35"/>
                <a:gd name="T7" fmla="*/ 39 h 40"/>
                <a:gd name="T8" fmla="*/ 17 w 35"/>
                <a:gd name="T9" fmla="*/ 40 h 40"/>
                <a:gd name="T10" fmla="*/ 11 w 35"/>
                <a:gd name="T11" fmla="*/ 39 h 40"/>
                <a:gd name="T12" fmla="*/ 5 w 35"/>
                <a:gd name="T13" fmla="*/ 35 h 40"/>
                <a:gd name="T14" fmla="*/ 2 w 35"/>
                <a:gd name="T15" fmla="*/ 28 h 40"/>
                <a:gd name="T16" fmla="*/ 0 w 35"/>
                <a:gd name="T17" fmla="*/ 20 h 40"/>
                <a:gd name="T18" fmla="*/ 2 w 35"/>
                <a:gd name="T19" fmla="*/ 12 h 40"/>
                <a:gd name="T20" fmla="*/ 5 w 35"/>
                <a:gd name="T21" fmla="*/ 5 h 40"/>
                <a:gd name="T22" fmla="*/ 11 w 35"/>
                <a:gd name="T23" fmla="*/ 1 h 40"/>
                <a:gd name="T24" fmla="*/ 18 w 35"/>
                <a:gd name="T25" fmla="*/ 0 h 40"/>
                <a:gd name="T26" fmla="*/ 24 w 35"/>
                <a:gd name="T27" fmla="*/ 1 h 40"/>
                <a:gd name="T28" fmla="*/ 30 w 35"/>
                <a:gd name="T29" fmla="*/ 5 h 40"/>
                <a:gd name="T30" fmla="*/ 33 w 35"/>
                <a:gd name="T31" fmla="*/ 12 h 40"/>
                <a:gd name="T32" fmla="*/ 35 w 35"/>
                <a:gd name="T33" fmla="*/ 20 h 40"/>
                <a:gd name="T34" fmla="*/ 27 w 35"/>
                <a:gd name="T35" fmla="*/ 20 h 40"/>
                <a:gd name="T36" fmla="*/ 26 w 35"/>
                <a:gd name="T37" fmla="*/ 15 h 40"/>
                <a:gd name="T38" fmla="*/ 24 w 35"/>
                <a:gd name="T39" fmla="*/ 11 h 40"/>
                <a:gd name="T40" fmla="*/ 21 w 35"/>
                <a:gd name="T41" fmla="*/ 8 h 40"/>
                <a:gd name="T42" fmla="*/ 17 w 35"/>
                <a:gd name="T43" fmla="*/ 7 h 40"/>
                <a:gd name="T44" fmla="*/ 13 w 35"/>
                <a:gd name="T45" fmla="*/ 8 h 40"/>
                <a:gd name="T46" fmla="*/ 10 w 35"/>
                <a:gd name="T47" fmla="*/ 11 h 40"/>
                <a:gd name="T48" fmla="*/ 9 w 35"/>
                <a:gd name="T49" fmla="*/ 15 h 40"/>
                <a:gd name="T50" fmla="*/ 8 w 35"/>
                <a:gd name="T51" fmla="*/ 20 h 40"/>
                <a:gd name="T52" fmla="*/ 9 w 35"/>
                <a:gd name="T53" fmla="*/ 26 h 40"/>
                <a:gd name="T54" fmla="*/ 11 w 35"/>
                <a:gd name="T55" fmla="*/ 30 h 40"/>
                <a:gd name="T56" fmla="*/ 14 w 35"/>
                <a:gd name="T57" fmla="*/ 32 h 40"/>
                <a:gd name="T58" fmla="*/ 18 w 35"/>
                <a:gd name="T59" fmla="*/ 33 h 40"/>
                <a:gd name="T60" fmla="*/ 21 w 35"/>
                <a:gd name="T61" fmla="*/ 32 h 40"/>
                <a:gd name="T62" fmla="*/ 24 w 35"/>
                <a:gd name="T63" fmla="*/ 29 h 40"/>
                <a:gd name="T64" fmla="*/ 26 w 35"/>
                <a:gd name="T65" fmla="*/ 25 h 40"/>
                <a:gd name="T66" fmla="*/ 27 w 35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5" h="40">
                  <a:moveTo>
                    <a:pt x="35" y="20"/>
                  </a:moveTo>
                  <a:cubicBezTo>
                    <a:pt x="35" y="23"/>
                    <a:pt x="34" y="26"/>
                    <a:pt x="33" y="28"/>
                  </a:cubicBezTo>
                  <a:cubicBezTo>
                    <a:pt x="32" y="31"/>
                    <a:pt x="31" y="33"/>
                    <a:pt x="30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3" y="40"/>
                    <a:pt x="11" y="39"/>
                  </a:cubicBezTo>
                  <a:cubicBezTo>
                    <a:pt x="8" y="38"/>
                    <a:pt x="7" y="36"/>
                    <a:pt x="5" y="35"/>
                  </a:cubicBezTo>
                  <a:cubicBezTo>
                    <a:pt x="4" y="33"/>
                    <a:pt x="2" y="31"/>
                    <a:pt x="2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3" y="9"/>
                    <a:pt x="4" y="7"/>
                    <a:pt x="5" y="5"/>
                  </a:cubicBezTo>
                  <a:cubicBezTo>
                    <a:pt x="7" y="4"/>
                    <a:pt x="9" y="2"/>
                    <a:pt x="11" y="1"/>
                  </a:cubicBezTo>
                  <a:cubicBezTo>
                    <a:pt x="13" y="1"/>
                    <a:pt x="15" y="0"/>
                    <a:pt x="18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30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5" y="17"/>
                    <a:pt x="35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4" y="10"/>
                    <a:pt x="23" y="9"/>
                    <a:pt x="21" y="8"/>
                  </a:cubicBezTo>
                  <a:cubicBezTo>
                    <a:pt x="20" y="8"/>
                    <a:pt x="19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10" y="12"/>
                    <a:pt x="9" y="13"/>
                    <a:pt x="9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9" y="26"/>
                  </a:cubicBezTo>
                  <a:cubicBezTo>
                    <a:pt x="9" y="27"/>
                    <a:pt x="10" y="28"/>
                    <a:pt x="11" y="30"/>
                  </a:cubicBezTo>
                  <a:cubicBezTo>
                    <a:pt x="11" y="31"/>
                    <a:pt x="12" y="32"/>
                    <a:pt x="14" y="32"/>
                  </a:cubicBezTo>
                  <a:cubicBezTo>
                    <a:pt x="15" y="33"/>
                    <a:pt x="16" y="33"/>
                    <a:pt x="18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3" y="31"/>
                    <a:pt x="24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49" name="Freeform 67">
              <a:extLst>
                <a:ext uri="{FF2B5EF4-FFF2-40B4-BE49-F238E27FC236}">
                  <a16:creationId xmlns:a16="http://schemas.microsoft.com/office/drawing/2014/main" id="{33147323-CD74-4B45-8B3D-9FC2D6ABC4D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68514" y="6418333"/>
              <a:ext cx="59286" cy="101135"/>
            </a:xfrm>
            <a:custGeom>
              <a:avLst/>
              <a:gdLst>
                <a:gd name="T0" fmla="*/ 21 w 23"/>
                <a:gd name="T1" fmla="*/ 9 h 39"/>
                <a:gd name="T2" fmla="*/ 19 w 23"/>
                <a:gd name="T3" fmla="*/ 8 h 39"/>
                <a:gd name="T4" fmla="*/ 16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10 w 23"/>
                <a:gd name="T21" fmla="*/ 3 h 39"/>
                <a:gd name="T22" fmla="*/ 12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1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20" y="8"/>
                    <a:pt x="19" y="8"/>
                  </a:cubicBezTo>
                  <a:cubicBezTo>
                    <a:pt x="18" y="8"/>
                    <a:pt x="17" y="7"/>
                    <a:pt x="16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9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10" y="3"/>
                  </a:cubicBezTo>
                  <a:cubicBezTo>
                    <a:pt x="10" y="2"/>
                    <a:pt x="11" y="2"/>
                    <a:pt x="12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20" y="0"/>
                    <a:pt x="21" y="1"/>
                  </a:cubicBezTo>
                  <a:cubicBezTo>
                    <a:pt x="22" y="1"/>
                    <a:pt x="23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50" name="Freeform 68">
              <a:extLst>
                <a:ext uri="{FF2B5EF4-FFF2-40B4-BE49-F238E27FC236}">
                  <a16:creationId xmlns:a16="http://schemas.microsoft.com/office/drawing/2014/main" id="{646502BE-8655-4E99-B8D3-19E6C1D2B9F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5237" y="6383459"/>
              <a:ext cx="76723" cy="136010"/>
            </a:xfrm>
            <a:custGeom>
              <a:avLst/>
              <a:gdLst>
                <a:gd name="T0" fmla="*/ 31 w 44"/>
                <a:gd name="T1" fmla="*/ 78 h 78"/>
                <a:gd name="T2" fmla="*/ 19 w 44"/>
                <a:gd name="T3" fmla="*/ 50 h 78"/>
                <a:gd name="T4" fmla="*/ 10 w 44"/>
                <a:gd name="T5" fmla="*/ 61 h 78"/>
                <a:gd name="T6" fmla="*/ 10 w 44"/>
                <a:gd name="T7" fmla="*/ 78 h 78"/>
                <a:gd name="T8" fmla="*/ 0 w 44"/>
                <a:gd name="T9" fmla="*/ 78 h 78"/>
                <a:gd name="T10" fmla="*/ 0 w 44"/>
                <a:gd name="T11" fmla="*/ 6 h 78"/>
                <a:gd name="T12" fmla="*/ 10 w 44"/>
                <a:gd name="T13" fmla="*/ 0 h 78"/>
                <a:gd name="T14" fmla="*/ 10 w 44"/>
                <a:gd name="T15" fmla="*/ 47 h 78"/>
                <a:gd name="T16" fmla="*/ 28 w 44"/>
                <a:gd name="T17" fmla="*/ 22 h 78"/>
                <a:gd name="T18" fmla="*/ 41 w 44"/>
                <a:gd name="T19" fmla="*/ 22 h 78"/>
                <a:gd name="T20" fmla="*/ 26 w 44"/>
                <a:gd name="T21" fmla="*/ 41 h 78"/>
                <a:gd name="T22" fmla="*/ 44 w 44"/>
                <a:gd name="T23" fmla="*/ 78 h 78"/>
                <a:gd name="T24" fmla="*/ 31 w 44"/>
                <a:gd name="T25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4" h="78">
                  <a:moveTo>
                    <a:pt x="31" y="78"/>
                  </a:moveTo>
                  <a:lnTo>
                    <a:pt x="19" y="50"/>
                  </a:lnTo>
                  <a:lnTo>
                    <a:pt x="10" y="61"/>
                  </a:lnTo>
                  <a:lnTo>
                    <a:pt x="10" y="78"/>
                  </a:lnTo>
                  <a:lnTo>
                    <a:pt x="0" y="78"/>
                  </a:lnTo>
                  <a:lnTo>
                    <a:pt x="0" y="6"/>
                  </a:lnTo>
                  <a:lnTo>
                    <a:pt x="10" y="0"/>
                  </a:lnTo>
                  <a:lnTo>
                    <a:pt x="10" y="47"/>
                  </a:lnTo>
                  <a:lnTo>
                    <a:pt x="28" y="22"/>
                  </a:lnTo>
                  <a:lnTo>
                    <a:pt x="41" y="22"/>
                  </a:lnTo>
                  <a:lnTo>
                    <a:pt x="26" y="41"/>
                  </a:lnTo>
                  <a:lnTo>
                    <a:pt x="44" y="78"/>
                  </a:lnTo>
                  <a:lnTo>
                    <a:pt x="31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51" name="Freeform 69">
              <a:extLst>
                <a:ext uri="{FF2B5EF4-FFF2-40B4-BE49-F238E27FC236}">
                  <a16:creationId xmlns:a16="http://schemas.microsoft.com/office/drawing/2014/main" id="{7B89F1B5-6B06-45D2-838B-039A44EFFD1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28936" y="6418333"/>
              <a:ext cx="74980" cy="102879"/>
            </a:xfrm>
            <a:custGeom>
              <a:avLst/>
              <a:gdLst>
                <a:gd name="T0" fmla="*/ 28 w 29"/>
                <a:gd name="T1" fmla="*/ 4 h 40"/>
                <a:gd name="T2" fmla="*/ 25 w 29"/>
                <a:gd name="T3" fmla="*/ 10 h 40"/>
                <a:gd name="T4" fmla="*/ 20 w 29"/>
                <a:gd name="T5" fmla="*/ 8 h 40"/>
                <a:gd name="T6" fmla="*/ 15 w 29"/>
                <a:gd name="T7" fmla="*/ 7 h 40"/>
                <a:gd name="T8" fmla="*/ 11 w 29"/>
                <a:gd name="T9" fmla="*/ 8 h 40"/>
                <a:gd name="T10" fmla="*/ 9 w 29"/>
                <a:gd name="T11" fmla="*/ 10 h 40"/>
                <a:gd name="T12" fmla="*/ 10 w 29"/>
                <a:gd name="T13" fmla="*/ 12 h 40"/>
                <a:gd name="T14" fmla="*/ 11 w 29"/>
                <a:gd name="T15" fmla="*/ 13 h 40"/>
                <a:gd name="T16" fmla="*/ 13 w 29"/>
                <a:gd name="T17" fmla="*/ 14 h 40"/>
                <a:gd name="T18" fmla="*/ 17 w 29"/>
                <a:gd name="T19" fmla="*/ 16 h 40"/>
                <a:gd name="T20" fmla="*/ 22 w 29"/>
                <a:gd name="T21" fmla="*/ 18 h 40"/>
                <a:gd name="T22" fmla="*/ 26 w 29"/>
                <a:gd name="T23" fmla="*/ 21 h 40"/>
                <a:gd name="T24" fmla="*/ 29 w 29"/>
                <a:gd name="T25" fmla="*/ 24 h 40"/>
                <a:gd name="T26" fmla="*/ 29 w 29"/>
                <a:gd name="T27" fmla="*/ 29 h 40"/>
                <a:gd name="T28" fmla="*/ 28 w 29"/>
                <a:gd name="T29" fmla="*/ 34 h 40"/>
                <a:gd name="T30" fmla="*/ 25 w 29"/>
                <a:gd name="T31" fmla="*/ 38 h 40"/>
                <a:gd name="T32" fmla="*/ 21 w 29"/>
                <a:gd name="T33" fmla="*/ 40 h 40"/>
                <a:gd name="T34" fmla="*/ 15 w 29"/>
                <a:gd name="T35" fmla="*/ 40 h 40"/>
                <a:gd name="T36" fmla="*/ 7 w 29"/>
                <a:gd name="T37" fmla="*/ 39 h 40"/>
                <a:gd name="T38" fmla="*/ 0 w 29"/>
                <a:gd name="T39" fmla="*/ 35 h 40"/>
                <a:gd name="T40" fmla="*/ 4 w 29"/>
                <a:gd name="T41" fmla="*/ 30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20 w 29"/>
                <a:gd name="T53" fmla="*/ 26 h 40"/>
                <a:gd name="T54" fmla="*/ 17 w 29"/>
                <a:gd name="T55" fmla="*/ 24 h 40"/>
                <a:gd name="T56" fmla="*/ 13 w 29"/>
                <a:gd name="T57" fmla="*/ 23 h 40"/>
                <a:gd name="T58" fmla="*/ 8 w 29"/>
                <a:gd name="T59" fmla="*/ 20 h 40"/>
                <a:gd name="T60" fmla="*/ 4 w 29"/>
                <a:gd name="T61" fmla="*/ 18 h 40"/>
                <a:gd name="T62" fmla="*/ 2 w 29"/>
                <a:gd name="T63" fmla="*/ 15 h 40"/>
                <a:gd name="T64" fmla="*/ 2 w 29"/>
                <a:gd name="T65" fmla="*/ 11 h 40"/>
                <a:gd name="T66" fmla="*/ 3 w 29"/>
                <a:gd name="T67" fmla="*/ 6 h 40"/>
                <a:gd name="T68" fmla="*/ 6 w 29"/>
                <a:gd name="T69" fmla="*/ 3 h 40"/>
                <a:gd name="T70" fmla="*/ 10 w 29"/>
                <a:gd name="T71" fmla="*/ 1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5" y="10"/>
                    <a:pt x="25" y="10"/>
                    <a:pt x="25" y="10"/>
                  </a:cubicBezTo>
                  <a:cubicBezTo>
                    <a:pt x="23" y="9"/>
                    <a:pt x="22" y="8"/>
                    <a:pt x="20" y="8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2" y="7"/>
                    <a:pt x="11" y="8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1"/>
                    <a:pt x="10" y="11"/>
                    <a:pt x="10" y="12"/>
                  </a:cubicBezTo>
                  <a:cubicBezTo>
                    <a:pt x="10" y="12"/>
                    <a:pt x="10" y="13"/>
                    <a:pt x="11" y="13"/>
                  </a:cubicBezTo>
                  <a:cubicBezTo>
                    <a:pt x="11" y="13"/>
                    <a:pt x="12" y="14"/>
                    <a:pt x="13" y="14"/>
                  </a:cubicBezTo>
                  <a:cubicBezTo>
                    <a:pt x="14" y="15"/>
                    <a:pt x="15" y="15"/>
                    <a:pt x="17" y="16"/>
                  </a:cubicBezTo>
                  <a:cubicBezTo>
                    <a:pt x="19" y="17"/>
                    <a:pt x="21" y="18"/>
                    <a:pt x="22" y="18"/>
                  </a:cubicBezTo>
                  <a:cubicBezTo>
                    <a:pt x="24" y="19"/>
                    <a:pt x="25" y="20"/>
                    <a:pt x="26" y="21"/>
                  </a:cubicBezTo>
                  <a:cubicBezTo>
                    <a:pt x="27" y="22"/>
                    <a:pt x="28" y="23"/>
                    <a:pt x="29" y="24"/>
                  </a:cubicBezTo>
                  <a:cubicBezTo>
                    <a:pt x="29" y="25"/>
                    <a:pt x="29" y="27"/>
                    <a:pt x="29" y="29"/>
                  </a:cubicBezTo>
                  <a:cubicBezTo>
                    <a:pt x="29" y="31"/>
                    <a:pt x="29" y="33"/>
                    <a:pt x="28" y="34"/>
                  </a:cubicBezTo>
                  <a:cubicBezTo>
                    <a:pt x="28" y="36"/>
                    <a:pt x="26" y="37"/>
                    <a:pt x="25" y="38"/>
                  </a:cubicBezTo>
                  <a:cubicBezTo>
                    <a:pt x="24" y="39"/>
                    <a:pt x="22" y="39"/>
                    <a:pt x="21" y="40"/>
                  </a:cubicBezTo>
                  <a:cubicBezTo>
                    <a:pt x="19" y="40"/>
                    <a:pt x="17" y="40"/>
                    <a:pt x="15" y="40"/>
                  </a:cubicBezTo>
                  <a:cubicBezTo>
                    <a:pt x="13" y="40"/>
                    <a:pt x="10" y="40"/>
                    <a:pt x="7" y="39"/>
                  </a:cubicBezTo>
                  <a:cubicBezTo>
                    <a:pt x="5" y="38"/>
                    <a:pt x="2" y="37"/>
                    <a:pt x="0" y="35"/>
                  </a:cubicBezTo>
                  <a:cubicBezTo>
                    <a:pt x="4" y="30"/>
                    <a:pt x="4" y="30"/>
                    <a:pt x="4" y="30"/>
                  </a:cubicBezTo>
                  <a:cubicBezTo>
                    <a:pt x="6" y="31"/>
                    <a:pt x="7" y="32"/>
                    <a:pt x="9" y="32"/>
                  </a:cubicBezTo>
                  <a:cubicBezTo>
                    <a:pt x="11" y="33"/>
                    <a:pt x="13" y="33"/>
                    <a:pt x="15" y="33"/>
                  </a:cubicBezTo>
                  <a:cubicBezTo>
                    <a:pt x="17" y="33"/>
                    <a:pt x="19" y="33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8"/>
                    <a:pt x="21" y="27"/>
                  </a:cubicBezTo>
                  <a:cubicBezTo>
                    <a:pt x="21" y="27"/>
                    <a:pt x="20" y="26"/>
                    <a:pt x="20" y="26"/>
                  </a:cubicBezTo>
                  <a:cubicBezTo>
                    <a:pt x="19" y="25"/>
                    <a:pt x="18" y="25"/>
                    <a:pt x="17" y="24"/>
                  </a:cubicBezTo>
                  <a:cubicBezTo>
                    <a:pt x="16" y="24"/>
                    <a:pt x="15" y="23"/>
                    <a:pt x="13" y="23"/>
                  </a:cubicBezTo>
                  <a:cubicBezTo>
                    <a:pt x="11" y="22"/>
                    <a:pt x="9" y="21"/>
                    <a:pt x="8" y="20"/>
                  </a:cubicBezTo>
                  <a:cubicBezTo>
                    <a:pt x="6" y="19"/>
                    <a:pt x="5" y="19"/>
                    <a:pt x="4" y="18"/>
                  </a:cubicBezTo>
                  <a:cubicBezTo>
                    <a:pt x="3" y="17"/>
                    <a:pt x="3" y="16"/>
                    <a:pt x="2" y="15"/>
                  </a:cubicBezTo>
                  <a:cubicBezTo>
                    <a:pt x="2" y="13"/>
                    <a:pt x="2" y="12"/>
                    <a:pt x="2" y="11"/>
                  </a:cubicBezTo>
                  <a:cubicBezTo>
                    <a:pt x="2" y="9"/>
                    <a:pt x="2" y="7"/>
                    <a:pt x="3" y="6"/>
                  </a:cubicBezTo>
                  <a:cubicBezTo>
                    <a:pt x="3" y="5"/>
                    <a:pt x="4" y="4"/>
                    <a:pt x="6" y="3"/>
                  </a:cubicBezTo>
                  <a:cubicBezTo>
                    <a:pt x="7" y="2"/>
                    <a:pt x="8" y="1"/>
                    <a:pt x="10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20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52" name="Freeform 70">
              <a:extLst>
                <a:ext uri="{FF2B5EF4-FFF2-40B4-BE49-F238E27FC236}">
                  <a16:creationId xmlns:a16="http://schemas.microsoft.com/office/drawing/2014/main" id="{07A005EC-C937-4146-8D02-C00C5931EB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23096" y="6489826"/>
              <a:ext cx="27899" cy="31387"/>
            </a:xfrm>
            <a:custGeom>
              <a:avLst/>
              <a:gdLst>
                <a:gd name="T0" fmla="*/ 11 w 11"/>
                <a:gd name="T1" fmla="*/ 6 h 12"/>
                <a:gd name="T2" fmla="*/ 11 w 11"/>
                <a:gd name="T3" fmla="*/ 9 h 12"/>
                <a:gd name="T4" fmla="*/ 10 w 11"/>
                <a:gd name="T5" fmla="*/ 10 h 12"/>
                <a:gd name="T6" fmla="*/ 8 w 11"/>
                <a:gd name="T7" fmla="*/ 12 h 12"/>
                <a:gd name="T8" fmla="*/ 6 w 11"/>
                <a:gd name="T9" fmla="*/ 12 h 12"/>
                <a:gd name="T10" fmla="*/ 3 w 11"/>
                <a:gd name="T11" fmla="*/ 12 h 12"/>
                <a:gd name="T12" fmla="*/ 1 w 11"/>
                <a:gd name="T13" fmla="*/ 10 h 12"/>
                <a:gd name="T14" fmla="*/ 0 w 11"/>
                <a:gd name="T15" fmla="*/ 9 h 12"/>
                <a:gd name="T16" fmla="*/ 0 w 11"/>
                <a:gd name="T17" fmla="*/ 6 h 12"/>
                <a:gd name="T18" fmla="*/ 0 w 11"/>
                <a:gd name="T19" fmla="*/ 4 h 12"/>
                <a:gd name="T20" fmla="*/ 1 w 11"/>
                <a:gd name="T21" fmla="*/ 2 h 12"/>
                <a:gd name="T22" fmla="*/ 3 w 11"/>
                <a:gd name="T23" fmla="*/ 1 h 12"/>
                <a:gd name="T24" fmla="*/ 6 w 11"/>
                <a:gd name="T25" fmla="*/ 0 h 12"/>
                <a:gd name="T26" fmla="*/ 8 w 11"/>
                <a:gd name="T27" fmla="*/ 1 h 12"/>
                <a:gd name="T28" fmla="*/ 10 w 11"/>
                <a:gd name="T29" fmla="*/ 2 h 12"/>
                <a:gd name="T30" fmla="*/ 11 w 11"/>
                <a:gd name="T31" fmla="*/ 4 h 12"/>
                <a:gd name="T32" fmla="*/ 11 w 11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" h="12">
                  <a:moveTo>
                    <a:pt x="11" y="6"/>
                  </a:moveTo>
                  <a:cubicBezTo>
                    <a:pt x="11" y="7"/>
                    <a:pt x="11" y="8"/>
                    <a:pt x="11" y="9"/>
                  </a:cubicBezTo>
                  <a:cubicBezTo>
                    <a:pt x="11" y="9"/>
                    <a:pt x="10" y="10"/>
                    <a:pt x="10" y="10"/>
                  </a:cubicBezTo>
                  <a:cubicBezTo>
                    <a:pt x="9" y="11"/>
                    <a:pt x="9" y="11"/>
                    <a:pt x="8" y="12"/>
                  </a:cubicBezTo>
                  <a:cubicBezTo>
                    <a:pt x="7" y="12"/>
                    <a:pt x="6" y="12"/>
                    <a:pt x="6" y="12"/>
                  </a:cubicBezTo>
                  <a:cubicBezTo>
                    <a:pt x="5" y="12"/>
                    <a:pt x="4" y="12"/>
                    <a:pt x="3" y="12"/>
                  </a:cubicBezTo>
                  <a:cubicBezTo>
                    <a:pt x="3" y="11"/>
                    <a:pt x="2" y="11"/>
                    <a:pt x="1" y="10"/>
                  </a:cubicBezTo>
                  <a:cubicBezTo>
                    <a:pt x="1" y="10"/>
                    <a:pt x="1" y="9"/>
                    <a:pt x="0" y="9"/>
                  </a:cubicBezTo>
                  <a:cubicBezTo>
                    <a:pt x="0" y="8"/>
                    <a:pt x="0" y="7"/>
                    <a:pt x="0" y="6"/>
                  </a:cubicBezTo>
                  <a:cubicBezTo>
                    <a:pt x="0" y="6"/>
                    <a:pt x="0" y="5"/>
                    <a:pt x="0" y="4"/>
                  </a:cubicBezTo>
                  <a:cubicBezTo>
                    <a:pt x="1" y="3"/>
                    <a:pt x="1" y="3"/>
                    <a:pt x="1" y="2"/>
                  </a:cubicBezTo>
                  <a:cubicBezTo>
                    <a:pt x="2" y="2"/>
                    <a:pt x="3" y="1"/>
                    <a:pt x="3" y="1"/>
                  </a:cubicBezTo>
                  <a:cubicBezTo>
                    <a:pt x="4" y="1"/>
                    <a:pt x="5" y="0"/>
                    <a:pt x="6" y="0"/>
                  </a:cubicBezTo>
                  <a:cubicBezTo>
                    <a:pt x="6" y="0"/>
                    <a:pt x="7" y="1"/>
                    <a:pt x="8" y="1"/>
                  </a:cubicBezTo>
                  <a:cubicBezTo>
                    <a:pt x="9" y="1"/>
                    <a:pt x="9" y="2"/>
                    <a:pt x="10" y="2"/>
                  </a:cubicBezTo>
                  <a:cubicBezTo>
                    <a:pt x="10" y="3"/>
                    <a:pt x="11" y="3"/>
                    <a:pt x="11" y="4"/>
                  </a:cubicBezTo>
                  <a:cubicBezTo>
                    <a:pt x="11" y="5"/>
                    <a:pt x="11" y="6"/>
                    <a:pt x="11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</p:grpSp>
      <p:sp>
        <p:nvSpPr>
          <p:cNvPr id="263" name="Title 1">
            <a:extLst>
              <a:ext uri="{FF2B5EF4-FFF2-40B4-BE49-F238E27FC236}">
                <a16:creationId xmlns:a16="http://schemas.microsoft.com/office/drawing/2014/main" id="{3F36D6CC-3534-47CC-AECE-83EDA4639FB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44388" y="2158329"/>
            <a:ext cx="3998354" cy="860400"/>
          </a:xfrm>
          <a:prstGeom prst="rect">
            <a:avLst/>
          </a:prstGeom>
        </p:spPr>
        <p:txBody>
          <a:bodyPr/>
          <a:lstStyle>
            <a:lvl1pPr>
              <a:defRPr sz="2998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64" name="Subtitle 2">
            <a:extLst>
              <a:ext uri="{FF2B5EF4-FFF2-40B4-BE49-F238E27FC236}">
                <a16:creationId xmlns:a16="http://schemas.microsoft.com/office/drawing/2014/main" id="{C26FB38E-4E99-4AFB-8C8C-F03F7A963D9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44580" y="3200329"/>
            <a:ext cx="4018535" cy="64574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998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  <a:lvl2pPr marL="0" indent="0" algn="l">
              <a:buNone/>
              <a:defRPr sz="1598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9134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2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69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37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04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72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3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GB"/>
          </a:p>
        </p:txBody>
      </p:sp>
      <p:grpSp>
        <p:nvGrpSpPr>
          <p:cNvPr id="82" name="Group 4">
            <a:extLst>
              <a:ext uri="{FF2B5EF4-FFF2-40B4-BE49-F238E27FC236}">
                <a16:creationId xmlns:a16="http://schemas.microsoft.com/office/drawing/2014/main" id="{A63454B3-EB4E-450A-98AA-6B5943D89732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59392" y="4960938"/>
            <a:ext cx="1224912" cy="1435100"/>
            <a:chOff x="6529" y="3125"/>
            <a:chExt cx="772" cy="904"/>
          </a:xfrm>
        </p:grpSpPr>
        <p:sp>
          <p:nvSpPr>
            <p:cNvPr id="83" name="Freeform 5">
              <a:extLst>
                <a:ext uri="{FF2B5EF4-FFF2-40B4-BE49-F238E27FC236}">
                  <a16:creationId xmlns:a16="http://schemas.microsoft.com/office/drawing/2014/main" id="{C4ED221A-C963-42C0-91ED-C597F6BDAF9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/>
            </a:p>
          </p:txBody>
        </p:sp>
        <p:sp>
          <p:nvSpPr>
            <p:cNvPr id="84" name="Freeform 6">
              <a:extLst>
                <a:ext uri="{FF2B5EF4-FFF2-40B4-BE49-F238E27FC236}">
                  <a16:creationId xmlns:a16="http://schemas.microsoft.com/office/drawing/2014/main" id="{7956D1CB-5F24-4766-80AE-D7551538344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/>
            </a:p>
          </p:txBody>
        </p:sp>
      </p:grpSp>
    </p:spTree>
    <p:extLst>
      <p:ext uri="{BB962C8B-B14F-4D97-AF65-F5344CB8AC3E}">
        <p14:creationId xmlns:p14="http://schemas.microsoft.com/office/powerpoint/2010/main" val="198402234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2" y="294200"/>
            <a:ext cx="10972800" cy="590400"/>
          </a:xfrm>
        </p:spPr>
        <p:txBody>
          <a:bodyPr/>
          <a:lstStyle>
            <a:lvl1pPr>
              <a:defRPr sz="2398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2" name="Line 10">
            <a:extLst>
              <a:ext uri="{FF2B5EF4-FFF2-40B4-BE49-F238E27FC236}">
                <a16:creationId xmlns:a16="http://schemas.microsoft.com/office/drawing/2014/main" id="{DA9741B6-D337-4A18-8ECB-FB21A6953E44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601" y="907750"/>
            <a:ext cx="10974284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8" noProof="0" dirty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48806A2-2AA7-4EC7-8FA5-6DD8E9FC1A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B14021-CB4E-4A4F-8709-D33FAB29C8FB}" type="datetime3">
              <a:rPr lang="en-US" smtClean="0"/>
              <a:t>5 August 2022</a:t>
            </a:fld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C56F6B4-9E49-490D-8FE1-DB9035090F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Presentation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3C35AEC-478D-4BBF-9883-4CE09EB36A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AC5F387F-0A77-424D-88D8-FFE5F0CA22D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2" y="1137920"/>
            <a:ext cx="10972800" cy="49479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49238105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602" y="294200"/>
            <a:ext cx="10972800" cy="590400"/>
          </a:xfrm>
        </p:spPr>
        <p:txBody>
          <a:bodyPr/>
          <a:lstStyle>
            <a:lvl1pPr>
              <a:defRPr sz="2398">
                <a:solidFill>
                  <a:schemeClr val="bg1"/>
                </a:solidFill>
              </a:defRPr>
            </a:lvl1pPr>
          </a:lstStyle>
          <a:p>
            <a:r>
              <a:rPr lang="en-US"/>
              <a:t>Standard slide</a:t>
            </a:r>
            <a:endParaRPr lang="en-GB"/>
          </a:p>
        </p:txBody>
      </p:sp>
      <p:sp>
        <p:nvSpPr>
          <p:cNvPr id="80" name="Line 10">
            <a:extLst>
              <a:ext uri="{FF2B5EF4-FFF2-40B4-BE49-F238E27FC236}">
                <a16:creationId xmlns:a16="http://schemas.microsoft.com/office/drawing/2014/main" id="{EF8E9275-C0E0-4ABA-8699-73E5E292EC85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601" y="907750"/>
            <a:ext cx="10974284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8" noProof="0" dirty="0">
              <a:solidFill>
                <a:schemeClr val="bg1"/>
              </a:solidFill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0F0AABF-D862-4E52-856A-98A908BD81E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19B0F1-44AD-42A5-9A37-2FB41F1EC903}" type="datetime3">
              <a:rPr lang="en-US" smtClean="0"/>
              <a:t>5 August 2022</a:t>
            </a:fld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F5FDC76-F946-4827-A773-FCD68068B8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Presentation tit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ABF873B-E40B-4AF7-8D2F-967775EB8E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109339252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80593A0-4211-460E-B6CF-FE2D9CE6D9C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194853" y="1"/>
            <a:ext cx="3997149" cy="6156104"/>
          </a:xfrm>
        </p:spPr>
        <p:txBody>
          <a:bodyPr/>
          <a:lstStyle/>
          <a:p>
            <a:endParaRPr lang="en-IN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94200"/>
            <a:ext cx="7440547" cy="590400"/>
          </a:xfrm>
        </p:spPr>
        <p:txBody>
          <a:bodyPr/>
          <a:lstStyle>
            <a:lvl1pPr>
              <a:defRPr sz="2398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09601" y="1137921"/>
            <a:ext cx="7295842" cy="873760"/>
          </a:xfrm>
        </p:spPr>
        <p:txBody>
          <a:bodyPr/>
          <a:lstStyle>
            <a:lvl1pPr marL="0" indent="0">
              <a:buNone/>
              <a:defRPr sz="1798">
                <a:solidFill>
                  <a:schemeClr val="bg1"/>
                </a:solidFill>
              </a:defRPr>
            </a:lvl1pPr>
            <a:lvl2pPr marL="356260" indent="0">
              <a:buNone/>
              <a:defRPr sz="1798">
                <a:solidFill>
                  <a:schemeClr val="bg1"/>
                </a:solidFill>
              </a:defRPr>
            </a:lvl2pPr>
            <a:lvl3pPr marL="712519" indent="0">
              <a:buNone/>
              <a:defRPr sz="1598">
                <a:solidFill>
                  <a:schemeClr val="bg1"/>
                </a:solidFill>
              </a:defRPr>
            </a:lvl3pPr>
            <a:lvl4pPr marL="1068778" indent="0">
              <a:buNone/>
              <a:defRPr sz="1398">
                <a:solidFill>
                  <a:schemeClr val="bg1"/>
                </a:solidFill>
              </a:defRPr>
            </a:lvl4pPr>
            <a:lvl5pPr marL="1425038" indent="0">
              <a:buNone/>
              <a:defRPr sz="1198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78D3272-120F-430D-AFB5-E93227EEEAAF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609602" y="2311401"/>
            <a:ext cx="3578253" cy="3844704"/>
          </a:xfrm>
        </p:spPr>
        <p:txBody>
          <a:bodyPr numCol="1"/>
          <a:lstStyle>
            <a:lvl1pPr marL="0" indent="0">
              <a:buNone/>
              <a:defRPr sz="1398">
                <a:solidFill>
                  <a:schemeClr val="bg1"/>
                </a:solidFill>
              </a:defRPr>
            </a:lvl1pPr>
            <a:lvl2pPr marL="356260" indent="0">
              <a:buNone/>
              <a:defRPr sz="1798">
                <a:solidFill>
                  <a:schemeClr val="bg1"/>
                </a:solidFill>
              </a:defRPr>
            </a:lvl2pPr>
            <a:lvl3pPr marL="712519" indent="0">
              <a:buNone/>
              <a:defRPr sz="1598">
                <a:solidFill>
                  <a:schemeClr val="bg1"/>
                </a:solidFill>
              </a:defRPr>
            </a:lvl3pPr>
            <a:lvl4pPr marL="1068778" indent="0">
              <a:buNone/>
              <a:defRPr sz="1398">
                <a:solidFill>
                  <a:schemeClr val="bg1"/>
                </a:solidFill>
              </a:defRPr>
            </a:lvl4pPr>
            <a:lvl5pPr marL="1425038" indent="0">
              <a:buNone/>
              <a:defRPr sz="1198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0C7BD71A-882B-40FB-A05F-48ECC69FF73D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4327191" y="2311404"/>
            <a:ext cx="3578253" cy="1254759"/>
          </a:xfrm>
        </p:spPr>
        <p:txBody>
          <a:bodyPr numCol="1"/>
          <a:lstStyle>
            <a:lvl1pPr marL="0" indent="0">
              <a:buNone/>
              <a:defRPr sz="1398">
                <a:solidFill>
                  <a:schemeClr val="bg1"/>
                </a:solidFill>
              </a:defRPr>
            </a:lvl1pPr>
            <a:lvl2pPr marL="356260" indent="0">
              <a:buNone/>
              <a:defRPr sz="1798">
                <a:solidFill>
                  <a:schemeClr val="bg1"/>
                </a:solidFill>
              </a:defRPr>
            </a:lvl2pPr>
            <a:lvl3pPr marL="712519" indent="0">
              <a:buNone/>
              <a:defRPr sz="1598">
                <a:solidFill>
                  <a:schemeClr val="bg1"/>
                </a:solidFill>
              </a:defRPr>
            </a:lvl3pPr>
            <a:lvl4pPr marL="1068778" indent="0">
              <a:buNone/>
              <a:defRPr sz="1398">
                <a:solidFill>
                  <a:schemeClr val="bg1"/>
                </a:solidFill>
              </a:defRPr>
            </a:lvl4pPr>
            <a:lvl5pPr marL="1425038" indent="0">
              <a:buNone/>
              <a:defRPr sz="1198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D87D58C8-1517-42AA-8B2A-E449A3F6F028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327191" y="4236721"/>
            <a:ext cx="3578253" cy="1944160"/>
          </a:xfrm>
        </p:spPr>
        <p:txBody>
          <a:bodyPr numCol="1"/>
          <a:lstStyle>
            <a:lvl1pPr marL="0" indent="0">
              <a:buNone/>
              <a:defRPr sz="1798">
                <a:solidFill>
                  <a:schemeClr val="bg1"/>
                </a:solidFill>
                <a:latin typeface="Georgia" panose="02040502050405020303" pitchFamily="18" charset="0"/>
              </a:defRPr>
            </a:lvl1pPr>
            <a:lvl2pPr marL="356260" indent="0">
              <a:buNone/>
              <a:defRPr sz="1798">
                <a:solidFill>
                  <a:schemeClr val="bg1"/>
                </a:solidFill>
              </a:defRPr>
            </a:lvl2pPr>
            <a:lvl3pPr marL="712519" indent="0">
              <a:buNone/>
              <a:defRPr sz="1598">
                <a:solidFill>
                  <a:schemeClr val="bg1"/>
                </a:solidFill>
              </a:defRPr>
            </a:lvl3pPr>
            <a:lvl4pPr marL="1068778" indent="0">
              <a:buNone/>
              <a:defRPr sz="1398">
                <a:solidFill>
                  <a:schemeClr val="bg1"/>
                </a:solidFill>
              </a:defRPr>
            </a:lvl4pPr>
            <a:lvl5pPr marL="1425038" indent="0">
              <a:buNone/>
              <a:defRPr sz="1198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Quote</a:t>
            </a:r>
          </a:p>
        </p:txBody>
      </p:sp>
      <p:sp>
        <p:nvSpPr>
          <p:cNvPr id="23" name="Line 10">
            <a:extLst>
              <a:ext uri="{FF2B5EF4-FFF2-40B4-BE49-F238E27FC236}">
                <a16:creationId xmlns:a16="http://schemas.microsoft.com/office/drawing/2014/main" id="{E820DC59-E206-4DC0-9012-584F8EBAF730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602" y="907750"/>
            <a:ext cx="7719833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8" noProof="0" dirty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8FDA286-FC7C-4768-AFFF-1618056D687D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FAA65521-E907-4B6A-8E88-DD4BEE4ED137}" type="datetime3">
              <a:rPr lang="en-US" smtClean="0"/>
              <a:t>5 August 2022</a:t>
            </a:fld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9C73E4D-1EBD-404A-B8F4-9B8AD7336F3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dirty="0"/>
              <a:t>Presentation titl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159C267-49E7-46A8-B353-C5EB81154AB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GB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882230239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80593A0-4211-460E-B6CF-FE2D9CE6D9C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" y="3"/>
            <a:ext cx="2383219" cy="6857999"/>
          </a:xfrm>
        </p:spPr>
        <p:txBody>
          <a:bodyPr/>
          <a:lstStyle/>
          <a:p>
            <a:endParaRPr lang="en-IN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3891" y="294200"/>
            <a:ext cx="8887371" cy="590400"/>
          </a:xfrm>
        </p:spPr>
        <p:txBody>
          <a:bodyPr/>
          <a:lstStyle>
            <a:lvl1pPr>
              <a:defRPr sz="2398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693890" y="1137921"/>
            <a:ext cx="2741454" cy="5018184"/>
          </a:xfrm>
        </p:spPr>
        <p:txBody>
          <a:bodyPr/>
          <a:lstStyle>
            <a:lvl1pPr marL="0" indent="0">
              <a:buNone/>
              <a:defRPr sz="1798">
                <a:solidFill>
                  <a:schemeClr val="bg1"/>
                </a:solidFill>
              </a:defRPr>
            </a:lvl1pPr>
            <a:lvl2pPr marL="356260" indent="0">
              <a:buNone/>
              <a:defRPr sz="1798">
                <a:solidFill>
                  <a:schemeClr val="bg1"/>
                </a:solidFill>
              </a:defRPr>
            </a:lvl2pPr>
            <a:lvl3pPr marL="712519" indent="0">
              <a:buNone/>
              <a:defRPr sz="1598">
                <a:solidFill>
                  <a:schemeClr val="bg1"/>
                </a:solidFill>
              </a:defRPr>
            </a:lvl3pPr>
            <a:lvl4pPr marL="1068778" indent="0">
              <a:buNone/>
              <a:defRPr sz="1398">
                <a:solidFill>
                  <a:schemeClr val="bg1"/>
                </a:solidFill>
              </a:defRPr>
            </a:lvl4pPr>
            <a:lvl5pPr marL="1425038" indent="0">
              <a:buNone/>
              <a:defRPr sz="1198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78D3272-120F-430D-AFB5-E93227EEEAAF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5724102" y="1137921"/>
            <a:ext cx="2802382" cy="5018184"/>
          </a:xfrm>
        </p:spPr>
        <p:txBody>
          <a:bodyPr numCol="1"/>
          <a:lstStyle>
            <a:lvl1pPr marL="0" indent="0">
              <a:buNone/>
              <a:defRPr sz="1398">
                <a:solidFill>
                  <a:schemeClr val="bg1"/>
                </a:solidFill>
              </a:defRPr>
            </a:lvl1pPr>
            <a:lvl2pPr marL="356260" indent="0">
              <a:buNone/>
              <a:defRPr sz="1798">
                <a:solidFill>
                  <a:schemeClr val="bg1"/>
                </a:solidFill>
              </a:defRPr>
            </a:lvl2pPr>
            <a:lvl3pPr marL="712519" indent="0">
              <a:buNone/>
              <a:defRPr sz="1598">
                <a:solidFill>
                  <a:schemeClr val="bg1"/>
                </a:solidFill>
              </a:defRPr>
            </a:lvl3pPr>
            <a:lvl4pPr marL="1068778" indent="0">
              <a:buNone/>
              <a:defRPr sz="1398">
                <a:solidFill>
                  <a:schemeClr val="bg1"/>
                </a:solidFill>
              </a:defRPr>
            </a:lvl4pPr>
            <a:lvl5pPr marL="1425038" indent="0">
              <a:buNone/>
              <a:defRPr sz="1198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6FF4A6F8-D9C6-4FEE-9324-5200D308BB1F}"/>
              </a:ext>
            </a:extLst>
          </p:cNvPr>
          <p:cNvSpPr>
            <a:spLocks noGrp="1"/>
          </p:cNvSpPr>
          <p:nvPr userDrawn="1">
            <p:ph idx="12" hasCustomPrompt="1"/>
          </p:nvPr>
        </p:nvSpPr>
        <p:spPr>
          <a:xfrm>
            <a:off x="8815242" y="1137924"/>
            <a:ext cx="2767159" cy="2796151"/>
          </a:xfrm>
        </p:spPr>
        <p:txBody>
          <a:bodyPr numCol="1"/>
          <a:lstStyle>
            <a:lvl1pPr marL="0" indent="0">
              <a:buNone/>
              <a:defRPr sz="1398">
                <a:solidFill>
                  <a:schemeClr val="bg1"/>
                </a:solidFill>
              </a:defRPr>
            </a:lvl1pPr>
            <a:lvl2pPr marL="356260" indent="0">
              <a:buNone/>
              <a:defRPr sz="1798">
                <a:solidFill>
                  <a:schemeClr val="bg1"/>
                </a:solidFill>
              </a:defRPr>
            </a:lvl2pPr>
            <a:lvl3pPr marL="712519" indent="0">
              <a:buNone/>
              <a:defRPr sz="1598">
                <a:solidFill>
                  <a:schemeClr val="bg1"/>
                </a:solidFill>
              </a:defRPr>
            </a:lvl3pPr>
            <a:lvl4pPr marL="1068778" indent="0">
              <a:buNone/>
              <a:defRPr sz="1398">
                <a:solidFill>
                  <a:schemeClr val="bg1"/>
                </a:solidFill>
              </a:defRPr>
            </a:lvl4pPr>
            <a:lvl5pPr marL="1425038" indent="0">
              <a:buNone/>
              <a:defRPr sz="1198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9" name="Line 10">
            <a:extLst>
              <a:ext uri="{FF2B5EF4-FFF2-40B4-BE49-F238E27FC236}">
                <a16:creationId xmlns:a16="http://schemas.microsoft.com/office/drawing/2014/main" id="{B63A7CBA-3151-452E-BD2F-D3E65CE1595F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2693891" y="907750"/>
            <a:ext cx="8887371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8" noProof="0" dirty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57DDD53-DA5D-4F66-8EAA-913A40461E30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B2FB67F6-71E2-4CE9-9767-63F7E639F73F}" type="datetime3">
              <a:rPr lang="en-US" smtClean="0"/>
              <a:t>5 August 2022</a:t>
            </a:fld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9A18168-B280-402E-8310-35BC958D390B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 dirty="0"/>
              <a:t>Presentation titl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7D562B9-5194-4705-ABBD-89576E2CC7A3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GB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87812211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2" y="294200"/>
            <a:ext cx="10972800" cy="590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2" y="1137920"/>
            <a:ext cx="8234455" cy="48348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None/>
              <a:defRPr sz="1798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None/>
              <a:defRPr sz="1598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buNone/>
              <a:defRPr sz="1398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buNone/>
              <a:defRPr sz="1198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9" name="Line 10">
            <a:extLst>
              <a:ext uri="{FF2B5EF4-FFF2-40B4-BE49-F238E27FC236}">
                <a16:creationId xmlns:a16="http://schemas.microsoft.com/office/drawing/2014/main" id="{CF130104-FAF2-4309-9701-573F37743137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601" y="907750"/>
            <a:ext cx="10974284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8" noProof="0" dirty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0869D6F-A030-48CA-9C7C-9FC3A6F1F67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6D7102-DD97-4F84-8724-387B81A0E6ED}" type="datetime3">
              <a:rPr lang="en-US" smtClean="0"/>
              <a:t>5 August 2022</a:t>
            </a:fld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F02C3F7-BD0A-4AD4-95D8-328DA6F539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Presentation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E4422C8-68BE-4650-89F1-3BECCFF9B5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197811284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697C43D-4F1B-43DA-A0C6-DA6B6708E16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2616" y="2851522"/>
            <a:ext cx="4445485" cy="1202318"/>
          </a:xfrm>
        </p:spPr>
        <p:txBody>
          <a:bodyPr vert="horz" lIns="0" tIns="0" rIns="0" bIns="0" rtlCol="0" anchor="ctr" anchorCtr="0">
            <a:noAutofit/>
          </a:bodyPr>
          <a:lstStyle>
            <a:lvl1pPr marL="0" indent="0">
              <a:buNone/>
              <a:defRPr kumimoji="0" lang="en-IN" sz="3596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 panose="02000506000000020004" pitchFamily="2" charset="0"/>
                <a:ea typeface="+mj-ea"/>
                <a:cs typeface="+mj-cs"/>
              </a:defRPr>
            </a:lvl1pPr>
          </a:lstStyle>
          <a:p>
            <a:pPr marL="356260" marR="0" lvl="0" indent="-356260" defTabSz="1006879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Chapter Title</a:t>
            </a:r>
            <a:endParaRPr lang="en-IN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984443D1-37A3-4969-A6D3-4E99E05604B9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C1498488-8765-4B8D-9D72-8E71718AE3EF}" type="datetime3">
              <a:rPr lang="en-US" smtClean="0"/>
              <a:t>5 August 2022</a:t>
            </a:fld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AB04F4-59F4-4102-9BBD-DB62B48E184D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/>
              <a:t>Presentation tit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499AB0A-887B-46B8-BA72-781970F002C7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en-GB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01310867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80593A0-4211-460E-B6CF-FE2D9CE6D9C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194852" y="1"/>
            <a:ext cx="3997149" cy="6156104"/>
          </a:xfrm>
        </p:spPr>
        <p:txBody>
          <a:bodyPr/>
          <a:lstStyle/>
          <a:p>
            <a:endParaRPr lang="en-IN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94200"/>
            <a:ext cx="7440547" cy="590400"/>
          </a:xfrm>
        </p:spPr>
        <p:txBody>
          <a:bodyPr/>
          <a:lstStyle>
            <a:lvl1pPr>
              <a:defRPr sz="2399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09601" y="1137921"/>
            <a:ext cx="7295842" cy="873760"/>
          </a:xfrm>
        </p:spPr>
        <p:txBody>
          <a:bodyPr/>
          <a:lstStyle>
            <a:lvl1pPr marL="0" indent="0">
              <a:buNone/>
              <a:defRPr sz="1799">
                <a:solidFill>
                  <a:schemeClr val="bg1"/>
                </a:solidFill>
              </a:defRPr>
            </a:lvl1pPr>
            <a:lvl2pPr marL="356438" indent="0">
              <a:buNone/>
              <a:defRPr sz="1799">
                <a:solidFill>
                  <a:schemeClr val="bg1"/>
                </a:solidFill>
              </a:defRPr>
            </a:lvl2pPr>
            <a:lvl3pPr marL="712875" indent="0">
              <a:buNone/>
              <a:defRPr sz="1599">
                <a:solidFill>
                  <a:schemeClr val="bg1"/>
                </a:solidFill>
              </a:defRPr>
            </a:lvl3pPr>
            <a:lvl4pPr marL="1069313" indent="0">
              <a:buNone/>
              <a:defRPr sz="1399">
                <a:solidFill>
                  <a:schemeClr val="bg1"/>
                </a:solidFill>
              </a:defRPr>
            </a:lvl4pPr>
            <a:lvl5pPr marL="1425751" indent="0">
              <a:buNone/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78D3272-120F-430D-AFB5-E93227EEEAAF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609601" y="2311401"/>
            <a:ext cx="3578253" cy="3844704"/>
          </a:xfrm>
        </p:spPr>
        <p:txBody>
          <a:bodyPr numCol="1"/>
          <a:lstStyle>
            <a:lvl1pPr marL="0" indent="0">
              <a:buNone/>
              <a:defRPr sz="1399">
                <a:solidFill>
                  <a:schemeClr val="bg1"/>
                </a:solidFill>
              </a:defRPr>
            </a:lvl1pPr>
            <a:lvl2pPr marL="356438" indent="0">
              <a:buNone/>
              <a:defRPr sz="1799">
                <a:solidFill>
                  <a:schemeClr val="bg1"/>
                </a:solidFill>
              </a:defRPr>
            </a:lvl2pPr>
            <a:lvl3pPr marL="712875" indent="0">
              <a:buNone/>
              <a:defRPr sz="1599">
                <a:solidFill>
                  <a:schemeClr val="bg1"/>
                </a:solidFill>
              </a:defRPr>
            </a:lvl3pPr>
            <a:lvl4pPr marL="1069313" indent="0">
              <a:buNone/>
              <a:defRPr sz="1399">
                <a:solidFill>
                  <a:schemeClr val="bg1"/>
                </a:solidFill>
              </a:defRPr>
            </a:lvl4pPr>
            <a:lvl5pPr marL="1425751" indent="0">
              <a:buNone/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0C7BD71A-882B-40FB-A05F-48ECC69FF73D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4327190" y="2311402"/>
            <a:ext cx="3578253" cy="1254759"/>
          </a:xfrm>
        </p:spPr>
        <p:txBody>
          <a:bodyPr numCol="1"/>
          <a:lstStyle>
            <a:lvl1pPr marL="0" indent="0">
              <a:buNone/>
              <a:defRPr sz="1399">
                <a:solidFill>
                  <a:schemeClr val="bg1"/>
                </a:solidFill>
              </a:defRPr>
            </a:lvl1pPr>
            <a:lvl2pPr marL="356438" indent="0">
              <a:buNone/>
              <a:defRPr sz="1799">
                <a:solidFill>
                  <a:schemeClr val="bg1"/>
                </a:solidFill>
              </a:defRPr>
            </a:lvl2pPr>
            <a:lvl3pPr marL="712875" indent="0">
              <a:buNone/>
              <a:defRPr sz="1599">
                <a:solidFill>
                  <a:schemeClr val="bg1"/>
                </a:solidFill>
              </a:defRPr>
            </a:lvl3pPr>
            <a:lvl4pPr marL="1069313" indent="0">
              <a:buNone/>
              <a:defRPr sz="1399">
                <a:solidFill>
                  <a:schemeClr val="bg1"/>
                </a:solidFill>
              </a:defRPr>
            </a:lvl4pPr>
            <a:lvl5pPr marL="1425751" indent="0">
              <a:buNone/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D87D58C8-1517-42AA-8B2A-E449A3F6F028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327190" y="4236721"/>
            <a:ext cx="3578253" cy="1944160"/>
          </a:xfrm>
        </p:spPr>
        <p:txBody>
          <a:bodyPr numCol="1"/>
          <a:lstStyle>
            <a:lvl1pPr marL="0" indent="0">
              <a:buNone/>
              <a:defRPr sz="1799">
                <a:solidFill>
                  <a:schemeClr val="bg1"/>
                </a:solidFill>
                <a:latin typeface="Georgia" panose="02040502050405020303" pitchFamily="18" charset="0"/>
              </a:defRPr>
            </a:lvl1pPr>
            <a:lvl2pPr marL="356438" indent="0">
              <a:buNone/>
              <a:defRPr sz="1799">
                <a:solidFill>
                  <a:schemeClr val="bg1"/>
                </a:solidFill>
              </a:defRPr>
            </a:lvl2pPr>
            <a:lvl3pPr marL="712875" indent="0">
              <a:buNone/>
              <a:defRPr sz="1599">
                <a:solidFill>
                  <a:schemeClr val="bg1"/>
                </a:solidFill>
              </a:defRPr>
            </a:lvl3pPr>
            <a:lvl4pPr marL="1069313" indent="0">
              <a:buNone/>
              <a:defRPr sz="1399">
                <a:solidFill>
                  <a:schemeClr val="bg1"/>
                </a:solidFill>
              </a:defRPr>
            </a:lvl4pPr>
            <a:lvl5pPr marL="1425751" indent="0">
              <a:buNone/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Quote</a:t>
            </a:r>
          </a:p>
        </p:txBody>
      </p:sp>
      <p:sp>
        <p:nvSpPr>
          <p:cNvPr id="23" name="Line 10">
            <a:extLst>
              <a:ext uri="{FF2B5EF4-FFF2-40B4-BE49-F238E27FC236}">
                <a16:creationId xmlns:a16="http://schemas.microsoft.com/office/drawing/2014/main" id="{E820DC59-E206-4DC0-9012-584F8EBAF730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601" y="907750"/>
            <a:ext cx="7719833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 dirty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073C7F4-1F66-48B4-8A7F-96C64986A204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0E49E8CE-5235-4494-B0FD-9ECC8206E96E}" type="datetime3">
              <a:rPr lang="en-US" smtClean="0"/>
              <a:t>5 August 2022</a:t>
            </a:fld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28F1198-1F5C-4C8B-A7E4-2658430FBCF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IN"/>
              <a:t>Presentation title</a:t>
            </a:r>
            <a:endParaRPr lang="en-IN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6EA2D1B-5973-42E9-87B4-02C40C0EF1B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004263391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628F8CDB-776D-4811-AE2C-217236ECDEC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223938" y="0"/>
            <a:ext cx="5968062" cy="6858000"/>
          </a:xfrm>
        </p:spPr>
        <p:txBody>
          <a:bodyPr/>
          <a:lstStyle/>
          <a:p>
            <a:endParaRPr lang="en-IN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26E96BA-E9E4-496B-8CA5-6DA27B8AD7E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69514" y="2578743"/>
            <a:ext cx="4535597" cy="1055708"/>
          </a:xfrm>
        </p:spPr>
        <p:txBody>
          <a:bodyPr/>
          <a:lstStyle>
            <a:lvl1pPr marL="0" indent="0">
              <a:buNone/>
              <a:defRPr sz="2998"/>
            </a:lvl1pPr>
          </a:lstStyle>
          <a:p>
            <a:pPr lvl="0"/>
            <a:r>
              <a:rPr lang="en-IN"/>
              <a:t>Chapter Title</a:t>
            </a:r>
          </a:p>
          <a:p>
            <a:pPr lvl="0"/>
            <a:r>
              <a:rPr lang="en-IN"/>
              <a:t>EY Interstate Light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1173C8A3-BA2F-497B-A214-45B02D73AF2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9514" y="3840384"/>
            <a:ext cx="4535597" cy="1055708"/>
          </a:xfrm>
        </p:spPr>
        <p:txBody>
          <a:bodyPr/>
          <a:lstStyle>
            <a:lvl1pPr marL="0" indent="0">
              <a:buNone/>
              <a:defRPr sz="1598"/>
            </a:lvl1pPr>
          </a:lstStyle>
          <a:p>
            <a:pPr lvl="0"/>
            <a:r>
              <a:rPr lang="en-IN"/>
              <a:t>text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6DB61-969F-46BA-942C-3600269FA4D1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70698E0F-C516-4EA3-9B7A-A60925844285}" type="datetime3">
              <a:rPr lang="en-US" smtClean="0"/>
              <a:t>5 August 2022</a:t>
            </a:fld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7C562FF-E912-4424-B259-AED677C026AF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 dirty="0"/>
              <a:t>Presentation tit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82C1B82-1A85-4CFD-98C3-C21698A96B67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GB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996252013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2" y="294200"/>
            <a:ext cx="10972800" cy="590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Table Placeholder 4">
            <a:extLst>
              <a:ext uri="{FF2B5EF4-FFF2-40B4-BE49-F238E27FC236}">
                <a16:creationId xmlns:a16="http://schemas.microsoft.com/office/drawing/2014/main" id="{95A2BE92-ABF7-4A82-BC35-00F28F500FED}"/>
              </a:ext>
            </a:extLst>
          </p:cNvPr>
          <p:cNvSpPr>
            <a:spLocks noGrp="1"/>
          </p:cNvSpPr>
          <p:nvPr>
            <p:ph type="tbl" sz="quarter" idx="10"/>
          </p:nvPr>
        </p:nvSpPr>
        <p:spPr>
          <a:xfrm>
            <a:off x="609600" y="1137923"/>
            <a:ext cx="4954924" cy="4267457"/>
          </a:xfrm>
        </p:spPr>
        <p:txBody>
          <a:bodyPr/>
          <a:lstStyle/>
          <a:p>
            <a:endParaRPr lang="en-IN" dirty="0"/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DA81FCAA-64D2-4A9C-B16E-9C4E3BB431B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129749" y="3813288"/>
            <a:ext cx="3087667" cy="180000"/>
          </a:xfrm>
        </p:spPr>
        <p:txBody>
          <a:bodyPr/>
          <a:lstStyle>
            <a:lvl1pPr marL="0" indent="0">
              <a:buNone/>
              <a:defRPr sz="1198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Name Surname</a:t>
            </a:r>
            <a:endParaRPr lang="en-GB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03CDC117-35F2-47B2-85B2-29CB8EE7E09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129749" y="4055931"/>
            <a:ext cx="3087667" cy="180000"/>
          </a:xfrm>
        </p:spPr>
        <p:txBody>
          <a:bodyPr/>
          <a:lstStyle>
            <a:lvl1pPr marL="0" indent="0">
              <a:buNone/>
              <a:defRPr sz="1198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Job Title to go here</a:t>
            </a:r>
            <a:endParaRPr lang="en-GB"/>
          </a:p>
        </p:txBody>
      </p:sp>
      <p:sp>
        <p:nvSpPr>
          <p:cNvPr id="14" name="Picture Placeholder 19">
            <a:extLst>
              <a:ext uri="{FF2B5EF4-FFF2-40B4-BE49-F238E27FC236}">
                <a16:creationId xmlns:a16="http://schemas.microsoft.com/office/drawing/2014/main" id="{00A15EA9-2372-4E06-83C2-1E13AB1FA62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19821" y="3578084"/>
            <a:ext cx="778554" cy="778959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9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DB83DAE-9FEB-4E9C-85BA-A34BD239275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19821" y="1137923"/>
            <a:ext cx="5462580" cy="37380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Key Takeaways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C1ABE303-7041-4312-AD03-0E872AEF99B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119821" y="1635009"/>
            <a:ext cx="5462580" cy="1611554"/>
          </a:xfrm>
        </p:spPr>
        <p:txBody>
          <a:bodyPr/>
          <a:lstStyle>
            <a:lvl1pPr marL="0" indent="0">
              <a:buNone/>
              <a:defRPr sz="1598"/>
            </a:lvl1pPr>
          </a:lstStyle>
          <a:p>
            <a:pPr lvl="0"/>
            <a:r>
              <a:rPr lang="en-US"/>
              <a:t>Content EY Interstate Light, 16pt, Lorem ipsum dolor, 12pt, </a:t>
            </a:r>
            <a:r>
              <a:rPr lang="en-US" err="1"/>
              <a:t>Utinam</a:t>
            </a:r>
            <a:r>
              <a:rPr lang="en-US"/>
              <a:t>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abhorreant</a:t>
            </a:r>
            <a:r>
              <a:rPr lang="en-US"/>
              <a:t> </a:t>
            </a:r>
            <a:r>
              <a:rPr lang="en-US" err="1"/>
              <a:t>sead</a:t>
            </a:r>
            <a:r>
              <a:rPr lang="en-US"/>
              <a:t>. </a:t>
            </a:r>
            <a:r>
              <a:rPr lang="en-US" err="1"/>
              <a:t>Putant</a:t>
            </a:r>
            <a:r>
              <a:rPr lang="en-US"/>
              <a:t> </a:t>
            </a:r>
            <a:r>
              <a:rPr lang="en-US" err="1"/>
              <a:t>probatus</a:t>
            </a:r>
            <a:r>
              <a:rPr lang="en-US"/>
              <a:t> id vis, ad his </a:t>
            </a:r>
            <a:r>
              <a:rPr lang="en-US" err="1"/>
              <a:t>meis</a:t>
            </a:r>
            <a:r>
              <a:rPr lang="en-US"/>
              <a:t> </a:t>
            </a:r>
            <a:r>
              <a:rPr lang="en-US" err="1"/>
              <a:t>habemus</a:t>
            </a:r>
            <a:r>
              <a:rPr lang="en-US"/>
              <a:t> </a:t>
            </a:r>
            <a:r>
              <a:rPr lang="en-US" err="1"/>
              <a:t>repudiare</a:t>
            </a:r>
            <a:r>
              <a:rPr lang="en-US"/>
              <a:t>, has an </a:t>
            </a:r>
            <a:r>
              <a:rPr lang="en-US" err="1"/>
              <a:t>pericula</a:t>
            </a:r>
            <a:r>
              <a:rPr lang="en-US"/>
              <a:t> </a:t>
            </a:r>
            <a:r>
              <a:rPr lang="en-US" err="1"/>
              <a:t>tractatos</a:t>
            </a:r>
            <a:r>
              <a:rPr lang="en-US"/>
              <a:t>. </a:t>
            </a:r>
            <a:r>
              <a:rPr lang="en-US" err="1"/>
              <a:t>Nec</a:t>
            </a:r>
            <a:r>
              <a:rPr lang="en-US"/>
              <a:t> </a:t>
            </a:r>
            <a:r>
              <a:rPr lang="en-US" err="1"/>
              <a:t>debitis</a:t>
            </a:r>
            <a:r>
              <a:rPr lang="en-US"/>
              <a:t> </a:t>
            </a:r>
            <a:r>
              <a:rPr lang="en-US" err="1"/>
              <a:t>dissentias</a:t>
            </a:r>
            <a:r>
              <a:rPr lang="en-US"/>
              <a:t> ad. </a:t>
            </a:r>
            <a:r>
              <a:rPr lang="en-US" err="1"/>
              <a:t>Patrioque</a:t>
            </a:r>
            <a:r>
              <a:rPr lang="en-US"/>
              <a:t> </a:t>
            </a:r>
            <a:r>
              <a:rPr lang="en-US" err="1"/>
              <a:t>voluptatum</a:t>
            </a:r>
            <a:r>
              <a:rPr lang="en-US"/>
              <a:t> </a:t>
            </a:r>
            <a:r>
              <a:rPr lang="en-US" err="1"/>
              <a:t>sed</a:t>
            </a:r>
            <a:r>
              <a:rPr lang="en-US"/>
              <a:t> ex, id </a:t>
            </a:r>
            <a:r>
              <a:rPr lang="en-US" err="1"/>
              <a:t>admodum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20" name="Line 10">
            <a:extLst>
              <a:ext uri="{FF2B5EF4-FFF2-40B4-BE49-F238E27FC236}">
                <a16:creationId xmlns:a16="http://schemas.microsoft.com/office/drawing/2014/main" id="{B69EB865-6B86-419B-923C-F7DDC68C9C66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601" y="907750"/>
            <a:ext cx="10974284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8" noProof="0" dirty="0">
              <a:solidFill>
                <a:schemeClr val="bg1"/>
              </a:solidFill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5822E28-B24F-4CF6-8F50-70ED7C22A114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A30B5B11-3029-4BDF-9283-90F5215BC815}" type="datetime3">
              <a:rPr lang="en-US" smtClean="0"/>
              <a:t>5 August 2022</a:t>
            </a:fld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865E1CD-A05B-41DC-B488-E4BA204E7AE5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 dirty="0"/>
              <a:t>Presentation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716ABDB-CF45-4001-9487-F3BA3DD8DACD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r>
              <a:rPr lang="en-GB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73108706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CD06B42-27A8-4223-AE57-EB729EB5FC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2C04E3-9852-4EE1-995A-A982B306E72F}" type="datetime3">
              <a:rPr lang="en-US" smtClean="0"/>
              <a:t>5 August 2022</a:t>
            </a:fld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C1F4AD2-0FC3-4A7D-B553-FC19C918C1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Presentation tit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7E89B92-9E6D-4E4B-A5F6-7BC8B1612D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885690875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E28D7EA5-A532-4D8B-9984-8F3D1FEA98D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451378" y="2060235"/>
            <a:ext cx="5289245" cy="3025522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lang="en-US" sz="2798" dirty="0" smtClean="0">
                <a:latin typeface="Georgia" panose="02040502050405020303" pitchFamily="18" charset="0"/>
              </a:defRPr>
            </a:lvl1pPr>
          </a:lstStyle>
          <a:p>
            <a:pPr marL="356260" lvl="0" indent="-356260" algn="ctr">
              <a:spcBef>
                <a:spcPts val="0"/>
              </a:spcBef>
            </a:pPr>
            <a:r>
              <a:rPr lang="en-US"/>
              <a:t>Edit Master text styles</a:t>
            </a:r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9F9B9C3C-16F2-40B2-A460-0480520ECF8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451378" y="5506678"/>
            <a:ext cx="5289245" cy="316838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lang="en-US" sz="1598" dirty="0" smtClean="0">
                <a:solidFill>
                  <a:srgbClr val="FFE600"/>
                </a:solidFill>
                <a:latin typeface="+mn-lt"/>
              </a:defRPr>
            </a:lvl1pPr>
          </a:lstStyle>
          <a:p>
            <a:pPr marL="356260" lvl="0" indent="-356260" algn="ctr">
              <a:spcBef>
                <a:spcPts val="0"/>
              </a:spcBef>
              <a:spcAft>
                <a:spcPts val="600"/>
              </a:spcAft>
            </a:pPr>
            <a:r>
              <a:rPr lang="en-US"/>
              <a:t>Name Surname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8E04541C-CC5D-4455-8271-73223AE0A88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451378" y="5818717"/>
            <a:ext cx="5289245" cy="316838"/>
          </a:xfrm>
        </p:spPr>
        <p:txBody>
          <a:bodyPr vert="horz" lIns="0" tIns="0" rIns="0" bIns="0" rtlCol="0" anchor="t" anchorCtr="0">
            <a:noAutofit/>
          </a:bodyPr>
          <a:lstStyle>
            <a:lvl1pPr marL="0" indent="0" algn="ctr">
              <a:buNone/>
              <a:defRPr lang="en-US" sz="1598" dirty="0" smtClean="0">
                <a:latin typeface="+mn-lt"/>
              </a:defRPr>
            </a:lvl1pPr>
          </a:lstStyle>
          <a:p>
            <a:pPr marL="356260" lvl="0" indent="-356260" algn="ctr">
              <a:spcBef>
                <a:spcPts val="0"/>
              </a:spcBef>
              <a:spcAft>
                <a:spcPts val="600"/>
              </a:spcAft>
            </a:pPr>
            <a:r>
              <a:rPr lang="en-US"/>
              <a:t>Job Title</a:t>
            </a:r>
          </a:p>
        </p:txBody>
      </p:sp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FBD672D3-B116-471A-8511-D80D5D920D93}"/>
              </a:ext>
            </a:extLst>
          </p:cNvPr>
          <p:cNvSpPr txBox="1">
            <a:spLocks/>
          </p:cNvSpPr>
          <p:nvPr userDrawn="1"/>
        </p:nvSpPr>
        <p:spPr>
          <a:xfrm>
            <a:off x="4927415" y="979790"/>
            <a:ext cx="2337171" cy="8826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GB" sz="11188" dirty="0">
                <a:solidFill>
                  <a:schemeClr val="tx2"/>
                </a:solidFill>
                <a:latin typeface="Georgia" panose="02040502050405020303" pitchFamily="18" charset="0"/>
              </a:rPr>
              <a:t>“ </a:t>
            </a:r>
          </a:p>
        </p:txBody>
      </p:sp>
    </p:spTree>
    <p:extLst>
      <p:ext uri="{BB962C8B-B14F-4D97-AF65-F5344CB8AC3E}">
        <p14:creationId xmlns:p14="http://schemas.microsoft.com/office/powerpoint/2010/main" val="2269776073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11">
            <a:extLst>
              <a:ext uri="{FF2B5EF4-FFF2-40B4-BE49-F238E27FC236}">
                <a16:creationId xmlns:a16="http://schemas.microsoft.com/office/drawing/2014/main" id="{8F291EB0-15F5-4E9A-A38B-CE3AC1452E21}"/>
              </a:ext>
            </a:extLst>
          </p:cNvPr>
          <p:cNvSpPr txBox="1">
            <a:spLocks/>
          </p:cNvSpPr>
          <p:nvPr userDrawn="1"/>
        </p:nvSpPr>
        <p:spPr>
          <a:xfrm>
            <a:off x="477102" y="1488927"/>
            <a:ext cx="2337171" cy="858838"/>
          </a:xfrm>
          <a:prstGeom prst="rect">
            <a:avLst/>
          </a:prstGeom>
        </p:spPr>
        <p:txBody>
          <a:bodyPr/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11188" dirty="0">
                <a:solidFill>
                  <a:schemeClr val="tx2"/>
                </a:solidFill>
                <a:latin typeface="Georgia" panose="02040502050405020303" pitchFamily="18" charset="0"/>
              </a:rPr>
              <a:t>“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B5D2AC0-B4F7-4455-9AE0-201966050A6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13084" y="2526765"/>
            <a:ext cx="5289245" cy="1800000"/>
          </a:xfrm>
        </p:spPr>
        <p:txBody>
          <a:bodyPr lIns="90000" tIns="46800" rIns="90000" bIns="46800"/>
          <a:lstStyle>
            <a:lvl1pPr marL="0" indent="0">
              <a:buNone/>
              <a:defRPr lang="en-US" sz="2798" dirty="0" smtClean="0">
                <a:latin typeface="Georgia" panose="02040502050405020303" pitchFamily="18" charset="0"/>
              </a:defRPr>
            </a:lvl1pPr>
          </a:lstStyle>
          <a:p>
            <a:pPr marL="356260" lvl="0" indent="-356260">
              <a:spcBef>
                <a:spcPts val="0"/>
              </a:spcBef>
            </a:pPr>
            <a:r>
              <a:rPr lang="en-US"/>
              <a:t>Edit Master text styles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F1BA83A2-78F0-4F7E-836B-9B4B87820F9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3084" y="4632765"/>
            <a:ext cx="5289245" cy="316838"/>
          </a:xfrm>
        </p:spPr>
        <p:txBody>
          <a:bodyPr lIns="90000" tIns="46800" rIns="90000" bIns="46800"/>
          <a:lstStyle>
            <a:lvl1pPr marL="0" indent="0" algn="l" defTabSz="913486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70000"/>
              <a:buFont typeface="Arial" pitchFamily="34" charset="0"/>
              <a:buNone/>
              <a:defRPr lang="en-US" sz="1598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56260" indent="0">
              <a:buNone/>
              <a:defRPr lang="en-US" sz="1998" smtClean="0">
                <a:latin typeface="+mn-lt"/>
              </a:defRPr>
            </a:lvl2pPr>
            <a:lvl3pPr>
              <a:defRPr lang="en-US" sz="1798" smtClean="0">
                <a:latin typeface="+mn-lt"/>
              </a:defRPr>
            </a:lvl3pPr>
            <a:lvl4pPr>
              <a:defRPr lang="en-US" sz="1598" smtClean="0">
                <a:latin typeface="+mn-lt"/>
              </a:defRPr>
            </a:lvl4pPr>
            <a:lvl5pPr>
              <a:defRPr lang="en-IN" sz="1598">
                <a:latin typeface="+mn-lt"/>
              </a:defRPr>
            </a:lvl5pPr>
          </a:lstStyle>
          <a:p>
            <a:pPr marL="0" lvl="0" indent="0">
              <a:spcBef>
                <a:spcPts val="0"/>
              </a:spcBef>
              <a:buNone/>
            </a:pPr>
            <a:r>
              <a:rPr lang="en-US"/>
              <a:t>Name Surname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034CE9DD-CE12-4D9F-8FD6-A2522F36C8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13084" y="4971442"/>
            <a:ext cx="5289245" cy="316838"/>
          </a:xfrm>
        </p:spPr>
        <p:txBody>
          <a:bodyPr lIns="90000" tIns="46800" rIns="90000" bIns="46800"/>
          <a:lstStyle>
            <a:lvl1pPr marL="0" indent="0" algn="l" defTabSz="913486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70000"/>
              <a:buFont typeface="Arial" pitchFamily="34" charset="0"/>
              <a:buNone/>
              <a:defRPr lang="en-US" sz="1598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56260" indent="0">
              <a:buNone/>
              <a:defRPr lang="en-US" sz="1998" smtClean="0">
                <a:latin typeface="+mn-lt"/>
              </a:defRPr>
            </a:lvl2pPr>
            <a:lvl3pPr>
              <a:defRPr lang="en-US" sz="1798" smtClean="0">
                <a:latin typeface="+mn-lt"/>
              </a:defRPr>
            </a:lvl3pPr>
            <a:lvl4pPr>
              <a:defRPr lang="en-US" sz="1598" smtClean="0">
                <a:latin typeface="+mn-lt"/>
              </a:defRPr>
            </a:lvl4pPr>
            <a:lvl5pPr>
              <a:defRPr lang="en-IN" sz="1598">
                <a:latin typeface="+mn-lt"/>
              </a:defRPr>
            </a:lvl5pPr>
          </a:lstStyle>
          <a:p>
            <a:pPr marL="0" lvl="0" indent="0">
              <a:spcBef>
                <a:spcPts val="0"/>
              </a:spcBef>
              <a:buNone/>
            </a:pPr>
            <a:r>
              <a:rPr lang="en-US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2966180238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andard slide_no_first_level_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2" y="294200"/>
            <a:ext cx="10972800" cy="590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2" y="1137920"/>
            <a:ext cx="8234455" cy="483480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356260">
              <a:defRPr>
                <a:solidFill>
                  <a:schemeClr val="bg1"/>
                </a:solidFill>
              </a:defRPr>
            </a:lvl2pPr>
            <a:lvl3pPr marL="712519">
              <a:defRPr>
                <a:solidFill>
                  <a:schemeClr val="bg1"/>
                </a:solidFill>
              </a:defRPr>
            </a:lvl3pPr>
            <a:lvl4pPr marL="1068778">
              <a:defRPr>
                <a:solidFill>
                  <a:schemeClr val="bg1"/>
                </a:solidFill>
              </a:defRPr>
            </a:lvl4pPr>
            <a:lvl5pPr marL="1425038">
              <a:defRPr sz="1198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Line 10">
            <a:extLst>
              <a:ext uri="{FF2B5EF4-FFF2-40B4-BE49-F238E27FC236}">
                <a16:creationId xmlns:a16="http://schemas.microsoft.com/office/drawing/2014/main" id="{8D4CA674-C969-4C5C-9EA4-6D41FE961DE2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601" y="907750"/>
            <a:ext cx="10974284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8" noProof="0" dirty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7DAEB49-9ADD-490C-B904-979B3953B8C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FB490B-7BF8-4509-9F0D-5A2D3FE1A9A1}" type="datetime3">
              <a:rPr lang="en-US" smtClean="0"/>
              <a:t>5 August 2022</a:t>
            </a:fld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6528C68-2511-4745-B448-A5AA41E7BFE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Presentation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B5C8157-0191-4E69-819F-DB44376867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472085546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, no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2" y="294200"/>
            <a:ext cx="10972800" cy="59088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Line 10">
            <a:extLst>
              <a:ext uri="{FF2B5EF4-FFF2-40B4-BE49-F238E27FC236}">
                <a16:creationId xmlns:a16="http://schemas.microsoft.com/office/drawing/2014/main" id="{97A26880-8DD7-4A78-ADAF-91ED2E744A7C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601" y="907750"/>
            <a:ext cx="10974284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8" noProof="0" dirty="0">
              <a:solidFill>
                <a:schemeClr val="bg1"/>
              </a:solidFill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B88B559-CD59-4D3D-87C0-5D51BCF9B7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DC6652-D330-42A9-B2DB-FD7DBFE6E7CE}" type="datetime3">
              <a:rPr lang="en-US" smtClean="0"/>
              <a:t>5 August 2022</a:t>
            </a:fld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36FB98F-FBCE-4F2C-978B-A5576B5774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Presentation tit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1A95690-F0A7-4101-82DB-B17CE6B7A4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952150856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lumns, no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2" y="294200"/>
            <a:ext cx="10972800" cy="59088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1" y="1137919"/>
            <a:ext cx="5384800" cy="4834800"/>
          </a:xfrm>
        </p:spPr>
        <p:txBody>
          <a:bodyPr/>
          <a:lstStyle>
            <a:lvl1pPr>
              <a:defRPr sz="1998">
                <a:solidFill>
                  <a:schemeClr val="bg1"/>
                </a:solidFill>
              </a:defRPr>
            </a:lvl1pPr>
            <a:lvl2pPr>
              <a:defRPr sz="1798">
                <a:solidFill>
                  <a:schemeClr val="bg1"/>
                </a:solidFill>
              </a:defRPr>
            </a:lvl2pPr>
            <a:lvl3pPr>
              <a:defRPr sz="1598">
                <a:solidFill>
                  <a:schemeClr val="bg1"/>
                </a:solidFill>
              </a:defRPr>
            </a:lvl3pPr>
            <a:lvl4pPr>
              <a:defRPr sz="1398">
                <a:solidFill>
                  <a:schemeClr val="bg1"/>
                </a:solidFill>
              </a:defRPr>
            </a:lvl4pPr>
            <a:lvl5pPr>
              <a:defRPr sz="1198">
                <a:solidFill>
                  <a:schemeClr val="bg1"/>
                </a:solidFill>
              </a:defRPr>
            </a:lvl5pPr>
            <a:lvl6pPr>
              <a:defRPr sz="1798"/>
            </a:lvl6pPr>
            <a:lvl7pPr>
              <a:defRPr sz="1798"/>
            </a:lvl7pPr>
            <a:lvl8pPr>
              <a:defRPr sz="1798"/>
            </a:lvl8pPr>
            <a:lvl9pPr>
              <a:defRPr sz="1798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2" y="1137919"/>
            <a:ext cx="5384800" cy="4834800"/>
          </a:xfrm>
        </p:spPr>
        <p:txBody>
          <a:bodyPr/>
          <a:lstStyle>
            <a:lvl1pPr>
              <a:defRPr sz="1998">
                <a:solidFill>
                  <a:schemeClr val="bg1"/>
                </a:solidFill>
              </a:defRPr>
            </a:lvl1pPr>
            <a:lvl2pPr>
              <a:defRPr sz="1798">
                <a:solidFill>
                  <a:schemeClr val="bg1"/>
                </a:solidFill>
              </a:defRPr>
            </a:lvl2pPr>
            <a:lvl3pPr>
              <a:defRPr sz="1598">
                <a:solidFill>
                  <a:schemeClr val="bg1"/>
                </a:solidFill>
              </a:defRPr>
            </a:lvl3pPr>
            <a:lvl4pPr>
              <a:defRPr sz="1398">
                <a:solidFill>
                  <a:schemeClr val="bg1"/>
                </a:solidFill>
              </a:defRPr>
            </a:lvl4pPr>
            <a:lvl5pPr>
              <a:defRPr sz="1198">
                <a:solidFill>
                  <a:schemeClr val="bg1"/>
                </a:solidFill>
              </a:defRPr>
            </a:lvl5pPr>
            <a:lvl6pPr>
              <a:defRPr sz="1798"/>
            </a:lvl6pPr>
            <a:lvl7pPr>
              <a:defRPr sz="1798"/>
            </a:lvl7pPr>
            <a:lvl8pPr>
              <a:defRPr sz="1798"/>
            </a:lvl8pPr>
            <a:lvl9pPr>
              <a:defRPr sz="1798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Line 10">
            <a:extLst>
              <a:ext uri="{FF2B5EF4-FFF2-40B4-BE49-F238E27FC236}">
                <a16:creationId xmlns:a16="http://schemas.microsoft.com/office/drawing/2014/main" id="{9B070B28-7AAC-47E5-9EB5-96B8B8B88057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601" y="907750"/>
            <a:ext cx="10974284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8" noProof="0" dirty="0">
              <a:solidFill>
                <a:schemeClr val="bg1"/>
              </a:solidFill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20B9B26-E95B-4DC1-A613-4C0C0933C72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48B339-892E-45B1-8EC6-9663C993893D}" type="datetime3">
              <a:rPr lang="en-US" smtClean="0"/>
              <a:t>5 August 2022</a:t>
            </a:fld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D7373D8-2AB5-4625-822C-B1F2B5CDC39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Presentation titl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76E3B4B-D68B-4AFA-A20D-2ECE69120F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810847106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with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12329" y="1869443"/>
            <a:ext cx="5390400" cy="4256075"/>
          </a:xfrm>
        </p:spPr>
        <p:txBody>
          <a:bodyPr/>
          <a:lstStyle>
            <a:lvl1pPr>
              <a:defRPr sz="1998">
                <a:solidFill>
                  <a:schemeClr val="bg1"/>
                </a:solidFill>
              </a:defRPr>
            </a:lvl1pPr>
            <a:lvl2pPr>
              <a:defRPr sz="1798">
                <a:solidFill>
                  <a:schemeClr val="bg1"/>
                </a:solidFill>
              </a:defRPr>
            </a:lvl2pPr>
            <a:lvl3pPr>
              <a:defRPr sz="1598">
                <a:solidFill>
                  <a:schemeClr val="bg1"/>
                </a:solidFill>
              </a:defRPr>
            </a:lvl3pPr>
            <a:lvl4pPr>
              <a:defRPr sz="1398">
                <a:solidFill>
                  <a:schemeClr val="bg1"/>
                </a:solidFill>
              </a:defRPr>
            </a:lvl4pPr>
            <a:lvl5pPr>
              <a:defRPr sz="1198">
                <a:solidFill>
                  <a:schemeClr val="bg1"/>
                </a:solidFill>
              </a:defRPr>
            </a:lvl5pPr>
            <a:lvl6pPr>
              <a:defRPr sz="1798"/>
            </a:lvl6pPr>
            <a:lvl7pPr>
              <a:defRPr sz="1798"/>
            </a:lvl7pPr>
            <a:lvl8pPr>
              <a:defRPr sz="1798"/>
            </a:lvl8pPr>
            <a:lvl9pPr>
              <a:defRPr sz="1798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6405" y="1869443"/>
            <a:ext cx="5390400" cy="4256075"/>
          </a:xfrm>
        </p:spPr>
        <p:txBody>
          <a:bodyPr/>
          <a:lstStyle>
            <a:lvl1pPr>
              <a:defRPr sz="1998">
                <a:solidFill>
                  <a:schemeClr val="bg1"/>
                </a:solidFill>
              </a:defRPr>
            </a:lvl1pPr>
            <a:lvl2pPr>
              <a:defRPr sz="1798">
                <a:solidFill>
                  <a:schemeClr val="bg1"/>
                </a:solidFill>
              </a:defRPr>
            </a:lvl2pPr>
            <a:lvl3pPr>
              <a:defRPr sz="1598">
                <a:solidFill>
                  <a:schemeClr val="bg1"/>
                </a:solidFill>
              </a:defRPr>
            </a:lvl3pPr>
            <a:lvl4pPr>
              <a:defRPr sz="1398">
                <a:solidFill>
                  <a:schemeClr val="bg1"/>
                </a:solidFill>
              </a:defRPr>
            </a:lvl4pPr>
            <a:lvl5pPr>
              <a:defRPr sz="1198">
                <a:solidFill>
                  <a:schemeClr val="bg1"/>
                </a:solidFill>
              </a:defRPr>
            </a:lvl5pPr>
            <a:lvl6pPr>
              <a:defRPr sz="1798"/>
            </a:lvl6pPr>
            <a:lvl7pPr>
              <a:defRPr sz="1798"/>
            </a:lvl7pPr>
            <a:lvl8pPr>
              <a:defRPr sz="1798"/>
            </a:lvl8pPr>
            <a:lvl9pPr>
              <a:defRPr sz="1798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609601" y="1137920"/>
            <a:ext cx="5390400" cy="640800"/>
          </a:xfrm>
        </p:spPr>
        <p:txBody>
          <a:bodyPr anchor="t" anchorCtr="0"/>
          <a:lstStyle>
            <a:lvl1pPr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196405" y="1137920"/>
            <a:ext cx="5390400" cy="640800"/>
          </a:xfrm>
        </p:spPr>
        <p:txBody>
          <a:bodyPr anchor="t" anchorCtr="0"/>
          <a:lstStyle>
            <a:lvl1pPr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2" y="294200"/>
            <a:ext cx="10972800" cy="59088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Line 10">
            <a:extLst>
              <a:ext uri="{FF2B5EF4-FFF2-40B4-BE49-F238E27FC236}">
                <a16:creationId xmlns:a16="http://schemas.microsoft.com/office/drawing/2014/main" id="{9773E7D9-2434-4381-A00D-27B62C086733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601" y="907750"/>
            <a:ext cx="10974284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8" noProof="0" dirty="0">
              <a:solidFill>
                <a:schemeClr val="bg1"/>
              </a:solidFill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09FCCF0-19BC-4024-9BCA-E14DB77EAF2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53C96D42-85A7-4FB8-81C2-A76989CD2C0B}" type="datetime3">
              <a:rPr lang="en-US" smtClean="0"/>
              <a:t>5 August 2022</a:t>
            </a:fld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2B54F7E-BDC4-4386-B2E2-1FC66609D14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dirty="0"/>
              <a:t>Presentation titl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94FBF9A-EC9A-41E4-A24C-ECB5DC15CCD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GB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741758070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2344F6A-D6D0-4CE3-8495-873C004D38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6731434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80593A0-4211-460E-B6CF-FE2D9CE6D9C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1"/>
            <a:ext cx="2383219" cy="6857999"/>
          </a:xfrm>
        </p:spPr>
        <p:txBody>
          <a:bodyPr/>
          <a:lstStyle/>
          <a:p>
            <a:endParaRPr lang="en-IN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3891" y="294200"/>
            <a:ext cx="8887371" cy="590400"/>
          </a:xfrm>
        </p:spPr>
        <p:txBody>
          <a:bodyPr/>
          <a:lstStyle>
            <a:lvl1pPr>
              <a:defRPr sz="2399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693890" y="1137921"/>
            <a:ext cx="2741454" cy="5018184"/>
          </a:xfrm>
        </p:spPr>
        <p:txBody>
          <a:bodyPr/>
          <a:lstStyle>
            <a:lvl1pPr marL="0" indent="0">
              <a:buNone/>
              <a:defRPr sz="1799">
                <a:solidFill>
                  <a:schemeClr val="bg1"/>
                </a:solidFill>
              </a:defRPr>
            </a:lvl1pPr>
            <a:lvl2pPr marL="356438" indent="0">
              <a:buNone/>
              <a:defRPr sz="1799">
                <a:solidFill>
                  <a:schemeClr val="bg1"/>
                </a:solidFill>
              </a:defRPr>
            </a:lvl2pPr>
            <a:lvl3pPr marL="712875" indent="0">
              <a:buNone/>
              <a:defRPr sz="1599">
                <a:solidFill>
                  <a:schemeClr val="bg1"/>
                </a:solidFill>
              </a:defRPr>
            </a:lvl3pPr>
            <a:lvl4pPr marL="1069313" indent="0">
              <a:buNone/>
              <a:defRPr sz="1399">
                <a:solidFill>
                  <a:schemeClr val="bg1"/>
                </a:solidFill>
              </a:defRPr>
            </a:lvl4pPr>
            <a:lvl5pPr marL="1425751" indent="0">
              <a:buNone/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78D3272-120F-430D-AFB5-E93227EEEAAF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5724102" y="1137921"/>
            <a:ext cx="2802382" cy="5018184"/>
          </a:xfrm>
        </p:spPr>
        <p:txBody>
          <a:bodyPr numCol="1"/>
          <a:lstStyle>
            <a:lvl1pPr marL="0" indent="0">
              <a:buNone/>
              <a:defRPr sz="1399">
                <a:solidFill>
                  <a:schemeClr val="bg1"/>
                </a:solidFill>
              </a:defRPr>
            </a:lvl1pPr>
            <a:lvl2pPr marL="356438" indent="0">
              <a:buNone/>
              <a:defRPr sz="1799">
                <a:solidFill>
                  <a:schemeClr val="bg1"/>
                </a:solidFill>
              </a:defRPr>
            </a:lvl2pPr>
            <a:lvl3pPr marL="712875" indent="0">
              <a:buNone/>
              <a:defRPr sz="1599">
                <a:solidFill>
                  <a:schemeClr val="bg1"/>
                </a:solidFill>
              </a:defRPr>
            </a:lvl3pPr>
            <a:lvl4pPr marL="1069313" indent="0">
              <a:buNone/>
              <a:defRPr sz="1399">
                <a:solidFill>
                  <a:schemeClr val="bg1"/>
                </a:solidFill>
              </a:defRPr>
            </a:lvl4pPr>
            <a:lvl5pPr marL="1425751" indent="0">
              <a:buNone/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6FF4A6F8-D9C6-4FEE-9324-5200D308BB1F}"/>
              </a:ext>
            </a:extLst>
          </p:cNvPr>
          <p:cNvSpPr>
            <a:spLocks noGrp="1"/>
          </p:cNvSpPr>
          <p:nvPr userDrawn="1">
            <p:ph idx="12" hasCustomPrompt="1"/>
          </p:nvPr>
        </p:nvSpPr>
        <p:spPr>
          <a:xfrm>
            <a:off x="8815241" y="1137922"/>
            <a:ext cx="2767159" cy="2796151"/>
          </a:xfrm>
        </p:spPr>
        <p:txBody>
          <a:bodyPr numCol="1"/>
          <a:lstStyle>
            <a:lvl1pPr marL="0" indent="0">
              <a:buNone/>
              <a:defRPr sz="1399">
                <a:solidFill>
                  <a:schemeClr val="bg1"/>
                </a:solidFill>
              </a:defRPr>
            </a:lvl1pPr>
            <a:lvl2pPr marL="356438" indent="0">
              <a:buNone/>
              <a:defRPr sz="1799">
                <a:solidFill>
                  <a:schemeClr val="bg1"/>
                </a:solidFill>
              </a:defRPr>
            </a:lvl2pPr>
            <a:lvl3pPr marL="712875" indent="0">
              <a:buNone/>
              <a:defRPr sz="1599">
                <a:solidFill>
                  <a:schemeClr val="bg1"/>
                </a:solidFill>
              </a:defRPr>
            </a:lvl3pPr>
            <a:lvl4pPr marL="1069313" indent="0">
              <a:buNone/>
              <a:defRPr sz="1399">
                <a:solidFill>
                  <a:schemeClr val="bg1"/>
                </a:solidFill>
              </a:defRPr>
            </a:lvl4pPr>
            <a:lvl5pPr marL="1425751" indent="0">
              <a:buNone/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9" name="Line 10">
            <a:extLst>
              <a:ext uri="{FF2B5EF4-FFF2-40B4-BE49-F238E27FC236}">
                <a16:creationId xmlns:a16="http://schemas.microsoft.com/office/drawing/2014/main" id="{B63A7CBA-3151-452E-BD2F-D3E65CE1595F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2693891" y="907750"/>
            <a:ext cx="8887371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 dirty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18571DE-086F-444C-976E-D386CED54CF9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CFB1ADCF-7548-48F2-B4E3-18B2C0EE8460}" type="datetime3">
              <a:rPr lang="en-US" smtClean="0"/>
              <a:t>5 August 2022</a:t>
            </a:fld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5178D09-F6E9-4981-B6E0-209D099207E6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IN"/>
              <a:t>Presentation title</a:t>
            </a:r>
            <a:endParaRPr lang="en-IN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AE170B6-45D3-4E0A-A799-1F973EAAC5E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196587727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cused da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139B669-D18F-448E-A005-0A353671C9C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39BF9A-0D1B-456C-90FD-7DD4E43985FE}" type="datetime3">
              <a:rPr lang="en-US" smtClean="0"/>
              <a:t>5 August 2022</a:t>
            </a:fld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7031300-352D-4FEE-9216-28FB241372A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Presentation tit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AADEB71-FD7D-4974-99DD-0F48E04667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113358573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570B882-5FC5-4C48-9562-890886DDEDF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8A09A2-12AE-4A08-9E31-994E3910808B}" type="datetime3">
              <a:rPr lang="en-US" smtClean="0"/>
              <a:t>5 August 2022</a:t>
            </a:fld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92E7899-FE60-4FDA-8608-58147D0918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Presentation tit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AA32B5C-3285-477F-B755-A6F2F0F4D3A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23652426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37416E9-5919-4213-81D7-5E74B3B61EA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D55BA1-5616-41A0-A230-900CC53918C9}" type="datetime3">
              <a:rPr lang="en-US" smtClean="0"/>
              <a:t>5 August 2022</a:t>
            </a:fld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BDFF1B2-A745-40FB-B885-B3638A4F417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Presentation tit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DC9AD96-7B7E-4E05-90E8-1F98943B07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68819765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63528573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edia Placeholder 2">
            <a:extLst>
              <a:ext uri="{FF2B5EF4-FFF2-40B4-BE49-F238E27FC236}">
                <a16:creationId xmlns:a16="http://schemas.microsoft.com/office/drawing/2014/main" id="{0052CFA6-7CF5-41BD-9D94-2D0DAE108428}"/>
              </a:ext>
            </a:extLst>
          </p:cNvPr>
          <p:cNvSpPr>
            <a:spLocks noGrp="1"/>
          </p:cNvSpPr>
          <p:nvPr>
            <p:ph type="media" sz="quarter" idx="10" hasCustomPrompt="1"/>
          </p:nvPr>
        </p:nvSpPr>
        <p:spPr>
          <a:xfrm>
            <a:off x="0" y="0"/>
            <a:ext cx="12192000" cy="6858000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IN" dirty="0"/>
              <a:t>Video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11B3654-4C35-482F-B580-02C23F975B9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ECB31890-3905-4699-8A54-4A643E2FBD12}" type="datetime3">
              <a:rPr lang="en-US" smtClean="0"/>
              <a:t>5 August 2022</a:t>
            </a:fld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62EFEC5-10C4-4E79-B06E-F14B8F305F91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/>
              <a:t>Presentation tit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CC05763-C066-4818-A1DF-64ED4D64BE2E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en-GB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963241387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nal leg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AC129049-E3D5-4C0A-BB1F-72BEDB1FB59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74" y="0"/>
            <a:ext cx="12185653" cy="6858000"/>
          </a:xfrm>
          <a:prstGeom prst="rect">
            <a:avLst/>
          </a:prstGeom>
        </p:spPr>
      </p:pic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607483" y="719139"/>
            <a:ext cx="4675200" cy="5210062"/>
          </a:xfrm>
        </p:spPr>
        <p:txBody>
          <a:bodyPr/>
          <a:lstStyle>
            <a:lvl1pPr marL="0" indent="0" algn="l" defTabSz="994368" rtl="0" fontAlgn="base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SzPct val="100000"/>
              <a:buNone/>
              <a:defRPr lang="en-US" sz="1198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1pPr>
            <a:lvl2pPr marL="0" indent="0" algn="l" defTabSz="994368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900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2pPr>
            <a:lvl3pPr marL="176037" indent="-176037" algn="l" defTabSz="994368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900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3pPr>
            <a:lvl4pPr marL="0" indent="0" algn="l" defTabSz="994368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8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4pPr>
            <a:lvl5pPr marL="188725" indent="-188725" algn="l" defTabSz="994368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800" kern="1200" noProof="0" dirty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767166748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inal leg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Content Placeholder 3">
            <a:extLst>
              <a:ext uri="{FF2B5EF4-FFF2-40B4-BE49-F238E27FC236}">
                <a16:creationId xmlns:a16="http://schemas.microsoft.com/office/drawing/2014/main" id="{501A2F11-32A0-4526-A5F7-F4382DA5B47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50" y="0"/>
            <a:ext cx="12185653" cy="6858000"/>
          </a:xfrm>
          <a:prstGeom prst="rect">
            <a:avLst/>
          </a:prstGeom>
        </p:spPr>
      </p:pic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607483" y="719139"/>
            <a:ext cx="4675200" cy="5210062"/>
          </a:xfrm>
        </p:spPr>
        <p:txBody>
          <a:bodyPr/>
          <a:lstStyle>
            <a:lvl1pPr marL="0" indent="0" algn="l" defTabSz="994368" rtl="0" fontAlgn="base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SzPct val="100000"/>
              <a:buNone/>
              <a:defRPr lang="en-US" sz="1198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1pPr>
            <a:lvl2pPr marL="0" indent="0" algn="l" defTabSz="994368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900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2pPr>
            <a:lvl3pPr marL="176037" indent="-176037" algn="l" defTabSz="994368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900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3pPr>
            <a:lvl4pPr marL="0" indent="0" algn="l" defTabSz="994368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8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4pPr>
            <a:lvl5pPr marL="188725" indent="-188725" algn="l" defTabSz="994368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800" kern="1200" noProof="0" dirty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97733498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Final leg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E83BDE2E-2BCF-4140-945E-7D5610CDE4C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50" y="0"/>
            <a:ext cx="12185658" cy="6858000"/>
          </a:xfrm>
          <a:prstGeom prst="rect">
            <a:avLst/>
          </a:prstGeom>
        </p:spPr>
      </p:pic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607483" y="719139"/>
            <a:ext cx="4675200" cy="5210062"/>
          </a:xfrm>
        </p:spPr>
        <p:txBody>
          <a:bodyPr/>
          <a:lstStyle>
            <a:lvl1pPr marL="0" indent="0" algn="l" defTabSz="994368" rtl="0" fontAlgn="base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SzPct val="100000"/>
              <a:buNone/>
              <a:defRPr lang="en-US" sz="1198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1pPr>
            <a:lvl2pPr marL="0" indent="0" algn="l" defTabSz="994368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900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2pPr>
            <a:lvl3pPr marL="176037" indent="-176037" algn="l" defTabSz="994368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900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3pPr>
            <a:lvl4pPr marL="0" indent="0" algn="l" defTabSz="994368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8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4pPr>
            <a:lvl5pPr marL="188725" indent="-188725" algn="l" defTabSz="994368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800" kern="1200" noProof="0" dirty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49971790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95983037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56">
            <a:extLst>
              <a:ext uri="{FF2B5EF4-FFF2-40B4-BE49-F238E27FC236}">
                <a16:creationId xmlns:a16="http://schemas.microsoft.com/office/drawing/2014/main" id="{13A7AC18-CF42-4EC5-8D40-441EAE30A06C}"/>
              </a:ext>
            </a:extLst>
          </p:cNvPr>
          <p:cNvSpPr/>
          <p:nvPr userDrawn="1"/>
        </p:nvSpPr>
        <p:spPr>
          <a:xfrm>
            <a:off x="497857" y="795662"/>
            <a:ext cx="4927845" cy="3581484"/>
          </a:xfrm>
          <a:custGeom>
            <a:avLst/>
            <a:gdLst>
              <a:gd name="connsiteX0" fmla="*/ 4238387 w 4257675"/>
              <a:gd name="connsiteY0" fmla="*/ 0 h 3092804"/>
              <a:gd name="connsiteX1" fmla="*/ 4257675 w 4257675"/>
              <a:gd name="connsiteY1" fmla="*/ 0 h 3092804"/>
              <a:gd name="connsiteX2" fmla="*/ 4257675 w 4257675"/>
              <a:gd name="connsiteY2" fmla="*/ 3092804 h 3092804"/>
              <a:gd name="connsiteX3" fmla="*/ 0 w 4257675"/>
              <a:gd name="connsiteY3" fmla="*/ 3092804 h 3092804"/>
              <a:gd name="connsiteX4" fmla="*/ 0 w 4257675"/>
              <a:gd name="connsiteY4" fmla="*/ 747342 h 30928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7675" h="3092804">
                <a:moveTo>
                  <a:pt x="4238387" y="0"/>
                </a:moveTo>
                <a:lnTo>
                  <a:pt x="4257675" y="0"/>
                </a:lnTo>
                <a:lnTo>
                  <a:pt x="4257675" y="3092804"/>
                </a:lnTo>
                <a:lnTo>
                  <a:pt x="0" y="3092804"/>
                </a:lnTo>
                <a:lnTo>
                  <a:pt x="0" y="747342"/>
                </a:lnTo>
                <a:close/>
              </a:path>
            </a:pathLst>
          </a:custGeom>
          <a:solidFill>
            <a:srgbClr val="FFE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 dirty="0"/>
          </a:p>
        </p:txBody>
      </p:sp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775100" y="1954221"/>
            <a:ext cx="4326679" cy="979702"/>
          </a:xfrm>
        </p:spPr>
        <p:txBody>
          <a:bodyPr/>
          <a:lstStyle>
            <a:lvl1pPr>
              <a:defRPr sz="2998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2" name="Subtitle 2"/>
          <p:cNvSpPr>
            <a:spLocks noGrp="1"/>
          </p:cNvSpPr>
          <p:nvPr>
            <p:ph type="subTitle" idx="1"/>
          </p:nvPr>
        </p:nvSpPr>
        <p:spPr>
          <a:xfrm>
            <a:off x="775100" y="3046161"/>
            <a:ext cx="4326679" cy="1046323"/>
          </a:xfrm>
        </p:spPr>
        <p:txBody>
          <a:bodyPr/>
          <a:lstStyle>
            <a:lvl1pPr marL="0" indent="0" algn="l">
              <a:spcAft>
                <a:spcPts val="1198"/>
              </a:spcAft>
              <a:buNone/>
              <a:defRPr sz="1998">
                <a:solidFill>
                  <a:schemeClr val="bg1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598" b="1">
                <a:solidFill>
                  <a:srgbClr val="404040"/>
                </a:solidFill>
              </a:defRPr>
            </a:lvl2pPr>
            <a:lvl3pPr marL="9134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2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69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37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04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72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3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GB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F93BD223-2224-476C-AB5C-300C248C1618}"/>
              </a:ext>
            </a:extLst>
          </p:cNvPr>
          <p:cNvCxnSpPr>
            <a:cxnSpLocks/>
          </p:cNvCxnSpPr>
          <p:nvPr userDrawn="1"/>
        </p:nvCxnSpPr>
        <p:spPr>
          <a:xfrm>
            <a:off x="1332491" y="5709060"/>
            <a:ext cx="8117873" cy="0"/>
          </a:xfrm>
          <a:prstGeom prst="line">
            <a:avLst/>
          </a:prstGeom>
          <a:ln>
            <a:solidFill>
              <a:srgbClr val="82829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651B4C43-E5F8-400E-A971-58A3766B1BF0}"/>
              </a:ext>
            </a:extLst>
          </p:cNvPr>
          <p:cNvSpPr txBox="1"/>
          <p:nvPr userDrawn="1"/>
        </p:nvSpPr>
        <p:spPr>
          <a:xfrm>
            <a:off x="461745" y="5605203"/>
            <a:ext cx="1044529" cy="197581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r>
              <a:rPr lang="en-GB" sz="1198" dirty="0">
                <a:solidFill>
                  <a:srgbClr val="828290"/>
                </a:solidFill>
                <a:latin typeface="EYInterstate Light" panose="02000506000000020004" pitchFamily="2" charset="0"/>
              </a:rPr>
              <a:t>Written by</a:t>
            </a:r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A9465B6B-DFD4-4E0C-9ACE-E88CA22204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332491" y="6019189"/>
            <a:ext cx="3087667" cy="180000"/>
          </a:xfrm>
        </p:spPr>
        <p:txBody>
          <a:bodyPr/>
          <a:lstStyle>
            <a:lvl1pPr marL="0" indent="0">
              <a:buNone/>
              <a:defRPr sz="1198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Name Surname</a:t>
            </a:r>
            <a:endParaRPr lang="en-GB"/>
          </a:p>
        </p:txBody>
      </p:sp>
      <p:sp>
        <p:nvSpPr>
          <p:cNvPr id="13" name="Text Placeholder 16">
            <a:extLst>
              <a:ext uri="{FF2B5EF4-FFF2-40B4-BE49-F238E27FC236}">
                <a16:creationId xmlns:a16="http://schemas.microsoft.com/office/drawing/2014/main" id="{A1F2ED22-5637-4AB8-ABD8-3693A6EA55F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332491" y="6216807"/>
            <a:ext cx="3087667" cy="180000"/>
          </a:xfrm>
        </p:spPr>
        <p:txBody>
          <a:bodyPr/>
          <a:lstStyle>
            <a:lvl1pPr marL="0" indent="0">
              <a:buNone/>
              <a:defRPr sz="1198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Job Title</a:t>
            </a:r>
            <a:endParaRPr lang="en-GB"/>
          </a:p>
        </p:txBody>
      </p:sp>
      <p:sp>
        <p:nvSpPr>
          <p:cNvPr id="14" name="Picture Placeholder 19">
            <a:extLst>
              <a:ext uri="{FF2B5EF4-FFF2-40B4-BE49-F238E27FC236}">
                <a16:creationId xmlns:a16="http://schemas.microsoft.com/office/drawing/2014/main" id="{29A5E1BC-8F6B-43EF-9FF6-8242E7708BD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61743" y="5914642"/>
            <a:ext cx="575700" cy="576000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9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grpSp>
        <p:nvGrpSpPr>
          <p:cNvPr id="2" name="Group 4">
            <a:extLst>
              <a:ext uri="{FF2B5EF4-FFF2-40B4-BE49-F238E27FC236}">
                <a16:creationId xmlns:a16="http://schemas.microsoft.com/office/drawing/2014/main" id="{63F02F42-4916-4588-807F-4BB7367EB0EC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59392" y="4960938"/>
            <a:ext cx="1224912" cy="1435100"/>
            <a:chOff x="6529" y="3125"/>
            <a:chExt cx="772" cy="904"/>
          </a:xfrm>
        </p:grpSpPr>
        <p:sp>
          <p:nvSpPr>
            <p:cNvPr id="4" name="Freeform 5">
              <a:extLst>
                <a:ext uri="{FF2B5EF4-FFF2-40B4-BE49-F238E27FC236}">
                  <a16:creationId xmlns:a16="http://schemas.microsoft.com/office/drawing/2014/main" id="{0BD928C5-1C7D-4599-A7E9-8AB1B188C6A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/>
            </a:p>
          </p:txBody>
        </p:sp>
        <p:sp>
          <p:nvSpPr>
            <p:cNvPr id="5" name="Freeform 6">
              <a:extLst>
                <a:ext uri="{FF2B5EF4-FFF2-40B4-BE49-F238E27FC236}">
                  <a16:creationId xmlns:a16="http://schemas.microsoft.com/office/drawing/2014/main" id="{37C281E8-2924-471F-A849-26C37A059B4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/>
            </a:p>
          </p:txBody>
        </p:sp>
      </p:grpSp>
    </p:spTree>
    <p:extLst>
      <p:ext uri="{BB962C8B-B14F-4D97-AF65-F5344CB8AC3E}">
        <p14:creationId xmlns:p14="http://schemas.microsoft.com/office/powerpoint/2010/main" val="28773927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2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94200"/>
            <a:ext cx="10972800" cy="590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1" y="1137920"/>
            <a:ext cx="8234455" cy="48348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None/>
              <a:defRPr sz="1799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None/>
              <a:defRPr sz="1599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buNone/>
              <a:defRPr sz="1399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buNone/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9" name="Line 10">
            <a:extLst>
              <a:ext uri="{FF2B5EF4-FFF2-40B4-BE49-F238E27FC236}">
                <a16:creationId xmlns:a16="http://schemas.microsoft.com/office/drawing/2014/main" id="{CF130104-FAF2-4309-9701-573F37743137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601" y="907750"/>
            <a:ext cx="10974284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 dirty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0354617-5A1F-4D8E-8075-F2918D0E9D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66D130-B426-4A46-85E5-B0049A4DA5C7}" type="datetime3">
              <a:rPr lang="en-US" smtClean="0"/>
              <a:t>5 August 2022</a:t>
            </a:fld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9DAB026-E283-44F4-8795-98438568467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/>
              <a:t>Presentation tit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3657FA-64A4-4818-8A20-F1ACA6AC59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098767716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Approved question ta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6" name="Group 185">
            <a:extLst>
              <a:ext uri="{FF2B5EF4-FFF2-40B4-BE49-F238E27FC236}">
                <a16:creationId xmlns:a16="http://schemas.microsoft.com/office/drawing/2014/main" id="{9CDE954B-B280-441B-9B2D-3DC58AAE3926}"/>
              </a:ext>
            </a:extLst>
          </p:cNvPr>
          <p:cNvGrpSpPr/>
          <p:nvPr userDrawn="1"/>
        </p:nvGrpSpPr>
        <p:grpSpPr>
          <a:xfrm>
            <a:off x="497856" y="5826615"/>
            <a:ext cx="3876004" cy="570195"/>
            <a:chOff x="498115" y="5951018"/>
            <a:chExt cx="3878023" cy="570195"/>
          </a:xfrm>
        </p:grpSpPr>
        <p:sp>
          <p:nvSpPr>
            <p:cNvPr id="187" name="Rectangle 186">
              <a:extLst>
                <a:ext uri="{FF2B5EF4-FFF2-40B4-BE49-F238E27FC236}">
                  <a16:creationId xmlns:a16="http://schemas.microsoft.com/office/drawing/2014/main" id="{93D8FAC8-9530-49D4-8284-D35D1B1509D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98115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/>
            </a:p>
          </p:txBody>
        </p:sp>
        <p:sp>
          <p:nvSpPr>
            <p:cNvPr id="188" name="Rectangle 6">
              <a:extLst>
                <a:ext uri="{FF2B5EF4-FFF2-40B4-BE49-F238E27FC236}">
                  <a16:creationId xmlns:a16="http://schemas.microsoft.com/office/drawing/2014/main" id="{FD924F44-93C1-4254-B594-53DB14FD995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9341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/>
            </a:p>
          </p:txBody>
        </p:sp>
        <p:sp>
          <p:nvSpPr>
            <p:cNvPr id="189" name="Rectangle 7">
              <a:extLst>
                <a:ext uri="{FF2B5EF4-FFF2-40B4-BE49-F238E27FC236}">
                  <a16:creationId xmlns:a16="http://schemas.microsoft.com/office/drawing/2014/main" id="{2A2DA425-7935-45A1-B63F-2D14CF8D5F9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9045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/>
            </a:p>
          </p:txBody>
        </p:sp>
        <p:sp>
          <p:nvSpPr>
            <p:cNvPr id="190" name="Freeform 8">
              <a:extLst>
                <a:ext uri="{FF2B5EF4-FFF2-40B4-BE49-F238E27FC236}">
                  <a16:creationId xmlns:a16="http://schemas.microsoft.com/office/drawing/2014/main" id="{91EFF75E-13E7-4E35-B108-D9FD5E9C802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181188"/>
              <a:ext cx="94161" cy="130778"/>
            </a:xfrm>
            <a:custGeom>
              <a:avLst/>
              <a:gdLst>
                <a:gd name="T0" fmla="*/ 32 w 54"/>
                <a:gd name="T1" fmla="*/ 11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1 h 75"/>
                <a:gd name="T8" fmla="*/ 0 w 54"/>
                <a:gd name="T9" fmla="*/ 11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1 h 75"/>
                <a:gd name="T16" fmla="*/ 32 w 54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1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1"/>
                  </a:lnTo>
                  <a:lnTo>
                    <a:pt x="32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191" name="Freeform 9">
              <a:extLst>
                <a:ext uri="{FF2B5EF4-FFF2-40B4-BE49-F238E27FC236}">
                  <a16:creationId xmlns:a16="http://schemas.microsoft.com/office/drawing/2014/main" id="{4411951F-E009-4FE7-B2EC-47771CA8E17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174213"/>
              <a:ext cx="78468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192" name="Freeform 10">
              <a:extLst>
                <a:ext uri="{FF2B5EF4-FFF2-40B4-BE49-F238E27FC236}">
                  <a16:creationId xmlns:a16="http://schemas.microsoft.com/office/drawing/2014/main" id="{B28EE49C-5F5A-49C6-AEB8-6D12DDF344E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193" name="Freeform 11">
              <a:extLst>
                <a:ext uri="{FF2B5EF4-FFF2-40B4-BE49-F238E27FC236}">
                  <a16:creationId xmlns:a16="http://schemas.microsoft.com/office/drawing/2014/main" id="{6E2B7D76-D660-491F-8B04-169C6F138B0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174213"/>
              <a:ext cx="83698" cy="139497"/>
            </a:xfrm>
            <a:custGeom>
              <a:avLst/>
              <a:gdLst>
                <a:gd name="T0" fmla="*/ 33 w 33"/>
                <a:gd name="T1" fmla="*/ 35 h 55"/>
                <a:gd name="T2" fmla="*/ 31 w 33"/>
                <a:gd name="T3" fmla="*/ 44 h 55"/>
                <a:gd name="T4" fmla="*/ 28 w 33"/>
                <a:gd name="T5" fmla="*/ 50 h 55"/>
                <a:gd name="T6" fmla="*/ 23 w 33"/>
                <a:gd name="T7" fmla="*/ 53 h 55"/>
                <a:gd name="T8" fmla="*/ 17 w 33"/>
                <a:gd name="T9" fmla="*/ 55 h 55"/>
                <a:gd name="T10" fmla="*/ 12 w 33"/>
                <a:gd name="T11" fmla="*/ 53 h 55"/>
                <a:gd name="T12" fmla="*/ 8 w 33"/>
                <a:gd name="T13" fmla="*/ 50 h 55"/>
                <a:gd name="T14" fmla="*/ 8 w 33"/>
                <a:gd name="T15" fmla="*/ 54 h 55"/>
                <a:gd name="T16" fmla="*/ 0 w 33"/>
                <a:gd name="T17" fmla="*/ 54 h 55"/>
                <a:gd name="T18" fmla="*/ 0 w 33"/>
                <a:gd name="T19" fmla="*/ 4 h 55"/>
                <a:gd name="T20" fmla="*/ 8 w 33"/>
                <a:gd name="T21" fmla="*/ 0 h 55"/>
                <a:gd name="T22" fmla="*/ 8 w 33"/>
                <a:gd name="T23" fmla="*/ 19 h 55"/>
                <a:gd name="T24" fmla="*/ 10 w 33"/>
                <a:gd name="T25" fmla="*/ 17 h 55"/>
                <a:gd name="T26" fmla="*/ 12 w 33"/>
                <a:gd name="T27" fmla="*/ 16 h 55"/>
                <a:gd name="T28" fmla="*/ 14 w 33"/>
                <a:gd name="T29" fmla="*/ 15 h 55"/>
                <a:gd name="T30" fmla="*/ 18 w 33"/>
                <a:gd name="T31" fmla="*/ 15 h 55"/>
                <a:gd name="T32" fmla="*/ 24 w 33"/>
                <a:gd name="T33" fmla="*/ 16 h 55"/>
                <a:gd name="T34" fmla="*/ 28 w 33"/>
                <a:gd name="T35" fmla="*/ 19 h 55"/>
                <a:gd name="T36" fmla="*/ 31 w 33"/>
                <a:gd name="T37" fmla="*/ 26 h 55"/>
                <a:gd name="T38" fmla="*/ 33 w 33"/>
                <a:gd name="T39" fmla="*/ 35 h 55"/>
                <a:gd name="T40" fmla="*/ 25 w 33"/>
                <a:gd name="T41" fmla="*/ 35 h 55"/>
                <a:gd name="T42" fmla="*/ 23 w 33"/>
                <a:gd name="T43" fmla="*/ 25 h 55"/>
                <a:gd name="T44" fmla="*/ 16 w 33"/>
                <a:gd name="T45" fmla="*/ 22 h 55"/>
                <a:gd name="T46" fmla="*/ 14 w 33"/>
                <a:gd name="T47" fmla="*/ 22 h 55"/>
                <a:gd name="T48" fmla="*/ 11 w 33"/>
                <a:gd name="T49" fmla="*/ 23 h 55"/>
                <a:gd name="T50" fmla="*/ 9 w 33"/>
                <a:gd name="T51" fmla="*/ 25 h 55"/>
                <a:gd name="T52" fmla="*/ 8 w 33"/>
                <a:gd name="T53" fmla="*/ 26 h 55"/>
                <a:gd name="T54" fmla="*/ 8 w 33"/>
                <a:gd name="T55" fmla="*/ 43 h 55"/>
                <a:gd name="T56" fmla="*/ 9 w 33"/>
                <a:gd name="T57" fmla="*/ 44 h 55"/>
                <a:gd name="T58" fmla="*/ 11 w 33"/>
                <a:gd name="T59" fmla="*/ 46 h 55"/>
                <a:gd name="T60" fmla="*/ 14 w 33"/>
                <a:gd name="T61" fmla="*/ 47 h 55"/>
                <a:gd name="T62" fmla="*/ 17 w 33"/>
                <a:gd name="T63" fmla="*/ 48 h 55"/>
                <a:gd name="T64" fmla="*/ 23 w 33"/>
                <a:gd name="T65" fmla="*/ 45 h 55"/>
                <a:gd name="T66" fmla="*/ 25 w 33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5">
                  <a:moveTo>
                    <a:pt x="33" y="35"/>
                  </a:moveTo>
                  <a:cubicBezTo>
                    <a:pt x="33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7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6" y="55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8"/>
                    <a:pt x="10" y="17"/>
                  </a:cubicBezTo>
                  <a:cubicBezTo>
                    <a:pt x="11" y="17"/>
                    <a:pt x="11" y="16"/>
                    <a:pt x="12" y="16"/>
                  </a:cubicBezTo>
                  <a:cubicBezTo>
                    <a:pt x="13" y="16"/>
                    <a:pt x="13" y="15"/>
                    <a:pt x="14" y="15"/>
                  </a:cubicBezTo>
                  <a:cubicBezTo>
                    <a:pt x="15" y="15"/>
                    <a:pt x="16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30" y="21"/>
                    <a:pt x="31" y="23"/>
                    <a:pt x="31" y="26"/>
                  </a:cubicBezTo>
                  <a:cubicBezTo>
                    <a:pt x="32" y="28"/>
                    <a:pt x="33" y="32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5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1" y="23"/>
                    <a:pt x="10" y="24"/>
                    <a:pt x="9" y="25"/>
                  </a:cubicBezTo>
                  <a:cubicBezTo>
                    <a:pt x="9" y="25"/>
                    <a:pt x="8" y="26"/>
                    <a:pt x="8" y="26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8" y="43"/>
                    <a:pt x="9" y="44"/>
                    <a:pt x="9" y="44"/>
                  </a:cubicBezTo>
                  <a:cubicBezTo>
                    <a:pt x="10" y="45"/>
                    <a:pt x="11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6" y="48"/>
                    <a:pt x="17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194" name="Freeform 12">
              <a:extLst>
                <a:ext uri="{FF2B5EF4-FFF2-40B4-BE49-F238E27FC236}">
                  <a16:creationId xmlns:a16="http://schemas.microsoft.com/office/drawing/2014/main" id="{41BE51DE-402B-48B5-99C8-D8BB9A32DF3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195" name="Freeform 13">
              <a:extLst>
                <a:ext uri="{FF2B5EF4-FFF2-40B4-BE49-F238E27FC236}">
                  <a16:creationId xmlns:a16="http://schemas.microsoft.com/office/drawing/2014/main" id="{8D5E878B-8859-44FA-A69D-DCE630AAB0D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1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2" y="54"/>
                    <a:pt x="11" y="54"/>
                  </a:cubicBezTo>
                  <a:cubicBezTo>
                    <a:pt x="10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2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196" name="Freeform 14">
              <a:extLst>
                <a:ext uri="{FF2B5EF4-FFF2-40B4-BE49-F238E27FC236}">
                  <a16:creationId xmlns:a16="http://schemas.microsoft.com/office/drawing/2014/main" id="{08D55808-ECDC-4E9B-84ED-7301E9E716C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197" name="Freeform 15">
              <a:extLst>
                <a:ext uri="{FF2B5EF4-FFF2-40B4-BE49-F238E27FC236}">
                  <a16:creationId xmlns:a16="http://schemas.microsoft.com/office/drawing/2014/main" id="{3436B310-313E-4A53-A70D-CA0D0D97FE7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0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2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0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3" y="31"/>
                    <a:pt x="24" y="30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0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7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198" name="Freeform 16">
              <a:extLst>
                <a:ext uri="{FF2B5EF4-FFF2-40B4-BE49-F238E27FC236}">
                  <a16:creationId xmlns:a16="http://schemas.microsoft.com/office/drawing/2014/main" id="{F3CE55A9-AE55-4169-A58D-8171D9916EC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212575"/>
              <a:ext cx="55799" cy="99391"/>
            </a:xfrm>
            <a:custGeom>
              <a:avLst/>
              <a:gdLst>
                <a:gd name="T0" fmla="*/ 20 w 22"/>
                <a:gd name="T1" fmla="*/ 8 h 39"/>
                <a:gd name="T2" fmla="*/ 18 w 22"/>
                <a:gd name="T3" fmla="*/ 7 h 39"/>
                <a:gd name="T4" fmla="*/ 15 w 22"/>
                <a:gd name="T5" fmla="*/ 7 h 39"/>
                <a:gd name="T6" fmla="*/ 9 w 22"/>
                <a:gd name="T7" fmla="*/ 9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0 h 39"/>
                <a:gd name="T16" fmla="*/ 7 w 22"/>
                <a:gd name="T17" fmla="*/ 0 h 39"/>
                <a:gd name="T18" fmla="*/ 7 w 22"/>
                <a:gd name="T19" fmla="*/ 4 h 39"/>
                <a:gd name="T20" fmla="*/ 9 w 22"/>
                <a:gd name="T21" fmla="*/ 2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0 h 39"/>
                <a:gd name="T30" fmla="*/ 22 w 22"/>
                <a:gd name="T31" fmla="*/ 1 h 39"/>
                <a:gd name="T32" fmla="*/ 20 w 22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2" y="7"/>
                    <a:pt x="10" y="8"/>
                    <a:pt x="9" y="9"/>
                  </a:cubicBezTo>
                  <a:cubicBezTo>
                    <a:pt x="8" y="11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9" y="2"/>
                    <a:pt x="10" y="1"/>
                    <a:pt x="11" y="1"/>
                  </a:cubicBezTo>
                  <a:cubicBezTo>
                    <a:pt x="11" y="0"/>
                    <a:pt x="12" y="0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0"/>
                  </a:cubicBezTo>
                  <a:cubicBezTo>
                    <a:pt x="21" y="0"/>
                    <a:pt x="22" y="1"/>
                    <a:pt x="22" y="1"/>
                  </a:cubicBezTo>
                  <a:lnTo>
                    <a:pt x="20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199" name="Freeform 17">
              <a:extLst>
                <a:ext uri="{FF2B5EF4-FFF2-40B4-BE49-F238E27FC236}">
                  <a16:creationId xmlns:a16="http://schemas.microsoft.com/office/drawing/2014/main" id="{FA01BC48-4605-46FC-A7AC-192C7DBCA0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00" name="Freeform 18">
              <a:extLst>
                <a:ext uri="{FF2B5EF4-FFF2-40B4-BE49-F238E27FC236}">
                  <a16:creationId xmlns:a16="http://schemas.microsoft.com/office/drawing/2014/main" id="{870190F3-472B-4296-B88D-D6904B9F30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2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8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9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01" name="Freeform 19">
              <a:extLst>
                <a:ext uri="{FF2B5EF4-FFF2-40B4-BE49-F238E27FC236}">
                  <a16:creationId xmlns:a16="http://schemas.microsoft.com/office/drawing/2014/main" id="{6CEA0F2B-4AAB-4A16-B7F1-CFCB0C0DCEE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02" name="Freeform 20">
              <a:extLst>
                <a:ext uri="{FF2B5EF4-FFF2-40B4-BE49-F238E27FC236}">
                  <a16:creationId xmlns:a16="http://schemas.microsoft.com/office/drawing/2014/main" id="{CD64F657-7EE7-4AF2-ADE4-160C87E64D6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30922" y="6212575"/>
              <a:ext cx="80211" cy="134265"/>
            </a:xfrm>
            <a:custGeom>
              <a:avLst/>
              <a:gdLst>
                <a:gd name="T0" fmla="*/ 25 w 32"/>
                <a:gd name="T1" fmla="*/ 53 h 53"/>
                <a:gd name="T2" fmla="*/ 25 w 32"/>
                <a:gd name="T3" fmla="*/ 35 h 53"/>
                <a:gd name="T4" fmla="*/ 20 w 32"/>
                <a:gd name="T5" fmla="*/ 38 h 53"/>
                <a:gd name="T6" fmla="*/ 15 w 32"/>
                <a:gd name="T7" fmla="*/ 40 h 53"/>
                <a:gd name="T8" fmla="*/ 9 w 32"/>
                <a:gd name="T9" fmla="*/ 38 h 53"/>
                <a:gd name="T10" fmla="*/ 4 w 32"/>
                <a:gd name="T11" fmla="*/ 35 h 53"/>
                <a:gd name="T12" fmla="*/ 1 w 32"/>
                <a:gd name="T13" fmla="*/ 28 h 53"/>
                <a:gd name="T14" fmla="*/ 0 w 32"/>
                <a:gd name="T15" fmla="*/ 19 h 53"/>
                <a:gd name="T16" fmla="*/ 1 w 32"/>
                <a:gd name="T17" fmla="*/ 10 h 53"/>
                <a:gd name="T18" fmla="*/ 4 w 32"/>
                <a:gd name="T19" fmla="*/ 4 h 53"/>
                <a:gd name="T20" fmla="*/ 9 w 32"/>
                <a:gd name="T21" fmla="*/ 1 h 53"/>
                <a:gd name="T22" fmla="*/ 15 w 32"/>
                <a:gd name="T23" fmla="*/ 0 h 53"/>
                <a:gd name="T24" fmla="*/ 18 w 32"/>
                <a:gd name="T25" fmla="*/ 0 h 53"/>
                <a:gd name="T26" fmla="*/ 20 w 32"/>
                <a:gd name="T27" fmla="*/ 1 h 53"/>
                <a:gd name="T28" fmla="*/ 23 w 32"/>
                <a:gd name="T29" fmla="*/ 2 h 53"/>
                <a:gd name="T30" fmla="*/ 25 w 32"/>
                <a:gd name="T31" fmla="*/ 4 h 53"/>
                <a:gd name="T32" fmla="*/ 25 w 32"/>
                <a:gd name="T33" fmla="*/ 0 h 53"/>
                <a:gd name="T34" fmla="*/ 32 w 32"/>
                <a:gd name="T35" fmla="*/ 0 h 53"/>
                <a:gd name="T36" fmla="*/ 32 w 32"/>
                <a:gd name="T37" fmla="*/ 49 h 53"/>
                <a:gd name="T38" fmla="*/ 25 w 32"/>
                <a:gd name="T39" fmla="*/ 53 h 53"/>
                <a:gd name="T40" fmla="*/ 25 w 32"/>
                <a:gd name="T41" fmla="*/ 12 h 53"/>
                <a:gd name="T42" fmla="*/ 23 w 32"/>
                <a:gd name="T43" fmla="*/ 10 h 53"/>
                <a:gd name="T44" fmla="*/ 21 w 32"/>
                <a:gd name="T45" fmla="*/ 8 h 53"/>
                <a:gd name="T46" fmla="*/ 18 w 32"/>
                <a:gd name="T47" fmla="*/ 7 h 53"/>
                <a:gd name="T48" fmla="*/ 16 w 32"/>
                <a:gd name="T49" fmla="*/ 7 h 53"/>
                <a:gd name="T50" fmla="*/ 9 w 32"/>
                <a:gd name="T51" fmla="*/ 10 h 53"/>
                <a:gd name="T52" fmla="*/ 7 w 32"/>
                <a:gd name="T53" fmla="*/ 19 h 53"/>
                <a:gd name="T54" fmla="*/ 10 w 32"/>
                <a:gd name="T55" fmla="*/ 29 h 53"/>
                <a:gd name="T56" fmla="*/ 16 w 32"/>
                <a:gd name="T57" fmla="*/ 33 h 53"/>
                <a:gd name="T58" fmla="*/ 21 w 32"/>
                <a:gd name="T59" fmla="*/ 31 h 53"/>
                <a:gd name="T60" fmla="*/ 25 w 32"/>
                <a:gd name="T61" fmla="*/ 28 h 53"/>
                <a:gd name="T62" fmla="*/ 25 w 32"/>
                <a:gd name="T63" fmla="*/ 1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2" h="53">
                  <a:moveTo>
                    <a:pt x="25" y="53"/>
                  </a:moveTo>
                  <a:cubicBezTo>
                    <a:pt x="25" y="35"/>
                    <a:pt x="25" y="35"/>
                    <a:pt x="25" y="35"/>
                  </a:cubicBezTo>
                  <a:cubicBezTo>
                    <a:pt x="23" y="36"/>
                    <a:pt x="22" y="37"/>
                    <a:pt x="20" y="38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3" y="40"/>
                    <a:pt x="11" y="39"/>
                    <a:pt x="9" y="38"/>
                  </a:cubicBezTo>
                  <a:cubicBezTo>
                    <a:pt x="7" y="38"/>
                    <a:pt x="5" y="36"/>
                    <a:pt x="4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0" y="26"/>
                    <a:pt x="0" y="23"/>
                    <a:pt x="0" y="19"/>
                  </a:cubicBezTo>
                  <a:cubicBezTo>
                    <a:pt x="0" y="16"/>
                    <a:pt x="0" y="13"/>
                    <a:pt x="1" y="10"/>
                  </a:cubicBezTo>
                  <a:cubicBezTo>
                    <a:pt x="2" y="8"/>
                    <a:pt x="3" y="6"/>
                    <a:pt x="4" y="4"/>
                  </a:cubicBezTo>
                  <a:cubicBezTo>
                    <a:pt x="6" y="3"/>
                    <a:pt x="7" y="2"/>
                    <a:pt x="9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6" y="0"/>
                    <a:pt x="17" y="0"/>
                    <a:pt x="18" y="0"/>
                  </a:cubicBezTo>
                  <a:cubicBezTo>
                    <a:pt x="19" y="0"/>
                    <a:pt x="20" y="0"/>
                    <a:pt x="20" y="1"/>
                  </a:cubicBezTo>
                  <a:cubicBezTo>
                    <a:pt x="21" y="1"/>
                    <a:pt x="22" y="2"/>
                    <a:pt x="23" y="2"/>
                  </a:cubicBezTo>
                  <a:cubicBezTo>
                    <a:pt x="23" y="3"/>
                    <a:pt x="24" y="3"/>
                    <a:pt x="25" y="4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49"/>
                    <a:pt x="32" y="49"/>
                    <a:pt x="32" y="49"/>
                  </a:cubicBezTo>
                  <a:lnTo>
                    <a:pt x="25" y="53"/>
                  </a:lnTo>
                  <a:close/>
                  <a:moveTo>
                    <a:pt x="25" y="12"/>
                  </a:moveTo>
                  <a:cubicBezTo>
                    <a:pt x="24" y="11"/>
                    <a:pt x="24" y="10"/>
                    <a:pt x="23" y="10"/>
                  </a:cubicBezTo>
                  <a:cubicBezTo>
                    <a:pt x="23" y="9"/>
                    <a:pt x="22" y="9"/>
                    <a:pt x="21" y="8"/>
                  </a:cubicBezTo>
                  <a:cubicBezTo>
                    <a:pt x="20" y="8"/>
                    <a:pt x="19" y="7"/>
                    <a:pt x="18" y="7"/>
                  </a:cubicBezTo>
                  <a:cubicBezTo>
                    <a:pt x="18" y="7"/>
                    <a:pt x="17" y="7"/>
                    <a:pt x="16" y="7"/>
                  </a:cubicBezTo>
                  <a:cubicBezTo>
                    <a:pt x="13" y="7"/>
                    <a:pt x="11" y="8"/>
                    <a:pt x="9" y="10"/>
                  </a:cubicBezTo>
                  <a:cubicBezTo>
                    <a:pt x="8" y="12"/>
                    <a:pt x="7" y="15"/>
                    <a:pt x="7" y="19"/>
                  </a:cubicBezTo>
                  <a:cubicBezTo>
                    <a:pt x="7" y="23"/>
                    <a:pt x="8" y="27"/>
                    <a:pt x="10" y="29"/>
                  </a:cubicBezTo>
                  <a:cubicBezTo>
                    <a:pt x="11" y="31"/>
                    <a:pt x="13" y="33"/>
                    <a:pt x="16" y="33"/>
                  </a:cubicBezTo>
                  <a:cubicBezTo>
                    <a:pt x="18" y="33"/>
                    <a:pt x="19" y="32"/>
                    <a:pt x="21" y="31"/>
                  </a:cubicBezTo>
                  <a:cubicBezTo>
                    <a:pt x="22" y="30"/>
                    <a:pt x="24" y="29"/>
                    <a:pt x="25" y="28"/>
                  </a:cubicBezTo>
                  <a:lnTo>
                    <a:pt x="25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03" name="Freeform 21">
              <a:extLst>
                <a:ext uri="{FF2B5EF4-FFF2-40B4-BE49-F238E27FC236}">
                  <a16:creationId xmlns:a16="http://schemas.microsoft.com/office/drawing/2014/main" id="{FA80A690-9084-4519-8D88-A01963C0236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35545" y="6212575"/>
              <a:ext cx="78468" cy="101135"/>
            </a:xfrm>
            <a:custGeom>
              <a:avLst/>
              <a:gdLst>
                <a:gd name="T0" fmla="*/ 24 w 31"/>
                <a:gd name="T1" fmla="*/ 39 h 40"/>
                <a:gd name="T2" fmla="*/ 24 w 31"/>
                <a:gd name="T3" fmla="*/ 35 h 40"/>
                <a:gd name="T4" fmla="*/ 20 w 31"/>
                <a:gd name="T5" fmla="*/ 38 h 40"/>
                <a:gd name="T6" fmla="*/ 14 w 31"/>
                <a:gd name="T7" fmla="*/ 40 h 40"/>
                <a:gd name="T8" fmla="*/ 4 w 31"/>
                <a:gd name="T9" fmla="*/ 35 h 40"/>
                <a:gd name="T10" fmla="*/ 0 w 31"/>
                <a:gd name="T11" fmla="*/ 22 h 40"/>
                <a:gd name="T12" fmla="*/ 0 w 31"/>
                <a:gd name="T13" fmla="*/ 0 h 40"/>
                <a:gd name="T14" fmla="*/ 8 w 31"/>
                <a:gd name="T15" fmla="*/ 0 h 40"/>
                <a:gd name="T16" fmla="*/ 8 w 31"/>
                <a:gd name="T17" fmla="*/ 22 h 40"/>
                <a:gd name="T18" fmla="*/ 10 w 31"/>
                <a:gd name="T19" fmla="*/ 30 h 40"/>
                <a:gd name="T20" fmla="*/ 16 w 31"/>
                <a:gd name="T21" fmla="*/ 33 h 40"/>
                <a:gd name="T22" fmla="*/ 22 w 31"/>
                <a:gd name="T23" fmla="*/ 30 h 40"/>
                <a:gd name="T24" fmla="*/ 24 w 31"/>
                <a:gd name="T25" fmla="*/ 23 h 40"/>
                <a:gd name="T26" fmla="*/ 24 w 31"/>
                <a:gd name="T27" fmla="*/ 0 h 40"/>
                <a:gd name="T28" fmla="*/ 31 w 31"/>
                <a:gd name="T29" fmla="*/ 0 h 40"/>
                <a:gd name="T30" fmla="*/ 31 w 31"/>
                <a:gd name="T31" fmla="*/ 39 h 40"/>
                <a:gd name="T32" fmla="*/ 24 w 31"/>
                <a:gd name="T33" fmla="*/ 39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1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2" y="38"/>
                    <a:pt x="20" y="38"/>
                  </a:cubicBezTo>
                  <a:cubicBezTo>
                    <a:pt x="18" y="39"/>
                    <a:pt x="16" y="40"/>
                    <a:pt x="14" y="40"/>
                  </a:cubicBezTo>
                  <a:cubicBezTo>
                    <a:pt x="10" y="40"/>
                    <a:pt x="6" y="38"/>
                    <a:pt x="4" y="35"/>
                  </a:cubicBezTo>
                  <a:cubicBezTo>
                    <a:pt x="2" y="32"/>
                    <a:pt x="0" y="28"/>
                    <a:pt x="0" y="2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6"/>
                    <a:pt x="9" y="28"/>
                    <a:pt x="10" y="30"/>
                  </a:cubicBezTo>
                  <a:cubicBezTo>
                    <a:pt x="11" y="32"/>
                    <a:pt x="13" y="33"/>
                    <a:pt x="16" y="33"/>
                  </a:cubicBezTo>
                  <a:cubicBezTo>
                    <a:pt x="18" y="33"/>
                    <a:pt x="20" y="32"/>
                    <a:pt x="22" y="30"/>
                  </a:cubicBezTo>
                  <a:cubicBezTo>
                    <a:pt x="23" y="28"/>
                    <a:pt x="24" y="26"/>
                    <a:pt x="24" y="23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4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04" name="Freeform 22">
              <a:extLst>
                <a:ext uri="{FF2B5EF4-FFF2-40B4-BE49-F238E27FC236}">
                  <a16:creationId xmlns:a16="http://schemas.microsoft.com/office/drawing/2014/main" id="{E847401D-2482-482A-AC12-D2E83C13546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93493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1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2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05" name="Freeform 23">
              <a:extLst>
                <a:ext uri="{FF2B5EF4-FFF2-40B4-BE49-F238E27FC236}">
                  <a16:creationId xmlns:a16="http://schemas.microsoft.com/office/drawing/2014/main" id="{86054F72-4509-4465-B9A8-8DAE3EFD35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30841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1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4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7 w 29"/>
                <a:gd name="T55" fmla="*/ 24 h 40"/>
                <a:gd name="T56" fmla="*/ 13 w 29"/>
                <a:gd name="T57" fmla="*/ 22 h 40"/>
                <a:gd name="T58" fmla="*/ 8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2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3" y="6"/>
                    <a:pt x="11" y="7"/>
                    <a:pt x="10" y="7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1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9" y="25"/>
                    <a:pt x="18" y="24"/>
                    <a:pt x="17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8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3" y="15"/>
                    <a:pt x="2" y="14"/>
                  </a:cubicBezTo>
                  <a:cubicBezTo>
                    <a:pt x="2" y="13"/>
                    <a:pt x="2" y="12"/>
                    <a:pt x="2" y="10"/>
                  </a:cubicBezTo>
                  <a:cubicBezTo>
                    <a:pt x="2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06" name="Freeform 24">
              <a:extLst>
                <a:ext uri="{FF2B5EF4-FFF2-40B4-BE49-F238E27FC236}">
                  <a16:creationId xmlns:a16="http://schemas.microsoft.com/office/drawing/2014/main" id="{813850E4-4B62-4FDA-ABD6-F5A5AA5E7C2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1802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07" name="Freeform 25">
              <a:extLst>
                <a:ext uri="{FF2B5EF4-FFF2-40B4-BE49-F238E27FC236}">
                  <a16:creationId xmlns:a16="http://schemas.microsoft.com/office/drawing/2014/main" id="{1B4F0124-2FAE-4D54-9ECC-E88A8031BBD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194750" y="6175958"/>
              <a:ext cx="24412" cy="136010"/>
            </a:xfrm>
            <a:custGeom>
              <a:avLst/>
              <a:gdLst>
                <a:gd name="T0" fmla="*/ 10 w 10"/>
                <a:gd name="T1" fmla="*/ 5 h 53"/>
                <a:gd name="T2" fmla="*/ 9 w 10"/>
                <a:gd name="T3" fmla="*/ 6 h 53"/>
                <a:gd name="T4" fmla="*/ 8 w 10"/>
                <a:gd name="T5" fmla="*/ 8 h 53"/>
                <a:gd name="T6" fmla="*/ 7 w 10"/>
                <a:gd name="T7" fmla="*/ 9 h 53"/>
                <a:gd name="T8" fmla="*/ 5 w 10"/>
                <a:gd name="T9" fmla="*/ 9 h 53"/>
                <a:gd name="T10" fmla="*/ 3 w 10"/>
                <a:gd name="T11" fmla="*/ 9 h 53"/>
                <a:gd name="T12" fmla="*/ 1 w 10"/>
                <a:gd name="T13" fmla="*/ 8 h 53"/>
                <a:gd name="T14" fmla="*/ 0 w 10"/>
                <a:gd name="T15" fmla="*/ 6 h 53"/>
                <a:gd name="T16" fmla="*/ 0 w 10"/>
                <a:gd name="T17" fmla="*/ 5 h 53"/>
                <a:gd name="T18" fmla="*/ 0 w 10"/>
                <a:gd name="T19" fmla="*/ 3 h 53"/>
                <a:gd name="T20" fmla="*/ 1 w 10"/>
                <a:gd name="T21" fmla="*/ 1 h 53"/>
                <a:gd name="T22" fmla="*/ 3 w 10"/>
                <a:gd name="T23" fmla="*/ 0 h 53"/>
                <a:gd name="T24" fmla="*/ 5 w 10"/>
                <a:gd name="T25" fmla="*/ 0 h 53"/>
                <a:gd name="T26" fmla="*/ 7 w 10"/>
                <a:gd name="T27" fmla="*/ 0 h 53"/>
                <a:gd name="T28" fmla="*/ 8 w 10"/>
                <a:gd name="T29" fmla="*/ 1 h 53"/>
                <a:gd name="T30" fmla="*/ 9 w 10"/>
                <a:gd name="T31" fmla="*/ 3 h 53"/>
                <a:gd name="T32" fmla="*/ 10 w 10"/>
                <a:gd name="T33" fmla="*/ 5 h 53"/>
                <a:gd name="T34" fmla="*/ 1 w 10"/>
                <a:gd name="T35" fmla="*/ 53 h 53"/>
                <a:gd name="T36" fmla="*/ 1 w 10"/>
                <a:gd name="T37" fmla="*/ 14 h 53"/>
                <a:gd name="T38" fmla="*/ 9 w 10"/>
                <a:gd name="T39" fmla="*/ 14 h 53"/>
                <a:gd name="T40" fmla="*/ 9 w 10"/>
                <a:gd name="T41" fmla="*/ 53 h 53"/>
                <a:gd name="T42" fmla="*/ 1 w 10"/>
                <a:gd name="T43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" h="53">
                  <a:moveTo>
                    <a:pt x="10" y="5"/>
                  </a:moveTo>
                  <a:cubicBezTo>
                    <a:pt x="10" y="5"/>
                    <a:pt x="10" y="6"/>
                    <a:pt x="9" y="6"/>
                  </a:cubicBezTo>
                  <a:cubicBezTo>
                    <a:pt x="9" y="7"/>
                    <a:pt x="9" y="8"/>
                    <a:pt x="8" y="8"/>
                  </a:cubicBezTo>
                  <a:cubicBezTo>
                    <a:pt x="8" y="8"/>
                    <a:pt x="7" y="9"/>
                    <a:pt x="7" y="9"/>
                  </a:cubicBezTo>
                  <a:cubicBezTo>
                    <a:pt x="6" y="9"/>
                    <a:pt x="6" y="9"/>
                    <a:pt x="5" y="9"/>
                  </a:cubicBezTo>
                  <a:cubicBezTo>
                    <a:pt x="4" y="9"/>
                    <a:pt x="4" y="9"/>
                    <a:pt x="3" y="9"/>
                  </a:cubicBezTo>
                  <a:cubicBezTo>
                    <a:pt x="2" y="9"/>
                    <a:pt x="2" y="8"/>
                    <a:pt x="1" y="8"/>
                  </a:cubicBezTo>
                  <a:cubicBezTo>
                    <a:pt x="1" y="8"/>
                    <a:pt x="1" y="7"/>
                    <a:pt x="0" y="6"/>
                  </a:cubicBezTo>
                  <a:cubicBezTo>
                    <a:pt x="0" y="6"/>
                    <a:pt x="0" y="5"/>
                    <a:pt x="0" y="5"/>
                  </a:cubicBezTo>
                  <a:cubicBezTo>
                    <a:pt x="0" y="4"/>
                    <a:pt x="0" y="3"/>
                    <a:pt x="0" y="3"/>
                  </a:cubicBezTo>
                  <a:cubicBezTo>
                    <a:pt x="1" y="2"/>
                    <a:pt x="1" y="2"/>
                    <a:pt x="1" y="1"/>
                  </a:cubicBezTo>
                  <a:cubicBezTo>
                    <a:pt x="2" y="1"/>
                    <a:pt x="2" y="0"/>
                    <a:pt x="3" y="0"/>
                  </a:cubicBezTo>
                  <a:cubicBezTo>
                    <a:pt x="4" y="0"/>
                    <a:pt x="4" y="0"/>
                    <a:pt x="5" y="0"/>
                  </a:cubicBezTo>
                  <a:cubicBezTo>
                    <a:pt x="6" y="0"/>
                    <a:pt x="6" y="0"/>
                    <a:pt x="7" y="0"/>
                  </a:cubicBezTo>
                  <a:cubicBezTo>
                    <a:pt x="7" y="0"/>
                    <a:pt x="8" y="1"/>
                    <a:pt x="8" y="1"/>
                  </a:cubicBezTo>
                  <a:cubicBezTo>
                    <a:pt x="9" y="2"/>
                    <a:pt x="9" y="2"/>
                    <a:pt x="9" y="3"/>
                  </a:cubicBezTo>
                  <a:cubicBezTo>
                    <a:pt x="10" y="3"/>
                    <a:pt x="10" y="4"/>
                    <a:pt x="10" y="5"/>
                  </a:cubicBezTo>
                  <a:close/>
                  <a:moveTo>
                    <a:pt x="1" y="53"/>
                  </a:moveTo>
                  <a:cubicBezTo>
                    <a:pt x="1" y="14"/>
                    <a:pt x="1" y="14"/>
                    <a:pt x="1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53"/>
                    <a:pt x="9" y="53"/>
                    <a:pt x="9" y="53"/>
                  </a:cubicBezTo>
                  <a:lnTo>
                    <a:pt x="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08" name="Freeform 26">
              <a:extLst>
                <a:ext uri="{FF2B5EF4-FFF2-40B4-BE49-F238E27FC236}">
                  <a16:creationId xmlns:a16="http://schemas.microsoft.com/office/drawing/2014/main" id="{2A730E5F-DF9C-488E-B4E0-EE9F501529E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236599" y="6212575"/>
              <a:ext cx="87186" cy="101135"/>
            </a:xfrm>
            <a:custGeom>
              <a:avLst/>
              <a:gdLst>
                <a:gd name="T0" fmla="*/ 34 w 34"/>
                <a:gd name="T1" fmla="*/ 19 h 40"/>
                <a:gd name="T2" fmla="*/ 33 w 34"/>
                <a:gd name="T3" fmla="*/ 28 h 40"/>
                <a:gd name="T4" fmla="*/ 29 w 34"/>
                <a:gd name="T5" fmla="*/ 34 h 40"/>
                <a:gd name="T6" fmla="*/ 24 w 34"/>
                <a:gd name="T7" fmla="*/ 38 h 40"/>
                <a:gd name="T8" fmla="*/ 17 w 34"/>
                <a:gd name="T9" fmla="*/ 40 h 40"/>
                <a:gd name="T10" fmla="*/ 10 w 34"/>
                <a:gd name="T11" fmla="*/ 38 h 40"/>
                <a:gd name="T12" fmla="*/ 5 w 34"/>
                <a:gd name="T13" fmla="*/ 34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1 h 40"/>
                <a:gd name="T20" fmla="*/ 5 w 34"/>
                <a:gd name="T21" fmla="*/ 5 h 40"/>
                <a:gd name="T22" fmla="*/ 10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1 h 40"/>
                <a:gd name="T32" fmla="*/ 34 w 34"/>
                <a:gd name="T33" fmla="*/ 19 h 40"/>
                <a:gd name="T34" fmla="*/ 26 w 34"/>
                <a:gd name="T35" fmla="*/ 20 h 40"/>
                <a:gd name="T36" fmla="*/ 26 w 34"/>
                <a:gd name="T37" fmla="*/ 14 h 40"/>
                <a:gd name="T38" fmla="*/ 24 w 34"/>
                <a:gd name="T39" fmla="*/ 10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0 h 40"/>
                <a:gd name="T48" fmla="*/ 8 w 34"/>
                <a:gd name="T49" fmla="*/ 14 h 40"/>
                <a:gd name="T50" fmla="*/ 7 w 34"/>
                <a:gd name="T51" fmla="*/ 19 h 40"/>
                <a:gd name="T52" fmla="*/ 8 w 34"/>
                <a:gd name="T53" fmla="*/ 25 h 40"/>
                <a:gd name="T54" fmla="*/ 10 w 34"/>
                <a:gd name="T55" fmla="*/ 29 h 40"/>
                <a:gd name="T56" fmla="*/ 13 w 34"/>
                <a:gd name="T57" fmla="*/ 32 h 40"/>
                <a:gd name="T58" fmla="*/ 17 w 34"/>
                <a:gd name="T59" fmla="*/ 32 h 40"/>
                <a:gd name="T60" fmla="*/ 21 w 34"/>
                <a:gd name="T61" fmla="*/ 31 h 40"/>
                <a:gd name="T62" fmla="*/ 24 w 34"/>
                <a:gd name="T63" fmla="*/ 29 h 40"/>
                <a:gd name="T64" fmla="*/ 26 w 34"/>
                <a:gd name="T65" fmla="*/ 25 h 40"/>
                <a:gd name="T66" fmla="*/ 26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19"/>
                  </a:moveTo>
                  <a:cubicBezTo>
                    <a:pt x="34" y="23"/>
                    <a:pt x="34" y="25"/>
                    <a:pt x="33" y="28"/>
                  </a:cubicBezTo>
                  <a:cubicBezTo>
                    <a:pt x="32" y="30"/>
                    <a:pt x="31" y="33"/>
                    <a:pt x="29" y="34"/>
                  </a:cubicBezTo>
                  <a:cubicBezTo>
                    <a:pt x="28" y="36"/>
                    <a:pt x="26" y="37"/>
                    <a:pt x="24" y="38"/>
                  </a:cubicBezTo>
                  <a:cubicBezTo>
                    <a:pt x="21" y="39"/>
                    <a:pt x="19" y="40"/>
                    <a:pt x="17" y="40"/>
                  </a:cubicBezTo>
                  <a:cubicBezTo>
                    <a:pt x="14" y="40"/>
                    <a:pt x="12" y="39"/>
                    <a:pt x="10" y="38"/>
                  </a:cubicBezTo>
                  <a:cubicBezTo>
                    <a:pt x="8" y="37"/>
                    <a:pt x="6" y="36"/>
                    <a:pt x="5" y="34"/>
                  </a:cubicBezTo>
                  <a:cubicBezTo>
                    <a:pt x="3" y="32"/>
                    <a:pt x="2" y="30"/>
                    <a:pt x="1" y="28"/>
                  </a:cubicBezTo>
                  <a:cubicBezTo>
                    <a:pt x="0" y="25"/>
                    <a:pt x="0" y="23"/>
                    <a:pt x="0" y="20"/>
                  </a:cubicBezTo>
                  <a:cubicBezTo>
                    <a:pt x="0" y="16"/>
                    <a:pt x="0" y="14"/>
                    <a:pt x="1" y="11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8" y="3"/>
                    <a:pt x="29" y="5"/>
                  </a:cubicBezTo>
                  <a:cubicBezTo>
                    <a:pt x="31" y="7"/>
                    <a:pt x="32" y="9"/>
                    <a:pt x="33" y="11"/>
                  </a:cubicBezTo>
                  <a:cubicBezTo>
                    <a:pt x="34" y="14"/>
                    <a:pt x="34" y="16"/>
                    <a:pt x="34" y="19"/>
                  </a:cubicBezTo>
                  <a:close/>
                  <a:moveTo>
                    <a:pt x="26" y="20"/>
                  </a:moveTo>
                  <a:cubicBezTo>
                    <a:pt x="26" y="18"/>
                    <a:pt x="26" y="16"/>
                    <a:pt x="26" y="14"/>
                  </a:cubicBezTo>
                  <a:cubicBezTo>
                    <a:pt x="25" y="13"/>
                    <a:pt x="25" y="11"/>
                    <a:pt x="24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19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11"/>
                    <a:pt x="8" y="13"/>
                    <a:pt x="8" y="14"/>
                  </a:cubicBezTo>
                  <a:cubicBezTo>
                    <a:pt x="8" y="16"/>
                    <a:pt x="7" y="17"/>
                    <a:pt x="7" y="19"/>
                  </a:cubicBezTo>
                  <a:cubicBezTo>
                    <a:pt x="7" y="21"/>
                    <a:pt x="8" y="23"/>
                    <a:pt x="8" y="25"/>
                  </a:cubicBezTo>
                  <a:cubicBezTo>
                    <a:pt x="9" y="27"/>
                    <a:pt x="9" y="28"/>
                    <a:pt x="10" y="29"/>
                  </a:cubicBezTo>
                  <a:cubicBezTo>
                    <a:pt x="11" y="30"/>
                    <a:pt x="12" y="31"/>
                    <a:pt x="13" y="32"/>
                  </a:cubicBezTo>
                  <a:cubicBezTo>
                    <a:pt x="14" y="32"/>
                    <a:pt x="16" y="32"/>
                    <a:pt x="17" y="32"/>
                  </a:cubicBezTo>
                  <a:cubicBezTo>
                    <a:pt x="18" y="32"/>
                    <a:pt x="20" y="32"/>
                    <a:pt x="21" y="31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7"/>
                    <a:pt x="25" y="26"/>
                    <a:pt x="26" y="25"/>
                  </a:cubicBezTo>
                  <a:cubicBezTo>
                    <a:pt x="26" y="23"/>
                    <a:pt x="26" y="21"/>
                    <a:pt x="26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09" name="Freeform 27">
              <a:extLst>
                <a:ext uri="{FF2B5EF4-FFF2-40B4-BE49-F238E27FC236}">
                  <a16:creationId xmlns:a16="http://schemas.microsoft.com/office/drawing/2014/main" id="{39861D7E-D8DA-436F-9E2F-5C08A8BFB4D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44710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1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9 w 31"/>
                <a:gd name="T11" fmla="*/ 9 h 39"/>
                <a:gd name="T12" fmla="*/ 8 w 31"/>
                <a:gd name="T13" fmla="*/ 12 h 39"/>
                <a:gd name="T14" fmla="*/ 7 w 31"/>
                <a:gd name="T15" fmla="*/ 16 h 39"/>
                <a:gd name="T16" fmla="*/ 7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7 w 31"/>
                <a:gd name="T23" fmla="*/ 0 h 39"/>
                <a:gd name="T24" fmla="*/ 7 w 31"/>
                <a:gd name="T25" fmla="*/ 4 h 39"/>
                <a:gd name="T26" fmla="*/ 9 w 31"/>
                <a:gd name="T27" fmla="*/ 2 h 39"/>
                <a:gd name="T28" fmla="*/ 11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7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1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9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7" y="15"/>
                    <a:pt x="7" y="16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9" y="0"/>
                    <a:pt x="21" y="0"/>
                    <a:pt x="23" y="1"/>
                  </a:cubicBezTo>
                  <a:cubicBezTo>
                    <a:pt x="25" y="1"/>
                    <a:pt x="26" y="2"/>
                    <a:pt x="27" y="4"/>
                  </a:cubicBezTo>
                  <a:cubicBezTo>
                    <a:pt x="28" y="5"/>
                    <a:pt x="29" y="7"/>
                    <a:pt x="30" y="9"/>
                  </a:cubicBezTo>
                  <a:cubicBezTo>
                    <a:pt x="30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10" name="Freeform 28">
              <a:extLst>
                <a:ext uri="{FF2B5EF4-FFF2-40B4-BE49-F238E27FC236}">
                  <a16:creationId xmlns:a16="http://schemas.microsoft.com/office/drawing/2014/main" id="{8B038F9F-6A9C-4E57-A659-0090AF47059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45845" y="6284068"/>
              <a:ext cx="31387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4 w 12"/>
                <a:gd name="T11" fmla="*/ 11 h 12"/>
                <a:gd name="T12" fmla="*/ 2 w 12"/>
                <a:gd name="T13" fmla="*/ 10 h 12"/>
                <a:gd name="T14" fmla="*/ 1 w 12"/>
                <a:gd name="T15" fmla="*/ 8 h 12"/>
                <a:gd name="T16" fmla="*/ 0 w 12"/>
                <a:gd name="T17" fmla="*/ 6 h 12"/>
                <a:gd name="T18" fmla="*/ 1 w 12"/>
                <a:gd name="T19" fmla="*/ 4 h 12"/>
                <a:gd name="T20" fmla="*/ 2 w 12"/>
                <a:gd name="T21" fmla="*/ 2 h 12"/>
                <a:gd name="T22" fmla="*/ 4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4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1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1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4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11" name="Freeform 29">
              <a:extLst>
                <a:ext uri="{FF2B5EF4-FFF2-40B4-BE49-F238E27FC236}">
                  <a16:creationId xmlns:a16="http://schemas.microsoft.com/office/drawing/2014/main" id="{15E4EB7D-754D-4053-9A23-596C7CFDA98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0006" y="6181188"/>
              <a:ext cx="97648" cy="130778"/>
            </a:xfrm>
            <a:custGeom>
              <a:avLst/>
              <a:gdLst>
                <a:gd name="T0" fmla="*/ 34 w 56"/>
                <a:gd name="T1" fmla="*/ 11 h 75"/>
                <a:gd name="T2" fmla="*/ 34 w 56"/>
                <a:gd name="T3" fmla="*/ 75 h 75"/>
                <a:gd name="T4" fmla="*/ 22 w 56"/>
                <a:gd name="T5" fmla="*/ 75 h 75"/>
                <a:gd name="T6" fmla="*/ 22 w 56"/>
                <a:gd name="T7" fmla="*/ 11 h 75"/>
                <a:gd name="T8" fmla="*/ 0 w 56"/>
                <a:gd name="T9" fmla="*/ 11 h 75"/>
                <a:gd name="T10" fmla="*/ 0 w 56"/>
                <a:gd name="T11" fmla="*/ 0 h 75"/>
                <a:gd name="T12" fmla="*/ 56 w 56"/>
                <a:gd name="T13" fmla="*/ 0 h 75"/>
                <a:gd name="T14" fmla="*/ 56 w 56"/>
                <a:gd name="T15" fmla="*/ 11 h 75"/>
                <a:gd name="T16" fmla="*/ 34 w 56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6" h="75">
                  <a:moveTo>
                    <a:pt x="34" y="11"/>
                  </a:moveTo>
                  <a:lnTo>
                    <a:pt x="34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6" y="0"/>
                  </a:lnTo>
                  <a:lnTo>
                    <a:pt x="56" y="11"/>
                  </a:lnTo>
                  <a:lnTo>
                    <a:pt x="34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12" name="Freeform 30">
              <a:extLst>
                <a:ext uri="{FF2B5EF4-FFF2-40B4-BE49-F238E27FC236}">
                  <a16:creationId xmlns:a16="http://schemas.microsoft.com/office/drawing/2014/main" id="{28E147CB-2B8F-497B-B00B-C25E679DC5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51603" y="6174213"/>
              <a:ext cx="80211" cy="137753"/>
            </a:xfrm>
            <a:custGeom>
              <a:avLst/>
              <a:gdLst>
                <a:gd name="T0" fmla="*/ 24 w 31"/>
                <a:gd name="T1" fmla="*/ 54 h 54"/>
                <a:gd name="T2" fmla="*/ 24 w 31"/>
                <a:gd name="T3" fmla="*/ 32 h 54"/>
                <a:gd name="T4" fmla="*/ 22 w 31"/>
                <a:gd name="T5" fmla="*/ 24 h 54"/>
                <a:gd name="T6" fmla="*/ 16 w 31"/>
                <a:gd name="T7" fmla="*/ 22 h 54"/>
                <a:gd name="T8" fmla="*/ 13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8 w 31"/>
                <a:gd name="T15" fmla="*/ 31 h 54"/>
                <a:gd name="T16" fmla="*/ 8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8 w 31"/>
                <a:gd name="T23" fmla="*/ 0 h 54"/>
                <a:gd name="T24" fmla="*/ 8 w 31"/>
                <a:gd name="T25" fmla="*/ 19 h 54"/>
                <a:gd name="T26" fmla="*/ 10 w 31"/>
                <a:gd name="T27" fmla="*/ 17 h 54"/>
                <a:gd name="T28" fmla="*/ 12 w 31"/>
                <a:gd name="T29" fmla="*/ 16 h 54"/>
                <a:gd name="T30" fmla="*/ 15 w 31"/>
                <a:gd name="T31" fmla="*/ 15 h 54"/>
                <a:gd name="T32" fmla="*/ 18 w 31"/>
                <a:gd name="T33" fmla="*/ 15 h 54"/>
                <a:gd name="T34" fmla="*/ 24 w 31"/>
                <a:gd name="T35" fmla="*/ 16 h 54"/>
                <a:gd name="T36" fmla="*/ 28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4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4" y="54"/>
                  </a:moveTo>
                  <a:cubicBezTo>
                    <a:pt x="24" y="32"/>
                    <a:pt x="24" y="32"/>
                    <a:pt x="24" y="32"/>
                  </a:cubicBezTo>
                  <a:cubicBezTo>
                    <a:pt x="24" y="28"/>
                    <a:pt x="23" y="26"/>
                    <a:pt x="22" y="24"/>
                  </a:cubicBezTo>
                  <a:cubicBezTo>
                    <a:pt x="21" y="22"/>
                    <a:pt x="19" y="22"/>
                    <a:pt x="16" y="22"/>
                  </a:cubicBezTo>
                  <a:cubicBezTo>
                    <a:pt x="15" y="22"/>
                    <a:pt x="14" y="22"/>
                    <a:pt x="13" y="22"/>
                  </a:cubicBezTo>
                  <a:cubicBezTo>
                    <a:pt x="12" y="22"/>
                    <a:pt x="11" y="23"/>
                    <a:pt x="10" y="24"/>
                  </a:cubicBezTo>
                  <a:cubicBezTo>
                    <a:pt x="9" y="25"/>
                    <a:pt x="9" y="26"/>
                    <a:pt x="8" y="27"/>
                  </a:cubicBezTo>
                  <a:cubicBezTo>
                    <a:pt x="8" y="28"/>
                    <a:pt x="8" y="30"/>
                    <a:pt x="8" y="31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3" y="15"/>
                    <a:pt x="14" y="15"/>
                    <a:pt x="15" y="15"/>
                  </a:cubicBezTo>
                  <a:cubicBezTo>
                    <a:pt x="16" y="15"/>
                    <a:pt x="17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29" y="20"/>
                    <a:pt x="30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4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13" name="Freeform 31">
              <a:extLst>
                <a:ext uri="{FF2B5EF4-FFF2-40B4-BE49-F238E27FC236}">
                  <a16:creationId xmlns:a16="http://schemas.microsoft.com/office/drawing/2014/main" id="{E68BC676-C787-429D-B59B-1A5CE062F78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50996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1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14" name="Freeform 32">
              <a:extLst>
                <a:ext uri="{FF2B5EF4-FFF2-40B4-BE49-F238E27FC236}">
                  <a16:creationId xmlns:a16="http://schemas.microsoft.com/office/drawing/2014/main" id="{71266960-73CB-44B9-9A97-81085898914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02698" y="6174213"/>
              <a:ext cx="80211" cy="139497"/>
            </a:xfrm>
            <a:custGeom>
              <a:avLst/>
              <a:gdLst>
                <a:gd name="T0" fmla="*/ 32 w 32"/>
                <a:gd name="T1" fmla="*/ 35 h 55"/>
                <a:gd name="T2" fmla="*/ 31 w 32"/>
                <a:gd name="T3" fmla="*/ 44 h 55"/>
                <a:gd name="T4" fmla="*/ 28 w 32"/>
                <a:gd name="T5" fmla="*/ 50 h 55"/>
                <a:gd name="T6" fmla="*/ 23 w 32"/>
                <a:gd name="T7" fmla="*/ 53 h 55"/>
                <a:gd name="T8" fmla="*/ 17 w 32"/>
                <a:gd name="T9" fmla="*/ 55 h 55"/>
                <a:gd name="T10" fmla="*/ 12 w 32"/>
                <a:gd name="T11" fmla="*/ 53 h 55"/>
                <a:gd name="T12" fmla="*/ 7 w 32"/>
                <a:gd name="T13" fmla="*/ 50 h 55"/>
                <a:gd name="T14" fmla="*/ 7 w 32"/>
                <a:gd name="T15" fmla="*/ 54 h 55"/>
                <a:gd name="T16" fmla="*/ 0 w 32"/>
                <a:gd name="T17" fmla="*/ 54 h 55"/>
                <a:gd name="T18" fmla="*/ 0 w 32"/>
                <a:gd name="T19" fmla="*/ 4 h 55"/>
                <a:gd name="T20" fmla="*/ 7 w 32"/>
                <a:gd name="T21" fmla="*/ 0 h 55"/>
                <a:gd name="T22" fmla="*/ 7 w 32"/>
                <a:gd name="T23" fmla="*/ 19 h 55"/>
                <a:gd name="T24" fmla="*/ 10 w 32"/>
                <a:gd name="T25" fmla="*/ 17 h 55"/>
                <a:gd name="T26" fmla="*/ 12 w 32"/>
                <a:gd name="T27" fmla="*/ 16 h 55"/>
                <a:gd name="T28" fmla="*/ 14 w 32"/>
                <a:gd name="T29" fmla="*/ 15 h 55"/>
                <a:gd name="T30" fmla="*/ 17 w 32"/>
                <a:gd name="T31" fmla="*/ 15 h 55"/>
                <a:gd name="T32" fmla="*/ 23 w 32"/>
                <a:gd name="T33" fmla="*/ 16 h 55"/>
                <a:gd name="T34" fmla="*/ 28 w 32"/>
                <a:gd name="T35" fmla="*/ 19 h 55"/>
                <a:gd name="T36" fmla="*/ 31 w 32"/>
                <a:gd name="T37" fmla="*/ 26 h 55"/>
                <a:gd name="T38" fmla="*/ 32 w 32"/>
                <a:gd name="T39" fmla="*/ 35 h 55"/>
                <a:gd name="T40" fmla="*/ 25 w 32"/>
                <a:gd name="T41" fmla="*/ 35 h 55"/>
                <a:gd name="T42" fmla="*/ 23 w 32"/>
                <a:gd name="T43" fmla="*/ 25 h 55"/>
                <a:gd name="T44" fmla="*/ 16 w 32"/>
                <a:gd name="T45" fmla="*/ 22 h 55"/>
                <a:gd name="T46" fmla="*/ 14 w 32"/>
                <a:gd name="T47" fmla="*/ 22 h 55"/>
                <a:gd name="T48" fmla="*/ 11 w 32"/>
                <a:gd name="T49" fmla="*/ 23 h 55"/>
                <a:gd name="T50" fmla="*/ 9 w 32"/>
                <a:gd name="T51" fmla="*/ 25 h 55"/>
                <a:gd name="T52" fmla="*/ 7 w 32"/>
                <a:gd name="T53" fmla="*/ 26 h 55"/>
                <a:gd name="T54" fmla="*/ 7 w 32"/>
                <a:gd name="T55" fmla="*/ 43 h 55"/>
                <a:gd name="T56" fmla="*/ 9 w 32"/>
                <a:gd name="T57" fmla="*/ 44 h 55"/>
                <a:gd name="T58" fmla="*/ 11 w 32"/>
                <a:gd name="T59" fmla="*/ 46 h 55"/>
                <a:gd name="T60" fmla="*/ 14 w 32"/>
                <a:gd name="T61" fmla="*/ 47 h 55"/>
                <a:gd name="T62" fmla="*/ 16 w 32"/>
                <a:gd name="T63" fmla="*/ 48 h 55"/>
                <a:gd name="T64" fmla="*/ 23 w 32"/>
                <a:gd name="T65" fmla="*/ 45 h 55"/>
                <a:gd name="T66" fmla="*/ 25 w 32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2" h="55">
                  <a:moveTo>
                    <a:pt x="32" y="35"/>
                  </a:moveTo>
                  <a:cubicBezTo>
                    <a:pt x="32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6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5" y="55"/>
                    <a:pt x="13" y="54"/>
                    <a:pt x="12" y="53"/>
                  </a:cubicBezTo>
                  <a:cubicBezTo>
                    <a:pt x="10" y="52"/>
                    <a:pt x="9" y="51"/>
                    <a:pt x="7" y="50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6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20" y="15"/>
                    <a:pt x="21" y="15"/>
                    <a:pt x="23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29" y="21"/>
                    <a:pt x="30" y="23"/>
                    <a:pt x="31" y="26"/>
                  </a:cubicBezTo>
                  <a:cubicBezTo>
                    <a:pt x="32" y="28"/>
                    <a:pt x="32" y="32"/>
                    <a:pt x="32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4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0" y="23"/>
                    <a:pt x="10" y="24"/>
                    <a:pt x="9" y="25"/>
                  </a:cubicBezTo>
                  <a:cubicBezTo>
                    <a:pt x="8" y="25"/>
                    <a:pt x="8" y="26"/>
                    <a:pt x="7" y="26"/>
                  </a:cubicBezTo>
                  <a:cubicBezTo>
                    <a:pt x="7" y="43"/>
                    <a:pt x="7" y="43"/>
                    <a:pt x="7" y="43"/>
                  </a:cubicBezTo>
                  <a:cubicBezTo>
                    <a:pt x="8" y="43"/>
                    <a:pt x="8" y="44"/>
                    <a:pt x="9" y="44"/>
                  </a:cubicBezTo>
                  <a:cubicBezTo>
                    <a:pt x="10" y="45"/>
                    <a:pt x="10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5" y="48"/>
                    <a:pt x="16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15" name="Freeform 33">
              <a:extLst>
                <a:ext uri="{FF2B5EF4-FFF2-40B4-BE49-F238E27FC236}">
                  <a16:creationId xmlns:a16="http://schemas.microsoft.com/office/drawing/2014/main" id="{3FF3AC5A-B742-4B29-8E04-03A71D82B9A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9860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8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8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3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7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16" name="Freeform 34">
              <a:extLst>
                <a:ext uri="{FF2B5EF4-FFF2-40B4-BE49-F238E27FC236}">
                  <a16:creationId xmlns:a16="http://schemas.microsoft.com/office/drawing/2014/main" id="{0C912743-E24B-4E48-8196-5FBD1ECEE9A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625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3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17" name="Freeform 35">
              <a:extLst>
                <a:ext uri="{FF2B5EF4-FFF2-40B4-BE49-F238E27FC236}">
                  <a16:creationId xmlns:a16="http://schemas.microsoft.com/office/drawing/2014/main" id="{6E2F01F4-1410-4FE1-B043-EA97A1541F3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64256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7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6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7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18" name="Freeform 36">
              <a:extLst>
                <a:ext uri="{FF2B5EF4-FFF2-40B4-BE49-F238E27FC236}">
                  <a16:creationId xmlns:a16="http://schemas.microsoft.com/office/drawing/2014/main" id="{58ACFF1C-49F0-414E-B9E3-DE4E9FFAA38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2340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19" name="Freeform 37">
              <a:extLst>
                <a:ext uri="{FF2B5EF4-FFF2-40B4-BE49-F238E27FC236}">
                  <a16:creationId xmlns:a16="http://schemas.microsoft.com/office/drawing/2014/main" id="{DACBD04B-22FF-4A4F-8B29-A2F31A0542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36884" y="6212575"/>
              <a:ext cx="59286" cy="99391"/>
            </a:xfrm>
            <a:custGeom>
              <a:avLst/>
              <a:gdLst>
                <a:gd name="T0" fmla="*/ 21 w 23"/>
                <a:gd name="T1" fmla="*/ 8 h 39"/>
                <a:gd name="T2" fmla="*/ 19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9" y="7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20" name="Freeform 38">
              <a:extLst>
                <a:ext uri="{FF2B5EF4-FFF2-40B4-BE49-F238E27FC236}">
                  <a16:creationId xmlns:a16="http://schemas.microsoft.com/office/drawing/2014/main" id="{A13F6E37-C22B-4FD3-ADFE-9C53ECB446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51969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21" name="Freeform 39">
              <a:extLst>
                <a:ext uri="{FF2B5EF4-FFF2-40B4-BE49-F238E27FC236}">
                  <a16:creationId xmlns:a16="http://schemas.microsoft.com/office/drawing/2014/main" id="{76256F1D-405A-49F9-8592-A899623F2D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30436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22" name="Freeform 40">
              <a:extLst>
                <a:ext uri="{FF2B5EF4-FFF2-40B4-BE49-F238E27FC236}">
                  <a16:creationId xmlns:a16="http://schemas.microsoft.com/office/drawing/2014/main" id="{2F9CAE14-DB05-4B70-867F-3F6164BDB74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62808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23" name="Freeform 41">
              <a:extLst>
                <a:ext uri="{FF2B5EF4-FFF2-40B4-BE49-F238E27FC236}">
                  <a16:creationId xmlns:a16="http://schemas.microsoft.com/office/drawing/2014/main" id="{30C7B10F-7027-41F9-BEE2-F1575CB690D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772813" y="6212575"/>
              <a:ext cx="81955" cy="101135"/>
            </a:xfrm>
            <a:custGeom>
              <a:avLst/>
              <a:gdLst>
                <a:gd name="T0" fmla="*/ 24 w 32"/>
                <a:gd name="T1" fmla="*/ 39 h 40"/>
                <a:gd name="T2" fmla="*/ 24 w 32"/>
                <a:gd name="T3" fmla="*/ 35 h 40"/>
                <a:gd name="T4" fmla="*/ 22 w 32"/>
                <a:gd name="T5" fmla="*/ 37 h 40"/>
                <a:gd name="T6" fmla="*/ 20 w 32"/>
                <a:gd name="T7" fmla="*/ 38 h 40"/>
                <a:gd name="T8" fmla="*/ 17 w 32"/>
                <a:gd name="T9" fmla="*/ 39 h 40"/>
                <a:gd name="T10" fmla="*/ 14 w 32"/>
                <a:gd name="T11" fmla="*/ 40 h 40"/>
                <a:gd name="T12" fmla="*/ 9 w 32"/>
                <a:gd name="T13" fmla="*/ 39 h 40"/>
                <a:gd name="T14" fmla="*/ 5 w 32"/>
                <a:gd name="T15" fmla="*/ 37 h 40"/>
                <a:gd name="T16" fmla="*/ 2 w 32"/>
                <a:gd name="T17" fmla="*/ 33 h 40"/>
                <a:gd name="T18" fmla="*/ 0 w 32"/>
                <a:gd name="T19" fmla="*/ 27 h 40"/>
                <a:gd name="T20" fmla="*/ 2 w 32"/>
                <a:gd name="T21" fmla="*/ 21 h 40"/>
                <a:gd name="T22" fmla="*/ 5 w 32"/>
                <a:gd name="T23" fmla="*/ 17 h 40"/>
                <a:gd name="T24" fmla="*/ 10 w 32"/>
                <a:gd name="T25" fmla="*/ 15 h 40"/>
                <a:gd name="T26" fmla="*/ 16 w 32"/>
                <a:gd name="T27" fmla="*/ 14 h 40"/>
                <a:gd name="T28" fmla="*/ 21 w 32"/>
                <a:gd name="T29" fmla="*/ 15 h 40"/>
                <a:gd name="T30" fmla="*/ 24 w 32"/>
                <a:gd name="T31" fmla="*/ 16 h 40"/>
                <a:gd name="T32" fmla="*/ 24 w 32"/>
                <a:gd name="T33" fmla="*/ 13 h 40"/>
                <a:gd name="T34" fmla="*/ 22 w 32"/>
                <a:gd name="T35" fmla="*/ 8 h 40"/>
                <a:gd name="T36" fmla="*/ 17 w 32"/>
                <a:gd name="T37" fmla="*/ 6 h 40"/>
                <a:gd name="T38" fmla="*/ 12 w 32"/>
                <a:gd name="T39" fmla="*/ 7 h 40"/>
                <a:gd name="T40" fmla="*/ 7 w 32"/>
                <a:gd name="T41" fmla="*/ 9 h 40"/>
                <a:gd name="T42" fmla="*/ 4 w 32"/>
                <a:gd name="T43" fmla="*/ 3 h 40"/>
                <a:gd name="T44" fmla="*/ 10 w 32"/>
                <a:gd name="T45" fmla="*/ 0 h 40"/>
                <a:gd name="T46" fmla="*/ 17 w 32"/>
                <a:gd name="T47" fmla="*/ 0 h 40"/>
                <a:gd name="T48" fmla="*/ 23 w 32"/>
                <a:gd name="T49" fmla="*/ 0 h 40"/>
                <a:gd name="T50" fmla="*/ 28 w 32"/>
                <a:gd name="T51" fmla="*/ 3 h 40"/>
                <a:gd name="T52" fmla="*/ 31 w 32"/>
                <a:gd name="T53" fmla="*/ 7 h 40"/>
                <a:gd name="T54" fmla="*/ 32 w 32"/>
                <a:gd name="T55" fmla="*/ 12 h 40"/>
                <a:gd name="T56" fmla="*/ 32 w 32"/>
                <a:gd name="T57" fmla="*/ 39 h 40"/>
                <a:gd name="T58" fmla="*/ 24 w 32"/>
                <a:gd name="T59" fmla="*/ 39 h 40"/>
                <a:gd name="T60" fmla="*/ 24 w 32"/>
                <a:gd name="T61" fmla="*/ 22 h 40"/>
                <a:gd name="T62" fmla="*/ 22 w 32"/>
                <a:gd name="T63" fmla="*/ 22 h 40"/>
                <a:gd name="T64" fmla="*/ 21 w 32"/>
                <a:gd name="T65" fmla="*/ 21 h 40"/>
                <a:gd name="T66" fmla="*/ 18 w 32"/>
                <a:gd name="T67" fmla="*/ 21 h 40"/>
                <a:gd name="T68" fmla="*/ 16 w 32"/>
                <a:gd name="T69" fmla="*/ 21 h 40"/>
                <a:gd name="T70" fmla="*/ 10 w 32"/>
                <a:gd name="T71" fmla="*/ 22 h 40"/>
                <a:gd name="T72" fmla="*/ 8 w 32"/>
                <a:gd name="T73" fmla="*/ 26 h 40"/>
                <a:gd name="T74" fmla="*/ 8 w 32"/>
                <a:gd name="T75" fmla="*/ 29 h 40"/>
                <a:gd name="T76" fmla="*/ 10 w 32"/>
                <a:gd name="T77" fmla="*/ 31 h 40"/>
                <a:gd name="T78" fmla="*/ 12 w 32"/>
                <a:gd name="T79" fmla="*/ 32 h 40"/>
                <a:gd name="T80" fmla="*/ 15 w 32"/>
                <a:gd name="T81" fmla="*/ 33 h 40"/>
                <a:gd name="T82" fmla="*/ 18 w 32"/>
                <a:gd name="T83" fmla="*/ 32 h 40"/>
                <a:gd name="T84" fmla="*/ 21 w 32"/>
                <a:gd name="T85" fmla="*/ 31 h 40"/>
                <a:gd name="T86" fmla="*/ 23 w 32"/>
                <a:gd name="T87" fmla="*/ 30 h 40"/>
                <a:gd name="T88" fmla="*/ 24 w 32"/>
                <a:gd name="T89" fmla="*/ 28 h 40"/>
                <a:gd name="T90" fmla="*/ 24 w 32"/>
                <a:gd name="T91" fmla="*/ 2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2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3" y="37"/>
                    <a:pt x="22" y="37"/>
                  </a:cubicBezTo>
                  <a:cubicBezTo>
                    <a:pt x="21" y="37"/>
                    <a:pt x="21" y="38"/>
                    <a:pt x="20" y="38"/>
                  </a:cubicBezTo>
                  <a:cubicBezTo>
                    <a:pt x="19" y="39"/>
                    <a:pt x="18" y="39"/>
                    <a:pt x="17" y="39"/>
                  </a:cubicBezTo>
                  <a:cubicBezTo>
                    <a:pt x="16" y="39"/>
                    <a:pt x="15" y="40"/>
                    <a:pt x="14" y="40"/>
                  </a:cubicBezTo>
                  <a:cubicBezTo>
                    <a:pt x="12" y="40"/>
                    <a:pt x="11" y="39"/>
                    <a:pt x="9" y="39"/>
                  </a:cubicBezTo>
                  <a:cubicBezTo>
                    <a:pt x="7" y="38"/>
                    <a:pt x="6" y="38"/>
                    <a:pt x="5" y="37"/>
                  </a:cubicBezTo>
                  <a:cubicBezTo>
                    <a:pt x="3" y="36"/>
                    <a:pt x="2" y="34"/>
                    <a:pt x="2" y="33"/>
                  </a:cubicBezTo>
                  <a:cubicBezTo>
                    <a:pt x="1" y="31"/>
                    <a:pt x="0" y="29"/>
                    <a:pt x="0" y="27"/>
                  </a:cubicBezTo>
                  <a:cubicBezTo>
                    <a:pt x="0" y="24"/>
                    <a:pt x="1" y="23"/>
                    <a:pt x="2" y="21"/>
                  </a:cubicBezTo>
                  <a:cubicBezTo>
                    <a:pt x="2" y="20"/>
                    <a:pt x="3" y="18"/>
                    <a:pt x="5" y="17"/>
                  </a:cubicBezTo>
                  <a:cubicBezTo>
                    <a:pt x="6" y="16"/>
                    <a:pt x="8" y="15"/>
                    <a:pt x="10" y="15"/>
                  </a:cubicBezTo>
                  <a:cubicBezTo>
                    <a:pt x="12" y="14"/>
                    <a:pt x="14" y="14"/>
                    <a:pt x="16" y="14"/>
                  </a:cubicBezTo>
                  <a:cubicBezTo>
                    <a:pt x="18" y="14"/>
                    <a:pt x="19" y="14"/>
                    <a:pt x="21" y="15"/>
                  </a:cubicBezTo>
                  <a:cubicBezTo>
                    <a:pt x="22" y="15"/>
                    <a:pt x="23" y="15"/>
                    <a:pt x="24" y="16"/>
                  </a:cubicBezTo>
                  <a:cubicBezTo>
                    <a:pt x="24" y="13"/>
                    <a:pt x="24" y="13"/>
                    <a:pt x="24" y="13"/>
                  </a:cubicBezTo>
                  <a:cubicBezTo>
                    <a:pt x="24" y="11"/>
                    <a:pt x="24" y="9"/>
                    <a:pt x="22" y="8"/>
                  </a:cubicBezTo>
                  <a:cubicBezTo>
                    <a:pt x="21" y="7"/>
                    <a:pt x="19" y="6"/>
                    <a:pt x="17" y="6"/>
                  </a:cubicBezTo>
                  <a:cubicBezTo>
                    <a:pt x="15" y="6"/>
                    <a:pt x="13" y="6"/>
                    <a:pt x="12" y="7"/>
                  </a:cubicBezTo>
                  <a:cubicBezTo>
                    <a:pt x="10" y="7"/>
                    <a:pt x="9" y="8"/>
                    <a:pt x="7" y="9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6" y="2"/>
                    <a:pt x="8" y="1"/>
                    <a:pt x="10" y="0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19" y="0"/>
                    <a:pt x="21" y="0"/>
                    <a:pt x="23" y="0"/>
                  </a:cubicBezTo>
                  <a:cubicBezTo>
                    <a:pt x="25" y="1"/>
                    <a:pt x="26" y="2"/>
                    <a:pt x="28" y="3"/>
                  </a:cubicBezTo>
                  <a:cubicBezTo>
                    <a:pt x="29" y="4"/>
                    <a:pt x="30" y="5"/>
                    <a:pt x="31" y="7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2" y="39"/>
                    <a:pt x="32" y="39"/>
                    <a:pt x="32" y="39"/>
                  </a:cubicBezTo>
                  <a:lnTo>
                    <a:pt x="24" y="39"/>
                  </a:lnTo>
                  <a:close/>
                  <a:moveTo>
                    <a:pt x="24" y="22"/>
                  </a:moveTo>
                  <a:cubicBezTo>
                    <a:pt x="24" y="22"/>
                    <a:pt x="23" y="22"/>
                    <a:pt x="22" y="22"/>
                  </a:cubicBezTo>
                  <a:cubicBezTo>
                    <a:pt x="22" y="21"/>
                    <a:pt x="21" y="21"/>
                    <a:pt x="21" y="21"/>
                  </a:cubicBezTo>
                  <a:cubicBezTo>
                    <a:pt x="20" y="21"/>
                    <a:pt x="19" y="21"/>
                    <a:pt x="18" y="21"/>
                  </a:cubicBezTo>
                  <a:cubicBezTo>
                    <a:pt x="17" y="21"/>
                    <a:pt x="17" y="21"/>
                    <a:pt x="16" y="21"/>
                  </a:cubicBezTo>
                  <a:cubicBezTo>
                    <a:pt x="13" y="21"/>
                    <a:pt x="11" y="21"/>
                    <a:pt x="10" y="22"/>
                  </a:cubicBezTo>
                  <a:cubicBezTo>
                    <a:pt x="8" y="23"/>
                    <a:pt x="8" y="25"/>
                    <a:pt x="8" y="26"/>
                  </a:cubicBezTo>
                  <a:cubicBezTo>
                    <a:pt x="8" y="28"/>
                    <a:pt x="8" y="29"/>
                    <a:pt x="8" y="29"/>
                  </a:cubicBezTo>
                  <a:cubicBezTo>
                    <a:pt x="9" y="30"/>
                    <a:pt x="9" y="31"/>
                    <a:pt x="10" y="31"/>
                  </a:cubicBezTo>
                  <a:cubicBezTo>
                    <a:pt x="10" y="32"/>
                    <a:pt x="11" y="32"/>
                    <a:pt x="12" y="32"/>
                  </a:cubicBezTo>
                  <a:cubicBezTo>
                    <a:pt x="13" y="33"/>
                    <a:pt x="14" y="33"/>
                    <a:pt x="15" y="33"/>
                  </a:cubicBezTo>
                  <a:cubicBezTo>
                    <a:pt x="16" y="33"/>
                    <a:pt x="17" y="33"/>
                    <a:pt x="18" y="32"/>
                  </a:cubicBezTo>
                  <a:cubicBezTo>
                    <a:pt x="19" y="32"/>
                    <a:pt x="20" y="32"/>
                    <a:pt x="21" y="31"/>
                  </a:cubicBezTo>
                  <a:cubicBezTo>
                    <a:pt x="21" y="31"/>
                    <a:pt x="22" y="30"/>
                    <a:pt x="23" y="30"/>
                  </a:cubicBezTo>
                  <a:cubicBezTo>
                    <a:pt x="23" y="29"/>
                    <a:pt x="24" y="28"/>
                    <a:pt x="24" y="28"/>
                  </a:cubicBezTo>
                  <a:lnTo>
                    <a:pt x="24" y="2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24" name="Freeform 42">
              <a:extLst>
                <a:ext uri="{FF2B5EF4-FFF2-40B4-BE49-F238E27FC236}">
                  <a16:creationId xmlns:a16="http://schemas.microsoft.com/office/drawing/2014/main" id="{16B384B2-A2D9-4CB4-AF87-AF1004852B5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77436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2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10 w 31"/>
                <a:gd name="T11" fmla="*/ 9 h 39"/>
                <a:gd name="T12" fmla="*/ 8 w 31"/>
                <a:gd name="T13" fmla="*/ 12 h 39"/>
                <a:gd name="T14" fmla="*/ 8 w 31"/>
                <a:gd name="T15" fmla="*/ 16 h 39"/>
                <a:gd name="T16" fmla="*/ 8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8 w 31"/>
                <a:gd name="T23" fmla="*/ 0 h 39"/>
                <a:gd name="T24" fmla="*/ 8 w 31"/>
                <a:gd name="T25" fmla="*/ 4 h 39"/>
                <a:gd name="T26" fmla="*/ 9 w 31"/>
                <a:gd name="T27" fmla="*/ 2 h 39"/>
                <a:gd name="T28" fmla="*/ 12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8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2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10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8" y="15"/>
                    <a:pt x="8" y="16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2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20" y="0"/>
                    <a:pt x="22" y="0"/>
                    <a:pt x="23" y="1"/>
                  </a:cubicBezTo>
                  <a:cubicBezTo>
                    <a:pt x="25" y="1"/>
                    <a:pt x="26" y="2"/>
                    <a:pt x="28" y="4"/>
                  </a:cubicBezTo>
                  <a:cubicBezTo>
                    <a:pt x="29" y="5"/>
                    <a:pt x="29" y="7"/>
                    <a:pt x="30" y="9"/>
                  </a:cubicBezTo>
                  <a:cubicBezTo>
                    <a:pt x="31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25" name="Freeform 43">
              <a:extLst>
                <a:ext uri="{FF2B5EF4-FFF2-40B4-BE49-F238E27FC236}">
                  <a16:creationId xmlns:a16="http://schemas.microsoft.com/office/drawing/2014/main" id="{DC309D60-84B9-4652-BEF1-F71EFAD3A40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75084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0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3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6 w 29"/>
                <a:gd name="T55" fmla="*/ 24 h 40"/>
                <a:gd name="T56" fmla="*/ 13 w 29"/>
                <a:gd name="T57" fmla="*/ 22 h 40"/>
                <a:gd name="T58" fmla="*/ 7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1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2" y="6"/>
                    <a:pt x="11" y="7"/>
                    <a:pt x="10" y="7"/>
                  </a:cubicBezTo>
                  <a:cubicBezTo>
                    <a:pt x="9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1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8" y="25"/>
                    <a:pt x="18" y="24"/>
                    <a:pt x="16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7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2" y="15"/>
                    <a:pt x="2" y="14"/>
                  </a:cubicBezTo>
                  <a:cubicBezTo>
                    <a:pt x="2" y="13"/>
                    <a:pt x="1" y="12"/>
                    <a:pt x="1" y="10"/>
                  </a:cubicBezTo>
                  <a:cubicBezTo>
                    <a:pt x="1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26" name="Freeform 44">
              <a:extLst>
                <a:ext uri="{FF2B5EF4-FFF2-40B4-BE49-F238E27FC236}">
                  <a16:creationId xmlns:a16="http://schemas.microsoft.com/office/drawing/2014/main" id="{A4440044-5486-483F-B652-7EE3849461B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58782" y="6212575"/>
              <a:ext cx="122060" cy="99391"/>
            </a:xfrm>
            <a:custGeom>
              <a:avLst/>
              <a:gdLst>
                <a:gd name="T0" fmla="*/ 55 w 70"/>
                <a:gd name="T1" fmla="*/ 57 h 57"/>
                <a:gd name="T2" fmla="*/ 45 w 70"/>
                <a:gd name="T3" fmla="*/ 57 h 57"/>
                <a:gd name="T4" fmla="*/ 35 w 70"/>
                <a:gd name="T5" fmla="*/ 17 h 57"/>
                <a:gd name="T6" fmla="*/ 25 w 70"/>
                <a:gd name="T7" fmla="*/ 57 h 57"/>
                <a:gd name="T8" fmla="*/ 14 w 70"/>
                <a:gd name="T9" fmla="*/ 57 h 57"/>
                <a:gd name="T10" fmla="*/ 0 w 70"/>
                <a:gd name="T11" fmla="*/ 0 h 57"/>
                <a:gd name="T12" fmla="*/ 10 w 70"/>
                <a:gd name="T13" fmla="*/ 0 h 57"/>
                <a:gd name="T14" fmla="*/ 20 w 70"/>
                <a:gd name="T15" fmla="*/ 39 h 57"/>
                <a:gd name="T16" fmla="*/ 30 w 70"/>
                <a:gd name="T17" fmla="*/ 0 h 57"/>
                <a:gd name="T18" fmla="*/ 39 w 70"/>
                <a:gd name="T19" fmla="*/ 0 h 57"/>
                <a:gd name="T20" fmla="*/ 49 w 70"/>
                <a:gd name="T21" fmla="*/ 39 h 57"/>
                <a:gd name="T22" fmla="*/ 60 w 70"/>
                <a:gd name="T23" fmla="*/ 0 h 57"/>
                <a:gd name="T24" fmla="*/ 70 w 70"/>
                <a:gd name="T25" fmla="*/ 0 h 57"/>
                <a:gd name="T26" fmla="*/ 55 w 70"/>
                <a:gd name="T27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7">
                  <a:moveTo>
                    <a:pt x="55" y="57"/>
                  </a:moveTo>
                  <a:lnTo>
                    <a:pt x="45" y="57"/>
                  </a:lnTo>
                  <a:lnTo>
                    <a:pt x="35" y="17"/>
                  </a:lnTo>
                  <a:lnTo>
                    <a:pt x="25" y="57"/>
                  </a:lnTo>
                  <a:lnTo>
                    <a:pt x="14" y="57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0" y="39"/>
                  </a:lnTo>
                  <a:lnTo>
                    <a:pt x="30" y="0"/>
                  </a:lnTo>
                  <a:lnTo>
                    <a:pt x="39" y="0"/>
                  </a:lnTo>
                  <a:lnTo>
                    <a:pt x="49" y="39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27" name="Freeform 45">
              <a:extLst>
                <a:ext uri="{FF2B5EF4-FFF2-40B4-BE49-F238E27FC236}">
                  <a16:creationId xmlns:a16="http://schemas.microsoft.com/office/drawing/2014/main" id="{446771E9-EA09-4256-8955-FE392C07AFC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1913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28" name="Freeform 46">
              <a:extLst>
                <a:ext uri="{FF2B5EF4-FFF2-40B4-BE49-F238E27FC236}">
                  <a16:creationId xmlns:a16="http://schemas.microsoft.com/office/drawing/2014/main" id="{FE985025-CAA5-44F2-9174-87CD1D8BA18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95927" y="6212575"/>
              <a:ext cx="57543" cy="99391"/>
            </a:xfrm>
            <a:custGeom>
              <a:avLst/>
              <a:gdLst>
                <a:gd name="T0" fmla="*/ 21 w 23"/>
                <a:gd name="T1" fmla="*/ 8 h 39"/>
                <a:gd name="T2" fmla="*/ 18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6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0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29" name="Freeform 47">
              <a:extLst>
                <a:ext uri="{FF2B5EF4-FFF2-40B4-BE49-F238E27FC236}">
                  <a16:creationId xmlns:a16="http://schemas.microsoft.com/office/drawing/2014/main" id="{1105FBBE-AD06-4F22-94D8-E2E98185FA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6494" y="6284068"/>
              <a:ext cx="29644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3 w 12"/>
                <a:gd name="T11" fmla="*/ 11 h 12"/>
                <a:gd name="T12" fmla="*/ 2 w 12"/>
                <a:gd name="T13" fmla="*/ 10 h 12"/>
                <a:gd name="T14" fmla="*/ 0 w 12"/>
                <a:gd name="T15" fmla="*/ 8 h 12"/>
                <a:gd name="T16" fmla="*/ 0 w 12"/>
                <a:gd name="T17" fmla="*/ 6 h 12"/>
                <a:gd name="T18" fmla="*/ 0 w 12"/>
                <a:gd name="T19" fmla="*/ 4 h 12"/>
                <a:gd name="T20" fmla="*/ 2 w 12"/>
                <a:gd name="T21" fmla="*/ 2 h 12"/>
                <a:gd name="T22" fmla="*/ 3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3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0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3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30" name="Freeform 48">
              <a:extLst>
                <a:ext uri="{FF2B5EF4-FFF2-40B4-BE49-F238E27FC236}">
                  <a16:creationId xmlns:a16="http://schemas.microsoft.com/office/drawing/2014/main" id="{8141824A-6AD4-4B53-B837-71461DD538C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388691"/>
              <a:ext cx="94161" cy="130778"/>
            </a:xfrm>
            <a:custGeom>
              <a:avLst/>
              <a:gdLst>
                <a:gd name="T0" fmla="*/ 32 w 54"/>
                <a:gd name="T1" fmla="*/ 12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2 h 75"/>
                <a:gd name="T8" fmla="*/ 0 w 54"/>
                <a:gd name="T9" fmla="*/ 12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2 h 75"/>
                <a:gd name="T16" fmla="*/ 32 w 54"/>
                <a:gd name="T17" fmla="*/ 12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2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2"/>
                  </a:lnTo>
                  <a:lnTo>
                    <a:pt x="0" y="12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2"/>
                  </a:lnTo>
                  <a:lnTo>
                    <a:pt x="32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31" name="Freeform 49">
              <a:extLst>
                <a:ext uri="{FF2B5EF4-FFF2-40B4-BE49-F238E27FC236}">
                  <a16:creationId xmlns:a16="http://schemas.microsoft.com/office/drawing/2014/main" id="{1CEF1D95-CD6C-417A-9539-CB4DBAA5E07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383459"/>
              <a:ext cx="78468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9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1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7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7"/>
                    <a:pt x="9" y="17"/>
                  </a:cubicBezTo>
                  <a:cubicBezTo>
                    <a:pt x="10" y="16"/>
                    <a:pt x="10" y="16"/>
                    <a:pt x="11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32" name="Freeform 50">
              <a:extLst>
                <a:ext uri="{FF2B5EF4-FFF2-40B4-BE49-F238E27FC236}">
                  <a16:creationId xmlns:a16="http://schemas.microsoft.com/office/drawing/2014/main" id="{BF6CB5D3-9648-4D73-AB7C-5374814E5BA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418333"/>
              <a:ext cx="85443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7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3 w 33"/>
                <a:gd name="T73" fmla="*/ 8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9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2" y="32"/>
                    <a:pt x="23" y="32"/>
                    <a:pt x="23" y="32"/>
                  </a:cubicBezTo>
                  <a:cubicBezTo>
                    <a:pt x="24" y="31"/>
                    <a:pt x="25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1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5" y="13"/>
                  </a:cubicBezTo>
                  <a:cubicBezTo>
                    <a:pt x="24" y="12"/>
                    <a:pt x="24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33" name="Freeform 51">
              <a:extLst>
                <a:ext uri="{FF2B5EF4-FFF2-40B4-BE49-F238E27FC236}">
                  <a16:creationId xmlns:a16="http://schemas.microsoft.com/office/drawing/2014/main" id="{55F0E322-3AEE-482E-8E59-9FB04FACA93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383459"/>
              <a:ext cx="83698" cy="137753"/>
            </a:xfrm>
            <a:custGeom>
              <a:avLst/>
              <a:gdLst>
                <a:gd name="T0" fmla="*/ 33 w 33"/>
                <a:gd name="T1" fmla="*/ 35 h 54"/>
                <a:gd name="T2" fmla="*/ 31 w 33"/>
                <a:gd name="T3" fmla="*/ 43 h 54"/>
                <a:gd name="T4" fmla="*/ 28 w 33"/>
                <a:gd name="T5" fmla="*/ 49 h 54"/>
                <a:gd name="T6" fmla="*/ 23 w 33"/>
                <a:gd name="T7" fmla="*/ 53 h 54"/>
                <a:gd name="T8" fmla="*/ 17 w 33"/>
                <a:gd name="T9" fmla="*/ 54 h 54"/>
                <a:gd name="T10" fmla="*/ 12 w 33"/>
                <a:gd name="T11" fmla="*/ 53 h 54"/>
                <a:gd name="T12" fmla="*/ 8 w 33"/>
                <a:gd name="T13" fmla="*/ 50 h 54"/>
                <a:gd name="T14" fmla="*/ 8 w 33"/>
                <a:gd name="T15" fmla="*/ 53 h 54"/>
                <a:gd name="T16" fmla="*/ 0 w 33"/>
                <a:gd name="T17" fmla="*/ 53 h 54"/>
                <a:gd name="T18" fmla="*/ 0 w 33"/>
                <a:gd name="T19" fmla="*/ 4 h 54"/>
                <a:gd name="T20" fmla="*/ 8 w 33"/>
                <a:gd name="T21" fmla="*/ 0 h 54"/>
                <a:gd name="T22" fmla="*/ 8 w 33"/>
                <a:gd name="T23" fmla="*/ 19 h 54"/>
                <a:gd name="T24" fmla="*/ 10 w 33"/>
                <a:gd name="T25" fmla="*/ 17 h 54"/>
                <a:gd name="T26" fmla="*/ 12 w 33"/>
                <a:gd name="T27" fmla="*/ 16 h 54"/>
                <a:gd name="T28" fmla="*/ 14 w 33"/>
                <a:gd name="T29" fmla="*/ 14 h 54"/>
                <a:gd name="T30" fmla="*/ 18 w 33"/>
                <a:gd name="T31" fmla="*/ 14 h 54"/>
                <a:gd name="T32" fmla="*/ 24 w 33"/>
                <a:gd name="T33" fmla="*/ 15 h 54"/>
                <a:gd name="T34" fmla="*/ 28 w 33"/>
                <a:gd name="T35" fmla="*/ 19 h 54"/>
                <a:gd name="T36" fmla="*/ 31 w 33"/>
                <a:gd name="T37" fmla="*/ 25 h 54"/>
                <a:gd name="T38" fmla="*/ 33 w 33"/>
                <a:gd name="T39" fmla="*/ 35 h 54"/>
                <a:gd name="T40" fmla="*/ 25 w 33"/>
                <a:gd name="T41" fmla="*/ 35 h 54"/>
                <a:gd name="T42" fmla="*/ 23 w 33"/>
                <a:gd name="T43" fmla="*/ 24 h 54"/>
                <a:gd name="T44" fmla="*/ 16 w 33"/>
                <a:gd name="T45" fmla="*/ 21 h 54"/>
                <a:gd name="T46" fmla="*/ 14 w 33"/>
                <a:gd name="T47" fmla="*/ 21 h 54"/>
                <a:gd name="T48" fmla="*/ 11 w 33"/>
                <a:gd name="T49" fmla="*/ 23 h 54"/>
                <a:gd name="T50" fmla="*/ 9 w 33"/>
                <a:gd name="T51" fmla="*/ 24 h 54"/>
                <a:gd name="T52" fmla="*/ 8 w 33"/>
                <a:gd name="T53" fmla="*/ 26 h 54"/>
                <a:gd name="T54" fmla="*/ 8 w 33"/>
                <a:gd name="T55" fmla="*/ 42 h 54"/>
                <a:gd name="T56" fmla="*/ 9 w 33"/>
                <a:gd name="T57" fmla="*/ 44 h 54"/>
                <a:gd name="T58" fmla="*/ 11 w 33"/>
                <a:gd name="T59" fmla="*/ 45 h 54"/>
                <a:gd name="T60" fmla="*/ 14 w 33"/>
                <a:gd name="T61" fmla="*/ 47 h 54"/>
                <a:gd name="T62" fmla="*/ 17 w 33"/>
                <a:gd name="T63" fmla="*/ 47 h 54"/>
                <a:gd name="T64" fmla="*/ 23 w 33"/>
                <a:gd name="T65" fmla="*/ 44 h 54"/>
                <a:gd name="T66" fmla="*/ 25 w 33"/>
                <a:gd name="T67" fmla="*/ 35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4">
                  <a:moveTo>
                    <a:pt x="33" y="35"/>
                  </a:moveTo>
                  <a:cubicBezTo>
                    <a:pt x="33" y="38"/>
                    <a:pt x="32" y="41"/>
                    <a:pt x="31" y="43"/>
                  </a:cubicBezTo>
                  <a:cubicBezTo>
                    <a:pt x="30" y="46"/>
                    <a:pt x="29" y="48"/>
                    <a:pt x="28" y="49"/>
                  </a:cubicBezTo>
                  <a:cubicBezTo>
                    <a:pt x="27" y="51"/>
                    <a:pt x="25" y="52"/>
                    <a:pt x="23" y="53"/>
                  </a:cubicBezTo>
                  <a:cubicBezTo>
                    <a:pt x="21" y="54"/>
                    <a:pt x="19" y="54"/>
                    <a:pt x="17" y="54"/>
                  </a:cubicBezTo>
                  <a:cubicBezTo>
                    <a:pt x="16" y="54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7"/>
                    <a:pt x="10" y="17"/>
                  </a:cubicBezTo>
                  <a:cubicBezTo>
                    <a:pt x="11" y="16"/>
                    <a:pt x="11" y="16"/>
                    <a:pt x="12" y="16"/>
                  </a:cubicBezTo>
                  <a:cubicBezTo>
                    <a:pt x="13" y="15"/>
                    <a:pt x="13" y="15"/>
                    <a:pt x="14" y="14"/>
                  </a:cubicBezTo>
                  <a:cubicBezTo>
                    <a:pt x="15" y="14"/>
                    <a:pt x="16" y="14"/>
                    <a:pt x="18" y="14"/>
                  </a:cubicBezTo>
                  <a:cubicBezTo>
                    <a:pt x="20" y="14"/>
                    <a:pt x="22" y="14"/>
                    <a:pt x="24" y="15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30" y="21"/>
                    <a:pt x="31" y="23"/>
                    <a:pt x="31" y="25"/>
                  </a:cubicBezTo>
                  <a:cubicBezTo>
                    <a:pt x="32" y="28"/>
                    <a:pt x="33" y="31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0"/>
                    <a:pt x="24" y="27"/>
                    <a:pt x="23" y="24"/>
                  </a:cubicBezTo>
                  <a:cubicBezTo>
                    <a:pt x="21" y="22"/>
                    <a:pt x="19" y="21"/>
                    <a:pt x="16" y="21"/>
                  </a:cubicBezTo>
                  <a:cubicBezTo>
                    <a:pt x="15" y="21"/>
                    <a:pt x="15" y="21"/>
                    <a:pt x="14" y="21"/>
                  </a:cubicBezTo>
                  <a:cubicBezTo>
                    <a:pt x="13" y="22"/>
                    <a:pt x="12" y="22"/>
                    <a:pt x="11" y="23"/>
                  </a:cubicBezTo>
                  <a:cubicBezTo>
                    <a:pt x="11" y="23"/>
                    <a:pt x="10" y="24"/>
                    <a:pt x="9" y="24"/>
                  </a:cubicBezTo>
                  <a:cubicBezTo>
                    <a:pt x="9" y="25"/>
                    <a:pt x="8" y="25"/>
                    <a:pt x="8" y="26"/>
                  </a:cubicBezTo>
                  <a:cubicBezTo>
                    <a:pt x="8" y="42"/>
                    <a:pt x="8" y="42"/>
                    <a:pt x="8" y="42"/>
                  </a:cubicBezTo>
                  <a:cubicBezTo>
                    <a:pt x="8" y="43"/>
                    <a:pt x="9" y="43"/>
                    <a:pt x="9" y="44"/>
                  </a:cubicBezTo>
                  <a:cubicBezTo>
                    <a:pt x="10" y="44"/>
                    <a:pt x="11" y="45"/>
                    <a:pt x="11" y="45"/>
                  </a:cubicBezTo>
                  <a:cubicBezTo>
                    <a:pt x="12" y="46"/>
                    <a:pt x="13" y="46"/>
                    <a:pt x="14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9" y="47"/>
                    <a:pt x="21" y="46"/>
                    <a:pt x="23" y="44"/>
                  </a:cubicBezTo>
                  <a:cubicBezTo>
                    <a:pt x="24" y="42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34" name="Freeform 52">
              <a:extLst>
                <a:ext uri="{FF2B5EF4-FFF2-40B4-BE49-F238E27FC236}">
                  <a16:creationId xmlns:a16="http://schemas.microsoft.com/office/drawing/2014/main" id="{0D3C59AD-7CCF-4166-9D21-3C348488931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1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4" y="31"/>
                    <a:pt x="24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35" name="Freeform 53">
              <a:extLst>
                <a:ext uri="{FF2B5EF4-FFF2-40B4-BE49-F238E27FC236}">
                  <a16:creationId xmlns:a16="http://schemas.microsoft.com/office/drawing/2014/main" id="{9C9DA4CE-7B4D-42AE-9264-92B7D7757DD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1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2" y="54"/>
                    <a:pt x="11" y="54"/>
                  </a:cubicBezTo>
                  <a:cubicBezTo>
                    <a:pt x="10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2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36" name="Freeform 54">
              <a:extLst>
                <a:ext uri="{FF2B5EF4-FFF2-40B4-BE49-F238E27FC236}">
                  <a16:creationId xmlns:a16="http://schemas.microsoft.com/office/drawing/2014/main" id="{DBCBD0D2-5C9C-4B12-8CF8-9CA320825ED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37" name="Freeform 55">
              <a:extLst>
                <a:ext uri="{FF2B5EF4-FFF2-40B4-BE49-F238E27FC236}">
                  <a16:creationId xmlns:a16="http://schemas.microsoft.com/office/drawing/2014/main" id="{CDCFBD31-7961-4587-876E-1FAFC4E74AB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0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2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0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3" y="31"/>
                    <a:pt x="24" y="31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0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7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38" name="Freeform 56">
              <a:extLst>
                <a:ext uri="{FF2B5EF4-FFF2-40B4-BE49-F238E27FC236}">
                  <a16:creationId xmlns:a16="http://schemas.microsoft.com/office/drawing/2014/main" id="{52482C08-723A-4738-9787-3516B3C1714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418333"/>
              <a:ext cx="55799" cy="101135"/>
            </a:xfrm>
            <a:custGeom>
              <a:avLst/>
              <a:gdLst>
                <a:gd name="T0" fmla="*/ 20 w 22"/>
                <a:gd name="T1" fmla="*/ 9 h 39"/>
                <a:gd name="T2" fmla="*/ 18 w 22"/>
                <a:gd name="T3" fmla="*/ 8 h 39"/>
                <a:gd name="T4" fmla="*/ 15 w 22"/>
                <a:gd name="T5" fmla="*/ 7 h 39"/>
                <a:gd name="T6" fmla="*/ 9 w 22"/>
                <a:gd name="T7" fmla="*/ 10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1 h 39"/>
                <a:gd name="T16" fmla="*/ 7 w 22"/>
                <a:gd name="T17" fmla="*/ 1 h 39"/>
                <a:gd name="T18" fmla="*/ 7 w 22"/>
                <a:gd name="T19" fmla="*/ 5 h 39"/>
                <a:gd name="T20" fmla="*/ 9 w 22"/>
                <a:gd name="T21" fmla="*/ 3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1 h 39"/>
                <a:gd name="T30" fmla="*/ 22 w 22"/>
                <a:gd name="T31" fmla="*/ 2 h 39"/>
                <a:gd name="T32" fmla="*/ 20 w 22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7" y="8"/>
                    <a:pt x="16" y="7"/>
                    <a:pt x="15" y="7"/>
                  </a:cubicBezTo>
                  <a:cubicBezTo>
                    <a:pt x="12" y="7"/>
                    <a:pt x="10" y="8"/>
                    <a:pt x="9" y="10"/>
                  </a:cubicBezTo>
                  <a:cubicBezTo>
                    <a:pt x="8" y="12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8" y="4"/>
                    <a:pt x="8" y="3"/>
                    <a:pt x="9" y="3"/>
                  </a:cubicBezTo>
                  <a:cubicBezTo>
                    <a:pt x="9" y="2"/>
                    <a:pt x="10" y="2"/>
                    <a:pt x="11" y="1"/>
                  </a:cubicBezTo>
                  <a:cubicBezTo>
                    <a:pt x="11" y="1"/>
                    <a:pt x="12" y="1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1"/>
                  </a:cubicBezTo>
                  <a:cubicBezTo>
                    <a:pt x="21" y="1"/>
                    <a:pt x="22" y="1"/>
                    <a:pt x="22" y="2"/>
                  </a:cubicBezTo>
                  <a:lnTo>
                    <a:pt x="20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39" name="Freeform 57">
              <a:extLst>
                <a:ext uri="{FF2B5EF4-FFF2-40B4-BE49-F238E27FC236}">
                  <a16:creationId xmlns:a16="http://schemas.microsoft.com/office/drawing/2014/main" id="{5B72A8F0-33E3-42CD-88C2-C35BEC0E983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40" name="Freeform 58">
              <a:extLst>
                <a:ext uri="{FF2B5EF4-FFF2-40B4-BE49-F238E27FC236}">
                  <a16:creationId xmlns:a16="http://schemas.microsoft.com/office/drawing/2014/main" id="{73FC54A2-6588-499B-968A-79F4CA9CF5F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383459"/>
              <a:ext cx="80211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10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2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8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7"/>
                    <a:pt x="9" y="17"/>
                  </a:cubicBezTo>
                  <a:cubicBezTo>
                    <a:pt x="10" y="16"/>
                    <a:pt x="11" y="16"/>
                    <a:pt x="12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41" name="Freeform 59">
              <a:extLst>
                <a:ext uri="{FF2B5EF4-FFF2-40B4-BE49-F238E27FC236}">
                  <a16:creationId xmlns:a16="http://schemas.microsoft.com/office/drawing/2014/main" id="{1E6AB002-C130-4648-A18E-BA496FF1756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8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2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6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1 w 33"/>
                <a:gd name="T69" fmla="*/ 8 h 40"/>
                <a:gd name="T70" fmla="*/ 17 w 33"/>
                <a:gd name="T71" fmla="*/ 7 h 40"/>
                <a:gd name="T72" fmla="*/ 13 w 33"/>
                <a:gd name="T73" fmla="*/ 8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6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10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3" y="32"/>
                    <a:pt x="23" y="32"/>
                    <a:pt x="24" y="32"/>
                  </a:cubicBezTo>
                  <a:cubicBezTo>
                    <a:pt x="24" y="31"/>
                    <a:pt x="25" y="31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7" y="38"/>
                    <a:pt x="26" y="38"/>
                    <a:pt x="25" y="39"/>
                  </a:cubicBezTo>
                  <a:cubicBezTo>
                    <a:pt x="24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4" y="40"/>
                    <a:pt x="12" y="39"/>
                  </a:cubicBezTo>
                  <a:cubicBezTo>
                    <a:pt x="11" y="39"/>
                    <a:pt x="10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4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5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6" y="17"/>
                  </a:moveTo>
                  <a:cubicBezTo>
                    <a:pt x="26" y="15"/>
                    <a:pt x="25" y="14"/>
                    <a:pt x="25" y="13"/>
                  </a:cubicBezTo>
                  <a:cubicBezTo>
                    <a:pt x="25" y="12"/>
                    <a:pt x="24" y="11"/>
                    <a:pt x="23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20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6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42" name="Freeform 60">
              <a:extLst>
                <a:ext uri="{FF2B5EF4-FFF2-40B4-BE49-F238E27FC236}">
                  <a16:creationId xmlns:a16="http://schemas.microsoft.com/office/drawing/2014/main" id="{B0044278-9F7F-4596-96D2-ACFBE0DEC0B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7435" y="6421821"/>
              <a:ext cx="122060" cy="97648"/>
            </a:xfrm>
            <a:custGeom>
              <a:avLst/>
              <a:gdLst>
                <a:gd name="T0" fmla="*/ 56 w 70"/>
                <a:gd name="T1" fmla="*/ 56 h 56"/>
                <a:gd name="T2" fmla="*/ 46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5 w 70"/>
                <a:gd name="T9" fmla="*/ 56 h 56"/>
                <a:gd name="T10" fmla="*/ 0 w 70"/>
                <a:gd name="T11" fmla="*/ 0 h 56"/>
                <a:gd name="T12" fmla="*/ 10 w 70"/>
                <a:gd name="T13" fmla="*/ 0 h 56"/>
                <a:gd name="T14" fmla="*/ 21 w 70"/>
                <a:gd name="T15" fmla="*/ 38 h 56"/>
                <a:gd name="T16" fmla="*/ 31 w 70"/>
                <a:gd name="T17" fmla="*/ 0 h 56"/>
                <a:gd name="T18" fmla="*/ 40 w 70"/>
                <a:gd name="T19" fmla="*/ 0 h 56"/>
                <a:gd name="T20" fmla="*/ 50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6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6" y="56"/>
                  </a:moveTo>
                  <a:lnTo>
                    <a:pt x="46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5" y="56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1" y="38"/>
                  </a:lnTo>
                  <a:lnTo>
                    <a:pt x="31" y="0"/>
                  </a:lnTo>
                  <a:lnTo>
                    <a:pt x="40" y="0"/>
                  </a:lnTo>
                  <a:lnTo>
                    <a:pt x="50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6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43" name="Freeform 61">
              <a:extLst>
                <a:ext uri="{FF2B5EF4-FFF2-40B4-BE49-F238E27FC236}">
                  <a16:creationId xmlns:a16="http://schemas.microsoft.com/office/drawing/2014/main" id="{79F75E0D-27A7-44C1-BF19-495F4768F99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859957" y="6418333"/>
              <a:ext cx="87186" cy="102879"/>
            </a:xfrm>
            <a:custGeom>
              <a:avLst/>
              <a:gdLst>
                <a:gd name="T0" fmla="*/ 34 w 34"/>
                <a:gd name="T1" fmla="*/ 20 h 40"/>
                <a:gd name="T2" fmla="*/ 33 w 34"/>
                <a:gd name="T3" fmla="*/ 28 h 40"/>
                <a:gd name="T4" fmla="*/ 29 w 34"/>
                <a:gd name="T5" fmla="*/ 35 h 40"/>
                <a:gd name="T6" fmla="*/ 24 w 34"/>
                <a:gd name="T7" fmla="*/ 39 h 40"/>
                <a:gd name="T8" fmla="*/ 17 w 34"/>
                <a:gd name="T9" fmla="*/ 40 h 40"/>
                <a:gd name="T10" fmla="*/ 10 w 34"/>
                <a:gd name="T11" fmla="*/ 39 h 40"/>
                <a:gd name="T12" fmla="*/ 5 w 34"/>
                <a:gd name="T13" fmla="*/ 35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2 h 40"/>
                <a:gd name="T20" fmla="*/ 5 w 34"/>
                <a:gd name="T21" fmla="*/ 5 h 40"/>
                <a:gd name="T22" fmla="*/ 11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2 h 40"/>
                <a:gd name="T32" fmla="*/ 34 w 34"/>
                <a:gd name="T33" fmla="*/ 20 h 40"/>
                <a:gd name="T34" fmla="*/ 27 w 34"/>
                <a:gd name="T35" fmla="*/ 20 h 40"/>
                <a:gd name="T36" fmla="*/ 26 w 34"/>
                <a:gd name="T37" fmla="*/ 15 h 40"/>
                <a:gd name="T38" fmla="*/ 24 w 34"/>
                <a:gd name="T39" fmla="*/ 11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1 h 40"/>
                <a:gd name="T48" fmla="*/ 8 w 34"/>
                <a:gd name="T49" fmla="*/ 15 h 40"/>
                <a:gd name="T50" fmla="*/ 8 w 34"/>
                <a:gd name="T51" fmla="*/ 20 h 40"/>
                <a:gd name="T52" fmla="*/ 8 w 34"/>
                <a:gd name="T53" fmla="*/ 26 h 40"/>
                <a:gd name="T54" fmla="*/ 10 w 34"/>
                <a:gd name="T55" fmla="*/ 30 h 40"/>
                <a:gd name="T56" fmla="*/ 13 w 34"/>
                <a:gd name="T57" fmla="*/ 32 h 40"/>
                <a:gd name="T58" fmla="*/ 17 w 34"/>
                <a:gd name="T59" fmla="*/ 33 h 40"/>
                <a:gd name="T60" fmla="*/ 21 w 34"/>
                <a:gd name="T61" fmla="*/ 32 h 40"/>
                <a:gd name="T62" fmla="*/ 24 w 34"/>
                <a:gd name="T63" fmla="*/ 29 h 40"/>
                <a:gd name="T64" fmla="*/ 26 w 34"/>
                <a:gd name="T65" fmla="*/ 25 h 40"/>
                <a:gd name="T66" fmla="*/ 27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20"/>
                  </a:moveTo>
                  <a:cubicBezTo>
                    <a:pt x="34" y="23"/>
                    <a:pt x="34" y="26"/>
                    <a:pt x="33" y="28"/>
                  </a:cubicBezTo>
                  <a:cubicBezTo>
                    <a:pt x="32" y="31"/>
                    <a:pt x="31" y="33"/>
                    <a:pt x="29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2" y="40"/>
                    <a:pt x="10" y="39"/>
                  </a:cubicBezTo>
                  <a:cubicBezTo>
                    <a:pt x="8" y="38"/>
                    <a:pt x="6" y="36"/>
                    <a:pt x="5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1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7" y="4"/>
                    <a:pt x="8" y="2"/>
                    <a:pt x="11" y="1"/>
                  </a:cubicBezTo>
                  <a:cubicBezTo>
                    <a:pt x="13" y="1"/>
                    <a:pt x="15" y="0"/>
                    <a:pt x="17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4" y="17"/>
                    <a:pt x="34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3" y="10"/>
                    <a:pt x="22" y="9"/>
                    <a:pt x="21" y="8"/>
                  </a:cubicBezTo>
                  <a:cubicBezTo>
                    <a:pt x="20" y="8"/>
                    <a:pt x="18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9" y="12"/>
                    <a:pt x="9" y="13"/>
                    <a:pt x="8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8" y="26"/>
                  </a:cubicBezTo>
                  <a:cubicBezTo>
                    <a:pt x="9" y="27"/>
                    <a:pt x="10" y="28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44" name="Freeform 62">
              <a:extLst>
                <a:ext uri="{FF2B5EF4-FFF2-40B4-BE49-F238E27FC236}">
                  <a16:creationId xmlns:a16="http://schemas.microsoft.com/office/drawing/2014/main" id="{E5B9E395-C74C-4D98-8911-EE2C765D8B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8067" y="6418333"/>
              <a:ext cx="57543" cy="101135"/>
            </a:xfrm>
            <a:custGeom>
              <a:avLst/>
              <a:gdLst>
                <a:gd name="T0" fmla="*/ 21 w 23"/>
                <a:gd name="T1" fmla="*/ 9 h 39"/>
                <a:gd name="T2" fmla="*/ 18 w 23"/>
                <a:gd name="T3" fmla="*/ 8 h 39"/>
                <a:gd name="T4" fmla="*/ 15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9 w 23"/>
                <a:gd name="T21" fmla="*/ 3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8" y="8"/>
                    <a:pt x="17" y="7"/>
                    <a:pt x="15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8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9" y="3"/>
                  </a:cubicBezTo>
                  <a:cubicBezTo>
                    <a:pt x="10" y="2"/>
                    <a:pt x="11" y="2"/>
                    <a:pt x="11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1"/>
                  </a:cubicBezTo>
                  <a:cubicBezTo>
                    <a:pt x="21" y="1"/>
                    <a:pt x="22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45" name="Freeform 63">
              <a:extLst>
                <a:ext uri="{FF2B5EF4-FFF2-40B4-BE49-F238E27FC236}">
                  <a16:creationId xmlns:a16="http://schemas.microsoft.com/office/drawing/2014/main" id="{53BB8418-388C-4142-9A80-8BF00A87F7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3046" y="6383459"/>
              <a:ext cx="19181" cy="136010"/>
            </a:xfrm>
            <a:custGeom>
              <a:avLst/>
              <a:gdLst>
                <a:gd name="T0" fmla="*/ 0 w 11"/>
                <a:gd name="T1" fmla="*/ 78 h 78"/>
                <a:gd name="T2" fmla="*/ 0 w 11"/>
                <a:gd name="T3" fmla="*/ 6 h 78"/>
                <a:gd name="T4" fmla="*/ 11 w 11"/>
                <a:gd name="T5" fmla="*/ 0 h 78"/>
                <a:gd name="T6" fmla="*/ 11 w 11"/>
                <a:gd name="T7" fmla="*/ 78 h 78"/>
                <a:gd name="T8" fmla="*/ 0 w 11"/>
                <a:gd name="T9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78">
                  <a:moveTo>
                    <a:pt x="0" y="78"/>
                  </a:moveTo>
                  <a:lnTo>
                    <a:pt x="0" y="6"/>
                  </a:lnTo>
                  <a:lnTo>
                    <a:pt x="11" y="0"/>
                  </a:lnTo>
                  <a:lnTo>
                    <a:pt x="11" y="78"/>
                  </a:lnTo>
                  <a:lnTo>
                    <a:pt x="0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46" name="Freeform 64">
              <a:extLst>
                <a:ext uri="{FF2B5EF4-FFF2-40B4-BE49-F238E27FC236}">
                  <a16:creationId xmlns:a16="http://schemas.microsoft.com/office/drawing/2014/main" id="{0256DB41-B3C1-4FEB-B394-9762C00E7F7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084896" y="6383459"/>
              <a:ext cx="80211" cy="137753"/>
            </a:xfrm>
            <a:custGeom>
              <a:avLst/>
              <a:gdLst>
                <a:gd name="T0" fmla="*/ 24 w 32"/>
                <a:gd name="T1" fmla="*/ 53 h 54"/>
                <a:gd name="T2" fmla="*/ 24 w 32"/>
                <a:gd name="T3" fmla="*/ 50 h 54"/>
                <a:gd name="T4" fmla="*/ 22 w 32"/>
                <a:gd name="T5" fmla="*/ 51 h 54"/>
                <a:gd name="T6" fmla="*/ 20 w 32"/>
                <a:gd name="T7" fmla="*/ 53 h 54"/>
                <a:gd name="T8" fmla="*/ 17 w 32"/>
                <a:gd name="T9" fmla="*/ 54 h 54"/>
                <a:gd name="T10" fmla="*/ 14 w 32"/>
                <a:gd name="T11" fmla="*/ 54 h 54"/>
                <a:gd name="T12" fmla="*/ 9 w 32"/>
                <a:gd name="T13" fmla="*/ 53 h 54"/>
                <a:gd name="T14" fmla="*/ 4 w 32"/>
                <a:gd name="T15" fmla="*/ 49 h 54"/>
                <a:gd name="T16" fmla="*/ 1 w 32"/>
                <a:gd name="T17" fmla="*/ 43 h 54"/>
                <a:gd name="T18" fmla="*/ 0 w 32"/>
                <a:gd name="T19" fmla="*/ 33 h 54"/>
                <a:gd name="T20" fmla="*/ 1 w 32"/>
                <a:gd name="T21" fmla="*/ 25 h 54"/>
                <a:gd name="T22" fmla="*/ 4 w 32"/>
                <a:gd name="T23" fmla="*/ 19 h 54"/>
                <a:gd name="T24" fmla="*/ 9 w 32"/>
                <a:gd name="T25" fmla="*/ 15 h 54"/>
                <a:gd name="T26" fmla="*/ 15 w 32"/>
                <a:gd name="T27" fmla="*/ 14 h 54"/>
                <a:gd name="T28" fmla="*/ 18 w 32"/>
                <a:gd name="T29" fmla="*/ 14 h 54"/>
                <a:gd name="T30" fmla="*/ 20 w 32"/>
                <a:gd name="T31" fmla="*/ 15 h 54"/>
                <a:gd name="T32" fmla="*/ 22 w 32"/>
                <a:gd name="T33" fmla="*/ 17 h 54"/>
                <a:gd name="T34" fmla="*/ 24 w 32"/>
                <a:gd name="T35" fmla="*/ 18 h 54"/>
                <a:gd name="T36" fmla="*/ 24 w 32"/>
                <a:gd name="T37" fmla="*/ 4 h 54"/>
                <a:gd name="T38" fmla="*/ 32 w 32"/>
                <a:gd name="T39" fmla="*/ 0 h 54"/>
                <a:gd name="T40" fmla="*/ 32 w 32"/>
                <a:gd name="T41" fmla="*/ 53 h 54"/>
                <a:gd name="T42" fmla="*/ 24 w 32"/>
                <a:gd name="T43" fmla="*/ 53 h 54"/>
                <a:gd name="T44" fmla="*/ 24 w 32"/>
                <a:gd name="T45" fmla="*/ 26 h 54"/>
                <a:gd name="T46" fmla="*/ 23 w 32"/>
                <a:gd name="T47" fmla="*/ 24 h 54"/>
                <a:gd name="T48" fmla="*/ 21 w 32"/>
                <a:gd name="T49" fmla="*/ 23 h 54"/>
                <a:gd name="T50" fmla="*/ 18 w 32"/>
                <a:gd name="T51" fmla="*/ 22 h 54"/>
                <a:gd name="T52" fmla="*/ 15 w 32"/>
                <a:gd name="T53" fmla="*/ 21 h 54"/>
                <a:gd name="T54" fmla="*/ 9 w 32"/>
                <a:gd name="T55" fmla="*/ 24 h 54"/>
                <a:gd name="T56" fmla="*/ 7 w 32"/>
                <a:gd name="T57" fmla="*/ 33 h 54"/>
                <a:gd name="T58" fmla="*/ 8 w 32"/>
                <a:gd name="T59" fmla="*/ 39 h 54"/>
                <a:gd name="T60" fmla="*/ 9 w 32"/>
                <a:gd name="T61" fmla="*/ 44 h 54"/>
                <a:gd name="T62" fmla="*/ 12 w 32"/>
                <a:gd name="T63" fmla="*/ 46 h 54"/>
                <a:gd name="T64" fmla="*/ 16 w 32"/>
                <a:gd name="T65" fmla="*/ 47 h 54"/>
                <a:gd name="T66" fmla="*/ 18 w 32"/>
                <a:gd name="T67" fmla="*/ 47 h 54"/>
                <a:gd name="T68" fmla="*/ 21 w 32"/>
                <a:gd name="T69" fmla="*/ 46 h 54"/>
                <a:gd name="T70" fmla="*/ 23 w 32"/>
                <a:gd name="T71" fmla="*/ 44 h 54"/>
                <a:gd name="T72" fmla="*/ 24 w 32"/>
                <a:gd name="T73" fmla="*/ 42 h 54"/>
                <a:gd name="T74" fmla="*/ 24 w 32"/>
                <a:gd name="T75" fmla="*/ 2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2" h="54">
                  <a:moveTo>
                    <a:pt x="24" y="53"/>
                  </a:moveTo>
                  <a:cubicBezTo>
                    <a:pt x="24" y="50"/>
                    <a:pt x="24" y="50"/>
                    <a:pt x="24" y="50"/>
                  </a:cubicBezTo>
                  <a:cubicBezTo>
                    <a:pt x="24" y="50"/>
                    <a:pt x="23" y="51"/>
                    <a:pt x="22" y="51"/>
                  </a:cubicBezTo>
                  <a:cubicBezTo>
                    <a:pt x="21" y="52"/>
                    <a:pt x="21" y="52"/>
                    <a:pt x="20" y="53"/>
                  </a:cubicBezTo>
                  <a:cubicBezTo>
                    <a:pt x="19" y="53"/>
                    <a:pt x="18" y="54"/>
                    <a:pt x="17" y="54"/>
                  </a:cubicBezTo>
                  <a:cubicBezTo>
                    <a:pt x="16" y="54"/>
                    <a:pt x="15" y="54"/>
                    <a:pt x="14" y="54"/>
                  </a:cubicBezTo>
                  <a:cubicBezTo>
                    <a:pt x="12" y="54"/>
                    <a:pt x="10" y="54"/>
                    <a:pt x="9" y="53"/>
                  </a:cubicBezTo>
                  <a:cubicBezTo>
                    <a:pt x="7" y="52"/>
                    <a:pt x="5" y="51"/>
                    <a:pt x="4" y="49"/>
                  </a:cubicBezTo>
                  <a:cubicBezTo>
                    <a:pt x="3" y="48"/>
                    <a:pt x="1" y="45"/>
                    <a:pt x="1" y="43"/>
                  </a:cubicBezTo>
                  <a:cubicBezTo>
                    <a:pt x="0" y="40"/>
                    <a:pt x="0" y="37"/>
                    <a:pt x="0" y="33"/>
                  </a:cubicBezTo>
                  <a:cubicBezTo>
                    <a:pt x="0" y="30"/>
                    <a:pt x="0" y="27"/>
                    <a:pt x="1" y="25"/>
                  </a:cubicBezTo>
                  <a:cubicBezTo>
                    <a:pt x="2" y="22"/>
                    <a:pt x="3" y="20"/>
                    <a:pt x="4" y="19"/>
                  </a:cubicBezTo>
                  <a:cubicBezTo>
                    <a:pt x="6" y="17"/>
                    <a:pt x="7" y="16"/>
                    <a:pt x="9" y="15"/>
                  </a:cubicBezTo>
                  <a:cubicBezTo>
                    <a:pt x="11" y="14"/>
                    <a:pt x="13" y="14"/>
                    <a:pt x="15" y="14"/>
                  </a:cubicBezTo>
                  <a:cubicBezTo>
                    <a:pt x="16" y="14"/>
                    <a:pt x="17" y="14"/>
                    <a:pt x="18" y="14"/>
                  </a:cubicBezTo>
                  <a:cubicBezTo>
                    <a:pt x="18" y="15"/>
                    <a:pt x="19" y="15"/>
                    <a:pt x="20" y="15"/>
                  </a:cubicBezTo>
                  <a:cubicBezTo>
                    <a:pt x="21" y="16"/>
                    <a:pt x="22" y="16"/>
                    <a:pt x="22" y="17"/>
                  </a:cubicBezTo>
                  <a:cubicBezTo>
                    <a:pt x="23" y="17"/>
                    <a:pt x="24" y="18"/>
                    <a:pt x="24" y="18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53"/>
                    <a:pt x="32" y="53"/>
                    <a:pt x="32" y="53"/>
                  </a:cubicBezTo>
                  <a:lnTo>
                    <a:pt x="24" y="53"/>
                  </a:lnTo>
                  <a:close/>
                  <a:moveTo>
                    <a:pt x="24" y="26"/>
                  </a:moveTo>
                  <a:cubicBezTo>
                    <a:pt x="24" y="26"/>
                    <a:pt x="23" y="25"/>
                    <a:pt x="23" y="24"/>
                  </a:cubicBezTo>
                  <a:cubicBezTo>
                    <a:pt x="22" y="24"/>
                    <a:pt x="22" y="23"/>
                    <a:pt x="21" y="23"/>
                  </a:cubicBezTo>
                  <a:cubicBezTo>
                    <a:pt x="20" y="22"/>
                    <a:pt x="19" y="22"/>
                    <a:pt x="18" y="22"/>
                  </a:cubicBezTo>
                  <a:cubicBezTo>
                    <a:pt x="17" y="21"/>
                    <a:pt x="16" y="21"/>
                    <a:pt x="15" y="21"/>
                  </a:cubicBezTo>
                  <a:cubicBezTo>
                    <a:pt x="13" y="21"/>
                    <a:pt x="11" y="22"/>
                    <a:pt x="9" y="24"/>
                  </a:cubicBezTo>
                  <a:cubicBezTo>
                    <a:pt x="8" y="26"/>
                    <a:pt x="7" y="29"/>
                    <a:pt x="7" y="33"/>
                  </a:cubicBezTo>
                  <a:cubicBezTo>
                    <a:pt x="7" y="36"/>
                    <a:pt x="7" y="38"/>
                    <a:pt x="8" y="39"/>
                  </a:cubicBezTo>
                  <a:cubicBezTo>
                    <a:pt x="8" y="41"/>
                    <a:pt x="9" y="43"/>
                    <a:pt x="9" y="44"/>
                  </a:cubicBezTo>
                  <a:cubicBezTo>
                    <a:pt x="10" y="45"/>
                    <a:pt x="11" y="46"/>
                    <a:pt x="12" y="46"/>
                  </a:cubicBezTo>
                  <a:cubicBezTo>
                    <a:pt x="13" y="47"/>
                    <a:pt x="14" y="47"/>
                    <a:pt x="16" y="47"/>
                  </a:cubicBezTo>
                  <a:cubicBezTo>
                    <a:pt x="17" y="47"/>
                    <a:pt x="18" y="47"/>
                    <a:pt x="18" y="47"/>
                  </a:cubicBezTo>
                  <a:cubicBezTo>
                    <a:pt x="19" y="46"/>
                    <a:pt x="20" y="46"/>
                    <a:pt x="21" y="46"/>
                  </a:cubicBezTo>
                  <a:cubicBezTo>
                    <a:pt x="21" y="45"/>
                    <a:pt x="22" y="45"/>
                    <a:pt x="23" y="44"/>
                  </a:cubicBezTo>
                  <a:cubicBezTo>
                    <a:pt x="23" y="43"/>
                    <a:pt x="24" y="43"/>
                    <a:pt x="24" y="42"/>
                  </a:cubicBezTo>
                  <a:lnTo>
                    <a:pt x="24" y="2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47" name="Freeform 65">
              <a:extLst>
                <a:ext uri="{FF2B5EF4-FFF2-40B4-BE49-F238E27FC236}">
                  <a16:creationId xmlns:a16="http://schemas.microsoft.com/office/drawing/2014/main" id="{F2BC9C1F-3F30-47A6-B503-20FB179B7F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29624" y="6421821"/>
              <a:ext cx="122060" cy="97648"/>
            </a:xfrm>
            <a:custGeom>
              <a:avLst/>
              <a:gdLst>
                <a:gd name="T0" fmla="*/ 55 w 70"/>
                <a:gd name="T1" fmla="*/ 56 h 56"/>
                <a:gd name="T2" fmla="*/ 45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6 w 70"/>
                <a:gd name="T9" fmla="*/ 56 h 56"/>
                <a:gd name="T10" fmla="*/ 0 w 70"/>
                <a:gd name="T11" fmla="*/ 0 h 56"/>
                <a:gd name="T12" fmla="*/ 12 w 70"/>
                <a:gd name="T13" fmla="*/ 0 h 56"/>
                <a:gd name="T14" fmla="*/ 20 w 70"/>
                <a:gd name="T15" fmla="*/ 38 h 56"/>
                <a:gd name="T16" fmla="*/ 31 w 70"/>
                <a:gd name="T17" fmla="*/ 0 h 56"/>
                <a:gd name="T18" fmla="*/ 39 w 70"/>
                <a:gd name="T19" fmla="*/ 0 h 56"/>
                <a:gd name="T20" fmla="*/ 51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5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5" y="56"/>
                  </a:moveTo>
                  <a:lnTo>
                    <a:pt x="45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6" y="56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0" y="38"/>
                  </a:lnTo>
                  <a:lnTo>
                    <a:pt x="31" y="0"/>
                  </a:lnTo>
                  <a:lnTo>
                    <a:pt x="39" y="0"/>
                  </a:lnTo>
                  <a:lnTo>
                    <a:pt x="51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48" name="Freeform 66">
              <a:extLst>
                <a:ext uri="{FF2B5EF4-FFF2-40B4-BE49-F238E27FC236}">
                  <a16:creationId xmlns:a16="http://schemas.microsoft.com/office/drawing/2014/main" id="{F2E1921C-CA0E-4886-93CA-956A6497CF0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62147" y="6418333"/>
              <a:ext cx="88930" cy="102879"/>
            </a:xfrm>
            <a:custGeom>
              <a:avLst/>
              <a:gdLst>
                <a:gd name="T0" fmla="*/ 35 w 35"/>
                <a:gd name="T1" fmla="*/ 20 h 40"/>
                <a:gd name="T2" fmla="*/ 33 w 35"/>
                <a:gd name="T3" fmla="*/ 28 h 40"/>
                <a:gd name="T4" fmla="*/ 30 w 35"/>
                <a:gd name="T5" fmla="*/ 35 h 40"/>
                <a:gd name="T6" fmla="*/ 24 w 35"/>
                <a:gd name="T7" fmla="*/ 39 h 40"/>
                <a:gd name="T8" fmla="*/ 17 w 35"/>
                <a:gd name="T9" fmla="*/ 40 h 40"/>
                <a:gd name="T10" fmla="*/ 11 w 35"/>
                <a:gd name="T11" fmla="*/ 39 h 40"/>
                <a:gd name="T12" fmla="*/ 5 w 35"/>
                <a:gd name="T13" fmla="*/ 35 h 40"/>
                <a:gd name="T14" fmla="*/ 2 w 35"/>
                <a:gd name="T15" fmla="*/ 28 h 40"/>
                <a:gd name="T16" fmla="*/ 0 w 35"/>
                <a:gd name="T17" fmla="*/ 20 h 40"/>
                <a:gd name="T18" fmla="*/ 2 w 35"/>
                <a:gd name="T19" fmla="*/ 12 h 40"/>
                <a:gd name="T20" fmla="*/ 5 w 35"/>
                <a:gd name="T21" fmla="*/ 5 h 40"/>
                <a:gd name="T22" fmla="*/ 11 w 35"/>
                <a:gd name="T23" fmla="*/ 1 h 40"/>
                <a:gd name="T24" fmla="*/ 18 w 35"/>
                <a:gd name="T25" fmla="*/ 0 h 40"/>
                <a:gd name="T26" fmla="*/ 24 w 35"/>
                <a:gd name="T27" fmla="*/ 1 h 40"/>
                <a:gd name="T28" fmla="*/ 30 w 35"/>
                <a:gd name="T29" fmla="*/ 5 h 40"/>
                <a:gd name="T30" fmla="*/ 33 w 35"/>
                <a:gd name="T31" fmla="*/ 12 h 40"/>
                <a:gd name="T32" fmla="*/ 35 w 35"/>
                <a:gd name="T33" fmla="*/ 20 h 40"/>
                <a:gd name="T34" fmla="*/ 27 w 35"/>
                <a:gd name="T35" fmla="*/ 20 h 40"/>
                <a:gd name="T36" fmla="*/ 26 w 35"/>
                <a:gd name="T37" fmla="*/ 15 h 40"/>
                <a:gd name="T38" fmla="*/ 24 w 35"/>
                <a:gd name="T39" fmla="*/ 11 h 40"/>
                <a:gd name="T40" fmla="*/ 21 w 35"/>
                <a:gd name="T41" fmla="*/ 8 h 40"/>
                <a:gd name="T42" fmla="*/ 17 w 35"/>
                <a:gd name="T43" fmla="*/ 7 h 40"/>
                <a:gd name="T44" fmla="*/ 13 w 35"/>
                <a:gd name="T45" fmla="*/ 8 h 40"/>
                <a:gd name="T46" fmla="*/ 10 w 35"/>
                <a:gd name="T47" fmla="*/ 11 h 40"/>
                <a:gd name="T48" fmla="*/ 9 w 35"/>
                <a:gd name="T49" fmla="*/ 15 h 40"/>
                <a:gd name="T50" fmla="*/ 8 w 35"/>
                <a:gd name="T51" fmla="*/ 20 h 40"/>
                <a:gd name="T52" fmla="*/ 9 w 35"/>
                <a:gd name="T53" fmla="*/ 26 h 40"/>
                <a:gd name="T54" fmla="*/ 11 w 35"/>
                <a:gd name="T55" fmla="*/ 30 h 40"/>
                <a:gd name="T56" fmla="*/ 14 w 35"/>
                <a:gd name="T57" fmla="*/ 32 h 40"/>
                <a:gd name="T58" fmla="*/ 18 w 35"/>
                <a:gd name="T59" fmla="*/ 33 h 40"/>
                <a:gd name="T60" fmla="*/ 21 w 35"/>
                <a:gd name="T61" fmla="*/ 32 h 40"/>
                <a:gd name="T62" fmla="*/ 24 w 35"/>
                <a:gd name="T63" fmla="*/ 29 h 40"/>
                <a:gd name="T64" fmla="*/ 26 w 35"/>
                <a:gd name="T65" fmla="*/ 25 h 40"/>
                <a:gd name="T66" fmla="*/ 27 w 35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5" h="40">
                  <a:moveTo>
                    <a:pt x="35" y="20"/>
                  </a:moveTo>
                  <a:cubicBezTo>
                    <a:pt x="35" y="23"/>
                    <a:pt x="34" y="26"/>
                    <a:pt x="33" y="28"/>
                  </a:cubicBezTo>
                  <a:cubicBezTo>
                    <a:pt x="32" y="31"/>
                    <a:pt x="31" y="33"/>
                    <a:pt x="30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3" y="40"/>
                    <a:pt x="11" y="39"/>
                  </a:cubicBezTo>
                  <a:cubicBezTo>
                    <a:pt x="8" y="38"/>
                    <a:pt x="7" y="36"/>
                    <a:pt x="5" y="35"/>
                  </a:cubicBezTo>
                  <a:cubicBezTo>
                    <a:pt x="4" y="33"/>
                    <a:pt x="2" y="31"/>
                    <a:pt x="2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3" y="9"/>
                    <a:pt x="4" y="7"/>
                    <a:pt x="5" y="5"/>
                  </a:cubicBezTo>
                  <a:cubicBezTo>
                    <a:pt x="7" y="4"/>
                    <a:pt x="9" y="2"/>
                    <a:pt x="11" y="1"/>
                  </a:cubicBezTo>
                  <a:cubicBezTo>
                    <a:pt x="13" y="1"/>
                    <a:pt x="15" y="0"/>
                    <a:pt x="18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30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5" y="17"/>
                    <a:pt x="35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4" y="10"/>
                    <a:pt x="23" y="9"/>
                    <a:pt x="21" y="8"/>
                  </a:cubicBezTo>
                  <a:cubicBezTo>
                    <a:pt x="20" y="8"/>
                    <a:pt x="19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10" y="12"/>
                    <a:pt x="9" y="13"/>
                    <a:pt x="9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9" y="26"/>
                  </a:cubicBezTo>
                  <a:cubicBezTo>
                    <a:pt x="9" y="27"/>
                    <a:pt x="10" y="28"/>
                    <a:pt x="11" y="30"/>
                  </a:cubicBezTo>
                  <a:cubicBezTo>
                    <a:pt x="11" y="31"/>
                    <a:pt x="12" y="32"/>
                    <a:pt x="14" y="32"/>
                  </a:cubicBezTo>
                  <a:cubicBezTo>
                    <a:pt x="15" y="33"/>
                    <a:pt x="16" y="33"/>
                    <a:pt x="18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3" y="31"/>
                    <a:pt x="24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49" name="Freeform 67">
              <a:extLst>
                <a:ext uri="{FF2B5EF4-FFF2-40B4-BE49-F238E27FC236}">
                  <a16:creationId xmlns:a16="http://schemas.microsoft.com/office/drawing/2014/main" id="{33147323-CD74-4B45-8B3D-9FC2D6ABC4D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68514" y="6418333"/>
              <a:ext cx="59286" cy="101135"/>
            </a:xfrm>
            <a:custGeom>
              <a:avLst/>
              <a:gdLst>
                <a:gd name="T0" fmla="*/ 21 w 23"/>
                <a:gd name="T1" fmla="*/ 9 h 39"/>
                <a:gd name="T2" fmla="*/ 19 w 23"/>
                <a:gd name="T3" fmla="*/ 8 h 39"/>
                <a:gd name="T4" fmla="*/ 16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10 w 23"/>
                <a:gd name="T21" fmla="*/ 3 h 39"/>
                <a:gd name="T22" fmla="*/ 12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1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20" y="8"/>
                    <a:pt x="19" y="8"/>
                  </a:cubicBezTo>
                  <a:cubicBezTo>
                    <a:pt x="18" y="8"/>
                    <a:pt x="17" y="7"/>
                    <a:pt x="16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9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10" y="3"/>
                  </a:cubicBezTo>
                  <a:cubicBezTo>
                    <a:pt x="10" y="2"/>
                    <a:pt x="11" y="2"/>
                    <a:pt x="12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20" y="0"/>
                    <a:pt x="21" y="1"/>
                  </a:cubicBezTo>
                  <a:cubicBezTo>
                    <a:pt x="22" y="1"/>
                    <a:pt x="23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50" name="Freeform 68">
              <a:extLst>
                <a:ext uri="{FF2B5EF4-FFF2-40B4-BE49-F238E27FC236}">
                  <a16:creationId xmlns:a16="http://schemas.microsoft.com/office/drawing/2014/main" id="{646502BE-8655-4E99-B8D3-19E6C1D2B9F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5237" y="6383459"/>
              <a:ext cx="76723" cy="136010"/>
            </a:xfrm>
            <a:custGeom>
              <a:avLst/>
              <a:gdLst>
                <a:gd name="T0" fmla="*/ 31 w 44"/>
                <a:gd name="T1" fmla="*/ 78 h 78"/>
                <a:gd name="T2" fmla="*/ 19 w 44"/>
                <a:gd name="T3" fmla="*/ 50 h 78"/>
                <a:gd name="T4" fmla="*/ 10 w 44"/>
                <a:gd name="T5" fmla="*/ 61 h 78"/>
                <a:gd name="T6" fmla="*/ 10 w 44"/>
                <a:gd name="T7" fmla="*/ 78 h 78"/>
                <a:gd name="T8" fmla="*/ 0 w 44"/>
                <a:gd name="T9" fmla="*/ 78 h 78"/>
                <a:gd name="T10" fmla="*/ 0 w 44"/>
                <a:gd name="T11" fmla="*/ 6 h 78"/>
                <a:gd name="T12" fmla="*/ 10 w 44"/>
                <a:gd name="T13" fmla="*/ 0 h 78"/>
                <a:gd name="T14" fmla="*/ 10 w 44"/>
                <a:gd name="T15" fmla="*/ 47 h 78"/>
                <a:gd name="T16" fmla="*/ 28 w 44"/>
                <a:gd name="T17" fmla="*/ 22 h 78"/>
                <a:gd name="T18" fmla="*/ 41 w 44"/>
                <a:gd name="T19" fmla="*/ 22 h 78"/>
                <a:gd name="T20" fmla="*/ 26 w 44"/>
                <a:gd name="T21" fmla="*/ 41 h 78"/>
                <a:gd name="T22" fmla="*/ 44 w 44"/>
                <a:gd name="T23" fmla="*/ 78 h 78"/>
                <a:gd name="T24" fmla="*/ 31 w 44"/>
                <a:gd name="T25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4" h="78">
                  <a:moveTo>
                    <a:pt x="31" y="78"/>
                  </a:moveTo>
                  <a:lnTo>
                    <a:pt x="19" y="50"/>
                  </a:lnTo>
                  <a:lnTo>
                    <a:pt x="10" y="61"/>
                  </a:lnTo>
                  <a:lnTo>
                    <a:pt x="10" y="78"/>
                  </a:lnTo>
                  <a:lnTo>
                    <a:pt x="0" y="78"/>
                  </a:lnTo>
                  <a:lnTo>
                    <a:pt x="0" y="6"/>
                  </a:lnTo>
                  <a:lnTo>
                    <a:pt x="10" y="0"/>
                  </a:lnTo>
                  <a:lnTo>
                    <a:pt x="10" y="47"/>
                  </a:lnTo>
                  <a:lnTo>
                    <a:pt x="28" y="22"/>
                  </a:lnTo>
                  <a:lnTo>
                    <a:pt x="41" y="22"/>
                  </a:lnTo>
                  <a:lnTo>
                    <a:pt x="26" y="41"/>
                  </a:lnTo>
                  <a:lnTo>
                    <a:pt x="44" y="78"/>
                  </a:lnTo>
                  <a:lnTo>
                    <a:pt x="31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51" name="Freeform 69">
              <a:extLst>
                <a:ext uri="{FF2B5EF4-FFF2-40B4-BE49-F238E27FC236}">
                  <a16:creationId xmlns:a16="http://schemas.microsoft.com/office/drawing/2014/main" id="{7B89F1B5-6B06-45D2-838B-039A44EFFD1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28936" y="6418333"/>
              <a:ext cx="74980" cy="102879"/>
            </a:xfrm>
            <a:custGeom>
              <a:avLst/>
              <a:gdLst>
                <a:gd name="T0" fmla="*/ 28 w 29"/>
                <a:gd name="T1" fmla="*/ 4 h 40"/>
                <a:gd name="T2" fmla="*/ 25 w 29"/>
                <a:gd name="T3" fmla="*/ 10 h 40"/>
                <a:gd name="T4" fmla="*/ 20 w 29"/>
                <a:gd name="T5" fmla="*/ 8 h 40"/>
                <a:gd name="T6" fmla="*/ 15 w 29"/>
                <a:gd name="T7" fmla="*/ 7 h 40"/>
                <a:gd name="T8" fmla="*/ 11 w 29"/>
                <a:gd name="T9" fmla="*/ 8 h 40"/>
                <a:gd name="T10" fmla="*/ 9 w 29"/>
                <a:gd name="T11" fmla="*/ 10 h 40"/>
                <a:gd name="T12" fmla="*/ 10 w 29"/>
                <a:gd name="T13" fmla="*/ 12 h 40"/>
                <a:gd name="T14" fmla="*/ 11 w 29"/>
                <a:gd name="T15" fmla="*/ 13 h 40"/>
                <a:gd name="T16" fmla="*/ 13 w 29"/>
                <a:gd name="T17" fmla="*/ 14 h 40"/>
                <a:gd name="T18" fmla="*/ 17 w 29"/>
                <a:gd name="T19" fmla="*/ 16 h 40"/>
                <a:gd name="T20" fmla="*/ 22 w 29"/>
                <a:gd name="T21" fmla="*/ 18 h 40"/>
                <a:gd name="T22" fmla="*/ 26 w 29"/>
                <a:gd name="T23" fmla="*/ 21 h 40"/>
                <a:gd name="T24" fmla="*/ 29 w 29"/>
                <a:gd name="T25" fmla="*/ 24 h 40"/>
                <a:gd name="T26" fmla="*/ 29 w 29"/>
                <a:gd name="T27" fmla="*/ 29 h 40"/>
                <a:gd name="T28" fmla="*/ 28 w 29"/>
                <a:gd name="T29" fmla="*/ 34 h 40"/>
                <a:gd name="T30" fmla="*/ 25 w 29"/>
                <a:gd name="T31" fmla="*/ 38 h 40"/>
                <a:gd name="T32" fmla="*/ 21 w 29"/>
                <a:gd name="T33" fmla="*/ 40 h 40"/>
                <a:gd name="T34" fmla="*/ 15 w 29"/>
                <a:gd name="T35" fmla="*/ 40 h 40"/>
                <a:gd name="T36" fmla="*/ 7 w 29"/>
                <a:gd name="T37" fmla="*/ 39 h 40"/>
                <a:gd name="T38" fmla="*/ 0 w 29"/>
                <a:gd name="T39" fmla="*/ 35 h 40"/>
                <a:gd name="T40" fmla="*/ 4 w 29"/>
                <a:gd name="T41" fmla="*/ 30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20 w 29"/>
                <a:gd name="T53" fmla="*/ 26 h 40"/>
                <a:gd name="T54" fmla="*/ 17 w 29"/>
                <a:gd name="T55" fmla="*/ 24 h 40"/>
                <a:gd name="T56" fmla="*/ 13 w 29"/>
                <a:gd name="T57" fmla="*/ 23 h 40"/>
                <a:gd name="T58" fmla="*/ 8 w 29"/>
                <a:gd name="T59" fmla="*/ 20 h 40"/>
                <a:gd name="T60" fmla="*/ 4 w 29"/>
                <a:gd name="T61" fmla="*/ 18 h 40"/>
                <a:gd name="T62" fmla="*/ 2 w 29"/>
                <a:gd name="T63" fmla="*/ 15 h 40"/>
                <a:gd name="T64" fmla="*/ 2 w 29"/>
                <a:gd name="T65" fmla="*/ 11 h 40"/>
                <a:gd name="T66" fmla="*/ 3 w 29"/>
                <a:gd name="T67" fmla="*/ 6 h 40"/>
                <a:gd name="T68" fmla="*/ 6 w 29"/>
                <a:gd name="T69" fmla="*/ 3 h 40"/>
                <a:gd name="T70" fmla="*/ 10 w 29"/>
                <a:gd name="T71" fmla="*/ 1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5" y="10"/>
                    <a:pt x="25" y="10"/>
                    <a:pt x="25" y="10"/>
                  </a:cubicBezTo>
                  <a:cubicBezTo>
                    <a:pt x="23" y="9"/>
                    <a:pt x="22" y="8"/>
                    <a:pt x="20" y="8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2" y="7"/>
                    <a:pt x="11" y="8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1"/>
                    <a:pt x="10" y="11"/>
                    <a:pt x="10" y="12"/>
                  </a:cubicBezTo>
                  <a:cubicBezTo>
                    <a:pt x="10" y="12"/>
                    <a:pt x="10" y="13"/>
                    <a:pt x="11" y="13"/>
                  </a:cubicBezTo>
                  <a:cubicBezTo>
                    <a:pt x="11" y="13"/>
                    <a:pt x="12" y="14"/>
                    <a:pt x="13" y="14"/>
                  </a:cubicBezTo>
                  <a:cubicBezTo>
                    <a:pt x="14" y="15"/>
                    <a:pt x="15" y="15"/>
                    <a:pt x="17" y="16"/>
                  </a:cubicBezTo>
                  <a:cubicBezTo>
                    <a:pt x="19" y="17"/>
                    <a:pt x="21" y="18"/>
                    <a:pt x="22" y="18"/>
                  </a:cubicBezTo>
                  <a:cubicBezTo>
                    <a:pt x="24" y="19"/>
                    <a:pt x="25" y="20"/>
                    <a:pt x="26" y="21"/>
                  </a:cubicBezTo>
                  <a:cubicBezTo>
                    <a:pt x="27" y="22"/>
                    <a:pt x="28" y="23"/>
                    <a:pt x="29" y="24"/>
                  </a:cubicBezTo>
                  <a:cubicBezTo>
                    <a:pt x="29" y="25"/>
                    <a:pt x="29" y="27"/>
                    <a:pt x="29" y="29"/>
                  </a:cubicBezTo>
                  <a:cubicBezTo>
                    <a:pt x="29" y="31"/>
                    <a:pt x="29" y="33"/>
                    <a:pt x="28" y="34"/>
                  </a:cubicBezTo>
                  <a:cubicBezTo>
                    <a:pt x="28" y="36"/>
                    <a:pt x="26" y="37"/>
                    <a:pt x="25" y="38"/>
                  </a:cubicBezTo>
                  <a:cubicBezTo>
                    <a:pt x="24" y="39"/>
                    <a:pt x="22" y="39"/>
                    <a:pt x="21" y="40"/>
                  </a:cubicBezTo>
                  <a:cubicBezTo>
                    <a:pt x="19" y="40"/>
                    <a:pt x="17" y="40"/>
                    <a:pt x="15" y="40"/>
                  </a:cubicBezTo>
                  <a:cubicBezTo>
                    <a:pt x="13" y="40"/>
                    <a:pt x="10" y="40"/>
                    <a:pt x="7" y="39"/>
                  </a:cubicBezTo>
                  <a:cubicBezTo>
                    <a:pt x="5" y="38"/>
                    <a:pt x="2" y="37"/>
                    <a:pt x="0" y="35"/>
                  </a:cubicBezTo>
                  <a:cubicBezTo>
                    <a:pt x="4" y="30"/>
                    <a:pt x="4" y="30"/>
                    <a:pt x="4" y="30"/>
                  </a:cubicBezTo>
                  <a:cubicBezTo>
                    <a:pt x="6" y="31"/>
                    <a:pt x="7" y="32"/>
                    <a:pt x="9" y="32"/>
                  </a:cubicBezTo>
                  <a:cubicBezTo>
                    <a:pt x="11" y="33"/>
                    <a:pt x="13" y="33"/>
                    <a:pt x="15" y="33"/>
                  </a:cubicBezTo>
                  <a:cubicBezTo>
                    <a:pt x="17" y="33"/>
                    <a:pt x="19" y="33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8"/>
                    <a:pt x="21" y="27"/>
                  </a:cubicBezTo>
                  <a:cubicBezTo>
                    <a:pt x="21" y="27"/>
                    <a:pt x="20" y="26"/>
                    <a:pt x="20" y="26"/>
                  </a:cubicBezTo>
                  <a:cubicBezTo>
                    <a:pt x="19" y="25"/>
                    <a:pt x="18" y="25"/>
                    <a:pt x="17" y="24"/>
                  </a:cubicBezTo>
                  <a:cubicBezTo>
                    <a:pt x="16" y="24"/>
                    <a:pt x="15" y="23"/>
                    <a:pt x="13" y="23"/>
                  </a:cubicBezTo>
                  <a:cubicBezTo>
                    <a:pt x="11" y="22"/>
                    <a:pt x="9" y="21"/>
                    <a:pt x="8" y="20"/>
                  </a:cubicBezTo>
                  <a:cubicBezTo>
                    <a:pt x="6" y="19"/>
                    <a:pt x="5" y="19"/>
                    <a:pt x="4" y="18"/>
                  </a:cubicBezTo>
                  <a:cubicBezTo>
                    <a:pt x="3" y="17"/>
                    <a:pt x="3" y="16"/>
                    <a:pt x="2" y="15"/>
                  </a:cubicBezTo>
                  <a:cubicBezTo>
                    <a:pt x="2" y="13"/>
                    <a:pt x="2" y="12"/>
                    <a:pt x="2" y="11"/>
                  </a:cubicBezTo>
                  <a:cubicBezTo>
                    <a:pt x="2" y="9"/>
                    <a:pt x="2" y="7"/>
                    <a:pt x="3" y="6"/>
                  </a:cubicBezTo>
                  <a:cubicBezTo>
                    <a:pt x="3" y="5"/>
                    <a:pt x="4" y="4"/>
                    <a:pt x="6" y="3"/>
                  </a:cubicBezTo>
                  <a:cubicBezTo>
                    <a:pt x="7" y="2"/>
                    <a:pt x="8" y="1"/>
                    <a:pt x="10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20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52" name="Freeform 70">
              <a:extLst>
                <a:ext uri="{FF2B5EF4-FFF2-40B4-BE49-F238E27FC236}">
                  <a16:creationId xmlns:a16="http://schemas.microsoft.com/office/drawing/2014/main" id="{07A005EC-C937-4146-8D02-C00C5931EB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23096" y="6489826"/>
              <a:ext cx="27899" cy="31387"/>
            </a:xfrm>
            <a:custGeom>
              <a:avLst/>
              <a:gdLst>
                <a:gd name="T0" fmla="*/ 11 w 11"/>
                <a:gd name="T1" fmla="*/ 6 h 12"/>
                <a:gd name="T2" fmla="*/ 11 w 11"/>
                <a:gd name="T3" fmla="*/ 9 h 12"/>
                <a:gd name="T4" fmla="*/ 10 w 11"/>
                <a:gd name="T5" fmla="*/ 10 h 12"/>
                <a:gd name="T6" fmla="*/ 8 w 11"/>
                <a:gd name="T7" fmla="*/ 12 h 12"/>
                <a:gd name="T8" fmla="*/ 6 w 11"/>
                <a:gd name="T9" fmla="*/ 12 h 12"/>
                <a:gd name="T10" fmla="*/ 3 w 11"/>
                <a:gd name="T11" fmla="*/ 12 h 12"/>
                <a:gd name="T12" fmla="*/ 1 w 11"/>
                <a:gd name="T13" fmla="*/ 10 h 12"/>
                <a:gd name="T14" fmla="*/ 0 w 11"/>
                <a:gd name="T15" fmla="*/ 9 h 12"/>
                <a:gd name="T16" fmla="*/ 0 w 11"/>
                <a:gd name="T17" fmla="*/ 6 h 12"/>
                <a:gd name="T18" fmla="*/ 0 w 11"/>
                <a:gd name="T19" fmla="*/ 4 h 12"/>
                <a:gd name="T20" fmla="*/ 1 w 11"/>
                <a:gd name="T21" fmla="*/ 2 h 12"/>
                <a:gd name="T22" fmla="*/ 3 w 11"/>
                <a:gd name="T23" fmla="*/ 1 h 12"/>
                <a:gd name="T24" fmla="*/ 6 w 11"/>
                <a:gd name="T25" fmla="*/ 0 h 12"/>
                <a:gd name="T26" fmla="*/ 8 w 11"/>
                <a:gd name="T27" fmla="*/ 1 h 12"/>
                <a:gd name="T28" fmla="*/ 10 w 11"/>
                <a:gd name="T29" fmla="*/ 2 h 12"/>
                <a:gd name="T30" fmla="*/ 11 w 11"/>
                <a:gd name="T31" fmla="*/ 4 h 12"/>
                <a:gd name="T32" fmla="*/ 11 w 11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" h="12">
                  <a:moveTo>
                    <a:pt x="11" y="6"/>
                  </a:moveTo>
                  <a:cubicBezTo>
                    <a:pt x="11" y="7"/>
                    <a:pt x="11" y="8"/>
                    <a:pt x="11" y="9"/>
                  </a:cubicBezTo>
                  <a:cubicBezTo>
                    <a:pt x="11" y="9"/>
                    <a:pt x="10" y="10"/>
                    <a:pt x="10" y="10"/>
                  </a:cubicBezTo>
                  <a:cubicBezTo>
                    <a:pt x="9" y="11"/>
                    <a:pt x="9" y="11"/>
                    <a:pt x="8" y="12"/>
                  </a:cubicBezTo>
                  <a:cubicBezTo>
                    <a:pt x="7" y="12"/>
                    <a:pt x="6" y="12"/>
                    <a:pt x="6" y="12"/>
                  </a:cubicBezTo>
                  <a:cubicBezTo>
                    <a:pt x="5" y="12"/>
                    <a:pt x="4" y="12"/>
                    <a:pt x="3" y="12"/>
                  </a:cubicBezTo>
                  <a:cubicBezTo>
                    <a:pt x="3" y="11"/>
                    <a:pt x="2" y="11"/>
                    <a:pt x="1" y="10"/>
                  </a:cubicBezTo>
                  <a:cubicBezTo>
                    <a:pt x="1" y="10"/>
                    <a:pt x="1" y="9"/>
                    <a:pt x="0" y="9"/>
                  </a:cubicBezTo>
                  <a:cubicBezTo>
                    <a:pt x="0" y="8"/>
                    <a:pt x="0" y="7"/>
                    <a:pt x="0" y="6"/>
                  </a:cubicBezTo>
                  <a:cubicBezTo>
                    <a:pt x="0" y="6"/>
                    <a:pt x="0" y="5"/>
                    <a:pt x="0" y="4"/>
                  </a:cubicBezTo>
                  <a:cubicBezTo>
                    <a:pt x="1" y="3"/>
                    <a:pt x="1" y="3"/>
                    <a:pt x="1" y="2"/>
                  </a:cubicBezTo>
                  <a:cubicBezTo>
                    <a:pt x="2" y="2"/>
                    <a:pt x="3" y="1"/>
                    <a:pt x="3" y="1"/>
                  </a:cubicBezTo>
                  <a:cubicBezTo>
                    <a:pt x="4" y="1"/>
                    <a:pt x="5" y="0"/>
                    <a:pt x="6" y="0"/>
                  </a:cubicBezTo>
                  <a:cubicBezTo>
                    <a:pt x="6" y="0"/>
                    <a:pt x="7" y="1"/>
                    <a:pt x="8" y="1"/>
                  </a:cubicBezTo>
                  <a:cubicBezTo>
                    <a:pt x="9" y="1"/>
                    <a:pt x="9" y="2"/>
                    <a:pt x="10" y="2"/>
                  </a:cubicBezTo>
                  <a:cubicBezTo>
                    <a:pt x="10" y="3"/>
                    <a:pt x="11" y="3"/>
                    <a:pt x="11" y="4"/>
                  </a:cubicBezTo>
                  <a:cubicBezTo>
                    <a:pt x="11" y="5"/>
                    <a:pt x="11" y="6"/>
                    <a:pt x="11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</p:grpSp>
      <p:sp>
        <p:nvSpPr>
          <p:cNvPr id="263" name="Title 1">
            <a:extLst>
              <a:ext uri="{FF2B5EF4-FFF2-40B4-BE49-F238E27FC236}">
                <a16:creationId xmlns:a16="http://schemas.microsoft.com/office/drawing/2014/main" id="{3F36D6CC-3534-47CC-AECE-83EDA4639FB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44388" y="2158329"/>
            <a:ext cx="3998354" cy="860400"/>
          </a:xfrm>
          <a:prstGeom prst="rect">
            <a:avLst/>
          </a:prstGeom>
        </p:spPr>
        <p:txBody>
          <a:bodyPr/>
          <a:lstStyle>
            <a:lvl1pPr>
              <a:defRPr sz="2998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64" name="Subtitle 2">
            <a:extLst>
              <a:ext uri="{FF2B5EF4-FFF2-40B4-BE49-F238E27FC236}">
                <a16:creationId xmlns:a16="http://schemas.microsoft.com/office/drawing/2014/main" id="{C26FB38E-4E99-4AFB-8C8C-F03F7A963D9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44580" y="3200329"/>
            <a:ext cx="4018535" cy="64574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998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  <a:lvl2pPr marL="0" indent="0" algn="l">
              <a:buNone/>
              <a:defRPr sz="1598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9134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2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69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37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04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72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3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GB"/>
          </a:p>
        </p:txBody>
      </p:sp>
      <p:grpSp>
        <p:nvGrpSpPr>
          <p:cNvPr id="77" name="Group 76">
            <a:extLst>
              <a:ext uri="{FF2B5EF4-FFF2-40B4-BE49-F238E27FC236}">
                <a16:creationId xmlns:a16="http://schemas.microsoft.com/office/drawing/2014/main" id="{AE95BC52-A56D-4358-A294-750179EBB698}"/>
              </a:ext>
            </a:extLst>
          </p:cNvPr>
          <p:cNvGrpSpPr/>
          <p:nvPr userDrawn="1"/>
        </p:nvGrpSpPr>
        <p:grpSpPr>
          <a:xfrm>
            <a:off x="489113" y="876061"/>
            <a:ext cx="4852768" cy="3374475"/>
            <a:chOff x="6855933" y="899048"/>
            <a:chExt cx="4855295" cy="3374475"/>
          </a:xfrm>
          <a:solidFill>
            <a:schemeClr val="tx2"/>
          </a:solidFill>
        </p:grpSpPr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ECBD2AD5-9A79-4CFE-A808-769ADC8898F3}"/>
                </a:ext>
              </a:extLst>
            </p:cNvPr>
            <p:cNvSpPr/>
            <p:nvPr/>
          </p:nvSpPr>
          <p:spPr>
            <a:xfrm>
              <a:off x="6855933" y="899048"/>
              <a:ext cx="4855295" cy="3374475"/>
            </a:xfrm>
            <a:custGeom>
              <a:avLst/>
              <a:gdLst>
                <a:gd name="connsiteX0" fmla="*/ 6731 w 4855294"/>
                <a:gd name="connsiteY0" fmla="*/ 863542 h 3374474"/>
                <a:gd name="connsiteX1" fmla="*/ 6731 w 4855294"/>
                <a:gd name="connsiteY1" fmla="*/ 3095901 h 3374474"/>
                <a:gd name="connsiteX2" fmla="*/ 145659 w 4855294"/>
                <a:gd name="connsiteY2" fmla="*/ 3095901 h 3374474"/>
                <a:gd name="connsiteX3" fmla="*/ 145659 w 4855294"/>
                <a:gd name="connsiteY3" fmla="*/ 988380 h 3374474"/>
                <a:gd name="connsiteX4" fmla="*/ 4715918 w 4855294"/>
                <a:gd name="connsiteY4" fmla="*/ 179673 h 3374474"/>
                <a:gd name="connsiteX5" fmla="*/ 4715918 w 4855294"/>
                <a:gd name="connsiteY5" fmla="*/ 3234829 h 3374474"/>
                <a:gd name="connsiteX6" fmla="*/ 840208 w 4855294"/>
                <a:gd name="connsiteY6" fmla="*/ 3234829 h 3374474"/>
                <a:gd name="connsiteX7" fmla="*/ 840208 w 4855294"/>
                <a:gd name="connsiteY7" fmla="*/ 3373757 h 3374474"/>
                <a:gd name="connsiteX8" fmla="*/ 4854846 w 4855294"/>
                <a:gd name="connsiteY8" fmla="*/ 3373757 h 3374474"/>
                <a:gd name="connsiteX9" fmla="*/ 4854846 w 4855294"/>
                <a:gd name="connsiteY9" fmla="*/ 6731 h 3374474"/>
                <a:gd name="connsiteX10" fmla="*/ 6731 w 4855294"/>
                <a:gd name="connsiteY10" fmla="*/ 863542 h 33744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855294" h="3374474">
                  <a:moveTo>
                    <a:pt x="6731" y="863542"/>
                  </a:moveTo>
                  <a:lnTo>
                    <a:pt x="6731" y="3095901"/>
                  </a:lnTo>
                  <a:lnTo>
                    <a:pt x="145659" y="3095901"/>
                  </a:lnTo>
                  <a:lnTo>
                    <a:pt x="145659" y="988380"/>
                  </a:lnTo>
                  <a:lnTo>
                    <a:pt x="4715918" y="179673"/>
                  </a:lnTo>
                  <a:lnTo>
                    <a:pt x="4715918" y="3234829"/>
                  </a:lnTo>
                  <a:lnTo>
                    <a:pt x="840208" y="3234829"/>
                  </a:lnTo>
                  <a:lnTo>
                    <a:pt x="840208" y="3373757"/>
                  </a:lnTo>
                  <a:lnTo>
                    <a:pt x="4854846" y="3373757"/>
                  </a:lnTo>
                  <a:lnTo>
                    <a:pt x="4854846" y="6731"/>
                  </a:lnTo>
                  <a:lnTo>
                    <a:pt x="6731" y="86354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798" dirty="0"/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9EE673CB-A779-4F64-B72D-93428DD2B26D}"/>
                </a:ext>
              </a:extLst>
            </p:cNvPr>
            <p:cNvSpPr/>
            <p:nvPr/>
          </p:nvSpPr>
          <p:spPr>
            <a:xfrm>
              <a:off x="6855933" y="4127146"/>
              <a:ext cx="143595" cy="143595"/>
            </a:xfrm>
            <a:custGeom>
              <a:avLst/>
              <a:gdLst>
                <a:gd name="connsiteX0" fmla="*/ 6731 w 143594"/>
                <a:gd name="connsiteY0" fmla="*/ 6731 h 143594"/>
                <a:gd name="connsiteX1" fmla="*/ 145659 w 143594"/>
                <a:gd name="connsiteY1" fmla="*/ 6731 h 143594"/>
                <a:gd name="connsiteX2" fmla="*/ 145659 w 143594"/>
                <a:gd name="connsiteY2" fmla="*/ 145659 h 143594"/>
                <a:gd name="connsiteX3" fmla="*/ 6731 w 143594"/>
                <a:gd name="connsiteY3" fmla="*/ 145659 h 143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3594" h="143594">
                  <a:moveTo>
                    <a:pt x="6731" y="6731"/>
                  </a:moveTo>
                  <a:lnTo>
                    <a:pt x="145659" y="6731"/>
                  </a:lnTo>
                  <a:lnTo>
                    <a:pt x="145659" y="145659"/>
                  </a:lnTo>
                  <a:lnTo>
                    <a:pt x="6731" y="14565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798" dirty="0"/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88144C98-507D-403B-8819-FBBF64A82FA3}"/>
                </a:ext>
              </a:extLst>
            </p:cNvPr>
            <p:cNvSpPr/>
            <p:nvPr/>
          </p:nvSpPr>
          <p:spPr>
            <a:xfrm>
              <a:off x="7133789" y="4127146"/>
              <a:ext cx="143595" cy="143595"/>
            </a:xfrm>
            <a:custGeom>
              <a:avLst/>
              <a:gdLst>
                <a:gd name="connsiteX0" fmla="*/ 6731 w 143594"/>
                <a:gd name="connsiteY0" fmla="*/ 6731 h 143594"/>
                <a:gd name="connsiteX1" fmla="*/ 145659 w 143594"/>
                <a:gd name="connsiteY1" fmla="*/ 6731 h 143594"/>
                <a:gd name="connsiteX2" fmla="*/ 145659 w 143594"/>
                <a:gd name="connsiteY2" fmla="*/ 145659 h 143594"/>
                <a:gd name="connsiteX3" fmla="*/ 6731 w 143594"/>
                <a:gd name="connsiteY3" fmla="*/ 145659 h 143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3594" h="143594">
                  <a:moveTo>
                    <a:pt x="6731" y="6731"/>
                  </a:moveTo>
                  <a:lnTo>
                    <a:pt x="145659" y="6731"/>
                  </a:lnTo>
                  <a:lnTo>
                    <a:pt x="145659" y="145659"/>
                  </a:lnTo>
                  <a:lnTo>
                    <a:pt x="6731" y="14565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798" dirty="0"/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21919CB3-2430-4DA6-BF41-59A1EF9C03CB}"/>
                </a:ext>
              </a:extLst>
            </p:cNvPr>
            <p:cNvSpPr/>
            <p:nvPr/>
          </p:nvSpPr>
          <p:spPr>
            <a:xfrm>
              <a:off x="7411555" y="4127146"/>
              <a:ext cx="143595" cy="143595"/>
            </a:xfrm>
            <a:custGeom>
              <a:avLst/>
              <a:gdLst>
                <a:gd name="connsiteX0" fmla="*/ 6731 w 143594"/>
                <a:gd name="connsiteY0" fmla="*/ 6731 h 143594"/>
                <a:gd name="connsiteX1" fmla="*/ 145659 w 143594"/>
                <a:gd name="connsiteY1" fmla="*/ 6731 h 143594"/>
                <a:gd name="connsiteX2" fmla="*/ 145659 w 143594"/>
                <a:gd name="connsiteY2" fmla="*/ 145659 h 143594"/>
                <a:gd name="connsiteX3" fmla="*/ 6731 w 143594"/>
                <a:gd name="connsiteY3" fmla="*/ 145659 h 143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3594" h="143594">
                  <a:moveTo>
                    <a:pt x="6731" y="6731"/>
                  </a:moveTo>
                  <a:lnTo>
                    <a:pt x="145659" y="6731"/>
                  </a:lnTo>
                  <a:lnTo>
                    <a:pt x="145659" y="145659"/>
                  </a:lnTo>
                  <a:lnTo>
                    <a:pt x="6731" y="14565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798" dirty="0"/>
            </a:p>
          </p:txBody>
        </p:sp>
      </p:grpSp>
      <p:grpSp>
        <p:nvGrpSpPr>
          <p:cNvPr id="82" name="Group 4">
            <a:extLst>
              <a:ext uri="{FF2B5EF4-FFF2-40B4-BE49-F238E27FC236}">
                <a16:creationId xmlns:a16="http://schemas.microsoft.com/office/drawing/2014/main" id="{C5FADEE5-07C4-41A9-88D6-C6D2ED1362B8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59392" y="4960938"/>
            <a:ext cx="1224912" cy="1435100"/>
            <a:chOff x="6529" y="3125"/>
            <a:chExt cx="772" cy="904"/>
          </a:xfrm>
        </p:grpSpPr>
        <p:sp>
          <p:nvSpPr>
            <p:cNvPr id="83" name="Freeform 5">
              <a:extLst>
                <a:ext uri="{FF2B5EF4-FFF2-40B4-BE49-F238E27FC236}">
                  <a16:creationId xmlns:a16="http://schemas.microsoft.com/office/drawing/2014/main" id="{5A2C465B-7D43-431D-A35E-50762E7696F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/>
            </a:p>
          </p:txBody>
        </p:sp>
        <p:sp>
          <p:nvSpPr>
            <p:cNvPr id="84" name="Freeform 6">
              <a:extLst>
                <a:ext uri="{FF2B5EF4-FFF2-40B4-BE49-F238E27FC236}">
                  <a16:creationId xmlns:a16="http://schemas.microsoft.com/office/drawing/2014/main" id="{AC35E6C1-71A8-4C9D-A1A5-682B0BD0A03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/>
            </a:p>
          </p:txBody>
        </p:sp>
      </p:grpSp>
    </p:spTree>
    <p:extLst>
      <p:ext uri="{BB962C8B-B14F-4D97-AF65-F5344CB8AC3E}">
        <p14:creationId xmlns:p14="http://schemas.microsoft.com/office/powerpoint/2010/main" val="118228168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Approved question w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5" name="Group 234">
            <a:extLst>
              <a:ext uri="{FF2B5EF4-FFF2-40B4-BE49-F238E27FC236}">
                <a16:creationId xmlns:a16="http://schemas.microsoft.com/office/drawing/2014/main" id="{5342E118-6F1D-4C46-956E-4CCCBCAA7952}"/>
              </a:ext>
            </a:extLst>
          </p:cNvPr>
          <p:cNvGrpSpPr/>
          <p:nvPr userDrawn="1"/>
        </p:nvGrpSpPr>
        <p:grpSpPr>
          <a:xfrm>
            <a:off x="497856" y="5826615"/>
            <a:ext cx="3876004" cy="570195"/>
            <a:chOff x="498115" y="5951018"/>
            <a:chExt cx="3878023" cy="570195"/>
          </a:xfrm>
        </p:grpSpPr>
        <p:sp>
          <p:nvSpPr>
            <p:cNvPr id="168" name="Rectangle 167">
              <a:extLst>
                <a:ext uri="{FF2B5EF4-FFF2-40B4-BE49-F238E27FC236}">
                  <a16:creationId xmlns:a16="http://schemas.microsoft.com/office/drawing/2014/main" id="{A22049CA-64AE-409F-988D-A7317F8AD13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98115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/>
            </a:p>
          </p:txBody>
        </p:sp>
        <p:sp>
          <p:nvSpPr>
            <p:cNvPr id="169" name="Rectangle 6">
              <a:extLst>
                <a:ext uri="{FF2B5EF4-FFF2-40B4-BE49-F238E27FC236}">
                  <a16:creationId xmlns:a16="http://schemas.microsoft.com/office/drawing/2014/main" id="{E37A0A05-0A78-44A7-8873-0A1A20C8717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9341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/>
            </a:p>
          </p:txBody>
        </p:sp>
        <p:sp>
          <p:nvSpPr>
            <p:cNvPr id="170" name="Rectangle 7">
              <a:extLst>
                <a:ext uri="{FF2B5EF4-FFF2-40B4-BE49-F238E27FC236}">
                  <a16:creationId xmlns:a16="http://schemas.microsoft.com/office/drawing/2014/main" id="{0DEA0CBE-8527-4287-BF98-DA48947875F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9045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/>
            </a:p>
          </p:txBody>
        </p:sp>
        <p:sp>
          <p:nvSpPr>
            <p:cNvPr id="171" name="Freeform 8">
              <a:extLst>
                <a:ext uri="{FF2B5EF4-FFF2-40B4-BE49-F238E27FC236}">
                  <a16:creationId xmlns:a16="http://schemas.microsoft.com/office/drawing/2014/main" id="{444058C6-612A-446E-8F68-0E5CC4CFF36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181188"/>
              <a:ext cx="94161" cy="130778"/>
            </a:xfrm>
            <a:custGeom>
              <a:avLst/>
              <a:gdLst>
                <a:gd name="T0" fmla="*/ 32 w 54"/>
                <a:gd name="T1" fmla="*/ 11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1 h 75"/>
                <a:gd name="T8" fmla="*/ 0 w 54"/>
                <a:gd name="T9" fmla="*/ 11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1 h 75"/>
                <a:gd name="T16" fmla="*/ 32 w 54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1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1"/>
                  </a:lnTo>
                  <a:lnTo>
                    <a:pt x="32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172" name="Freeform 9">
              <a:extLst>
                <a:ext uri="{FF2B5EF4-FFF2-40B4-BE49-F238E27FC236}">
                  <a16:creationId xmlns:a16="http://schemas.microsoft.com/office/drawing/2014/main" id="{1011EC31-E0C3-404F-93B3-EFD3DADC11C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174213"/>
              <a:ext cx="78468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173" name="Freeform 10">
              <a:extLst>
                <a:ext uri="{FF2B5EF4-FFF2-40B4-BE49-F238E27FC236}">
                  <a16:creationId xmlns:a16="http://schemas.microsoft.com/office/drawing/2014/main" id="{3C9D076B-D88C-4089-8D58-9A31CFCDB02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174" name="Freeform 11">
              <a:extLst>
                <a:ext uri="{FF2B5EF4-FFF2-40B4-BE49-F238E27FC236}">
                  <a16:creationId xmlns:a16="http://schemas.microsoft.com/office/drawing/2014/main" id="{29DB43AC-B765-4ECB-B483-562473BD4A3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174213"/>
              <a:ext cx="83698" cy="139497"/>
            </a:xfrm>
            <a:custGeom>
              <a:avLst/>
              <a:gdLst>
                <a:gd name="T0" fmla="*/ 33 w 33"/>
                <a:gd name="T1" fmla="*/ 35 h 55"/>
                <a:gd name="T2" fmla="*/ 31 w 33"/>
                <a:gd name="T3" fmla="*/ 44 h 55"/>
                <a:gd name="T4" fmla="*/ 28 w 33"/>
                <a:gd name="T5" fmla="*/ 50 h 55"/>
                <a:gd name="T6" fmla="*/ 23 w 33"/>
                <a:gd name="T7" fmla="*/ 53 h 55"/>
                <a:gd name="T8" fmla="*/ 17 w 33"/>
                <a:gd name="T9" fmla="*/ 55 h 55"/>
                <a:gd name="T10" fmla="*/ 12 w 33"/>
                <a:gd name="T11" fmla="*/ 53 h 55"/>
                <a:gd name="T12" fmla="*/ 8 w 33"/>
                <a:gd name="T13" fmla="*/ 50 h 55"/>
                <a:gd name="T14" fmla="*/ 8 w 33"/>
                <a:gd name="T15" fmla="*/ 54 h 55"/>
                <a:gd name="T16" fmla="*/ 0 w 33"/>
                <a:gd name="T17" fmla="*/ 54 h 55"/>
                <a:gd name="T18" fmla="*/ 0 w 33"/>
                <a:gd name="T19" fmla="*/ 4 h 55"/>
                <a:gd name="T20" fmla="*/ 8 w 33"/>
                <a:gd name="T21" fmla="*/ 0 h 55"/>
                <a:gd name="T22" fmla="*/ 8 w 33"/>
                <a:gd name="T23" fmla="*/ 19 h 55"/>
                <a:gd name="T24" fmla="*/ 10 w 33"/>
                <a:gd name="T25" fmla="*/ 17 h 55"/>
                <a:gd name="T26" fmla="*/ 12 w 33"/>
                <a:gd name="T27" fmla="*/ 16 h 55"/>
                <a:gd name="T28" fmla="*/ 14 w 33"/>
                <a:gd name="T29" fmla="*/ 15 h 55"/>
                <a:gd name="T30" fmla="*/ 18 w 33"/>
                <a:gd name="T31" fmla="*/ 15 h 55"/>
                <a:gd name="T32" fmla="*/ 24 w 33"/>
                <a:gd name="T33" fmla="*/ 16 h 55"/>
                <a:gd name="T34" fmla="*/ 28 w 33"/>
                <a:gd name="T35" fmla="*/ 19 h 55"/>
                <a:gd name="T36" fmla="*/ 31 w 33"/>
                <a:gd name="T37" fmla="*/ 26 h 55"/>
                <a:gd name="T38" fmla="*/ 33 w 33"/>
                <a:gd name="T39" fmla="*/ 35 h 55"/>
                <a:gd name="T40" fmla="*/ 25 w 33"/>
                <a:gd name="T41" fmla="*/ 35 h 55"/>
                <a:gd name="T42" fmla="*/ 23 w 33"/>
                <a:gd name="T43" fmla="*/ 25 h 55"/>
                <a:gd name="T44" fmla="*/ 16 w 33"/>
                <a:gd name="T45" fmla="*/ 22 h 55"/>
                <a:gd name="T46" fmla="*/ 14 w 33"/>
                <a:gd name="T47" fmla="*/ 22 h 55"/>
                <a:gd name="T48" fmla="*/ 11 w 33"/>
                <a:gd name="T49" fmla="*/ 23 h 55"/>
                <a:gd name="T50" fmla="*/ 9 w 33"/>
                <a:gd name="T51" fmla="*/ 25 h 55"/>
                <a:gd name="T52" fmla="*/ 8 w 33"/>
                <a:gd name="T53" fmla="*/ 26 h 55"/>
                <a:gd name="T54" fmla="*/ 8 w 33"/>
                <a:gd name="T55" fmla="*/ 43 h 55"/>
                <a:gd name="T56" fmla="*/ 9 w 33"/>
                <a:gd name="T57" fmla="*/ 44 h 55"/>
                <a:gd name="T58" fmla="*/ 11 w 33"/>
                <a:gd name="T59" fmla="*/ 46 h 55"/>
                <a:gd name="T60" fmla="*/ 14 w 33"/>
                <a:gd name="T61" fmla="*/ 47 h 55"/>
                <a:gd name="T62" fmla="*/ 17 w 33"/>
                <a:gd name="T63" fmla="*/ 48 h 55"/>
                <a:gd name="T64" fmla="*/ 23 w 33"/>
                <a:gd name="T65" fmla="*/ 45 h 55"/>
                <a:gd name="T66" fmla="*/ 25 w 33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5">
                  <a:moveTo>
                    <a:pt x="33" y="35"/>
                  </a:moveTo>
                  <a:cubicBezTo>
                    <a:pt x="33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7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6" y="55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8"/>
                    <a:pt x="10" y="17"/>
                  </a:cubicBezTo>
                  <a:cubicBezTo>
                    <a:pt x="11" y="17"/>
                    <a:pt x="11" y="16"/>
                    <a:pt x="12" y="16"/>
                  </a:cubicBezTo>
                  <a:cubicBezTo>
                    <a:pt x="13" y="16"/>
                    <a:pt x="13" y="15"/>
                    <a:pt x="14" y="15"/>
                  </a:cubicBezTo>
                  <a:cubicBezTo>
                    <a:pt x="15" y="15"/>
                    <a:pt x="16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30" y="21"/>
                    <a:pt x="31" y="23"/>
                    <a:pt x="31" y="26"/>
                  </a:cubicBezTo>
                  <a:cubicBezTo>
                    <a:pt x="32" y="28"/>
                    <a:pt x="33" y="32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5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1" y="23"/>
                    <a:pt x="10" y="24"/>
                    <a:pt x="9" y="25"/>
                  </a:cubicBezTo>
                  <a:cubicBezTo>
                    <a:pt x="9" y="25"/>
                    <a:pt x="8" y="26"/>
                    <a:pt x="8" y="26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8" y="43"/>
                    <a:pt x="9" y="44"/>
                    <a:pt x="9" y="44"/>
                  </a:cubicBezTo>
                  <a:cubicBezTo>
                    <a:pt x="10" y="45"/>
                    <a:pt x="11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6" y="48"/>
                    <a:pt x="17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175" name="Freeform 12">
              <a:extLst>
                <a:ext uri="{FF2B5EF4-FFF2-40B4-BE49-F238E27FC236}">
                  <a16:creationId xmlns:a16="http://schemas.microsoft.com/office/drawing/2014/main" id="{AF1DE1B8-EA4B-4A98-A97D-BA5EEA42B19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176" name="Freeform 13">
              <a:extLst>
                <a:ext uri="{FF2B5EF4-FFF2-40B4-BE49-F238E27FC236}">
                  <a16:creationId xmlns:a16="http://schemas.microsoft.com/office/drawing/2014/main" id="{F8F60B79-7AF5-4C5E-A5EF-126F117D591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1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2" y="54"/>
                    <a:pt x="11" y="54"/>
                  </a:cubicBezTo>
                  <a:cubicBezTo>
                    <a:pt x="10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2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177" name="Freeform 14">
              <a:extLst>
                <a:ext uri="{FF2B5EF4-FFF2-40B4-BE49-F238E27FC236}">
                  <a16:creationId xmlns:a16="http://schemas.microsoft.com/office/drawing/2014/main" id="{0A0438AD-9937-4C25-AB9E-7F8C8CCA23F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178" name="Freeform 15">
              <a:extLst>
                <a:ext uri="{FF2B5EF4-FFF2-40B4-BE49-F238E27FC236}">
                  <a16:creationId xmlns:a16="http://schemas.microsoft.com/office/drawing/2014/main" id="{6FDE2726-7032-4BE4-A420-0ECF49A32A8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0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2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0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3" y="31"/>
                    <a:pt x="24" y="30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0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7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179" name="Freeform 16">
              <a:extLst>
                <a:ext uri="{FF2B5EF4-FFF2-40B4-BE49-F238E27FC236}">
                  <a16:creationId xmlns:a16="http://schemas.microsoft.com/office/drawing/2014/main" id="{50C22C21-F8DB-486D-9042-765D68AE3A7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212575"/>
              <a:ext cx="55799" cy="99391"/>
            </a:xfrm>
            <a:custGeom>
              <a:avLst/>
              <a:gdLst>
                <a:gd name="T0" fmla="*/ 20 w 22"/>
                <a:gd name="T1" fmla="*/ 8 h 39"/>
                <a:gd name="T2" fmla="*/ 18 w 22"/>
                <a:gd name="T3" fmla="*/ 7 h 39"/>
                <a:gd name="T4" fmla="*/ 15 w 22"/>
                <a:gd name="T5" fmla="*/ 7 h 39"/>
                <a:gd name="T6" fmla="*/ 9 w 22"/>
                <a:gd name="T7" fmla="*/ 9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0 h 39"/>
                <a:gd name="T16" fmla="*/ 7 w 22"/>
                <a:gd name="T17" fmla="*/ 0 h 39"/>
                <a:gd name="T18" fmla="*/ 7 w 22"/>
                <a:gd name="T19" fmla="*/ 4 h 39"/>
                <a:gd name="T20" fmla="*/ 9 w 22"/>
                <a:gd name="T21" fmla="*/ 2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0 h 39"/>
                <a:gd name="T30" fmla="*/ 22 w 22"/>
                <a:gd name="T31" fmla="*/ 1 h 39"/>
                <a:gd name="T32" fmla="*/ 20 w 22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2" y="7"/>
                    <a:pt x="10" y="8"/>
                    <a:pt x="9" y="9"/>
                  </a:cubicBezTo>
                  <a:cubicBezTo>
                    <a:pt x="8" y="11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9" y="2"/>
                    <a:pt x="10" y="1"/>
                    <a:pt x="11" y="1"/>
                  </a:cubicBezTo>
                  <a:cubicBezTo>
                    <a:pt x="11" y="0"/>
                    <a:pt x="12" y="0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0"/>
                  </a:cubicBezTo>
                  <a:cubicBezTo>
                    <a:pt x="21" y="0"/>
                    <a:pt x="22" y="1"/>
                    <a:pt x="22" y="1"/>
                  </a:cubicBezTo>
                  <a:lnTo>
                    <a:pt x="20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180" name="Freeform 17">
              <a:extLst>
                <a:ext uri="{FF2B5EF4-FFF2-40B4-BE49-F238E27FC236}">
                  <a16:creationId xmlns:a16="http://schemas.microsoft.com/office/drawing/2014/main" id="{7F763F72-BB8F-482C-9FDA-40EDD6EE5F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181" name="Freeform 18">
              <a:extLst>
                <a:ext uri="{FF2B5EF4-FFF2-40B4-BE49-F238E27FC236}">
                  <a16:creationId xmlns:a16="http://schemas.microsoft.com/office/drawing/2014/main" id="{710F466C-6BEC-4970-9707-40D8002740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2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8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9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182" name="Freeform 19">
              <a:extLst>
                <a:ext uri="{FF2B5EF4-FFF2-40B4-BE49-F238E27FC236}">
                  <a16:creationId xmlns:a16="http://schemas.microsoft.com/office/drawing/2014/main" id="{3332407D-F423-41B2-985F-8A4482C61D9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183" name="Freeform 20">
              <a:extLst>
                <a:ext uri="{FF2B5EF4-FFF2-40B4-BE49-F238E27FC236}">
                  <a16:creationId xmlns:a16="http://schemas.microsoft.com/office/drawing/2014/main" id="{44E3286F-1188-47B1-8B46-3498795DF2D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30922" y="6212575"/>
              <a:ext cx="80211" cy="134265"/>
            </a:xfrm>
            <a:custGeom>
              <a:avLst/>
              <a:gdLst>
                <a:gd name="T0" fmla="*/ 25 w 32"/>
                <a:gd name="T1" fmla="*/ 53 h 53"/>
                <a:gd name="T2" fmla="*/ 25 w 32"/>
                <a:gd name="T3" fmla="*/ 35 h 53"/>
                <a:gd name="T4" fmla="*/ 20 w 32"/>
                <a:gd name="T5" fmla="*/ 38 h 53"/>
                <a:gd name="T6" fmla="*/ 15 w 32"/>
                <a:gd name="T7" fmla="*/ 40 h 53"/>
                <a:gd name="T8" fmla="*/ 9 w 32"/>
                <a:gd name="T9" fmla="*/ 38 h 53"/>
                <a:gd name="T10" fmla="*/ 4 w 32"/>
                <a:gd name="T11" fmla="*/ 35 h 53"/>
                <a:gd name="T12" fmla="*/ 1 w 32"/>
                <a:gd name="T13" fmla="*/ 28 h 53"/>
                <a:gd name="T14" fmla="*/ 0 w 32"/>
                <a:gd name="T15" fmla="*/ 19 h 53"/>
                <a:gd name="T16" fmla="*/ 1 w 32"/>
                <a:gd name="T17" fmla="*/ 10 h 53"/>
                <a:gd name="T18" fmla="*/ 4 w 32"/>
                <a:gd name="T19" fmla="*/ 4 h 53"/>
                <a:gd name="T20" fmla="*/ 9 w 32"/>
                <a:gd name="T21" fmla="*/ 1 h 53"/>
                <a:gd name="T22" fmla="*/ 15 w 32"/>
                <a:gd name="T23" fmla="*/ 0 h 53"/>
                <a:gd name="T24" fmla="*/ 18 w 32"/>
                <a:gd name="T25" fmla="*/ 0 h 53"/>
                <a:gd name="T26" fmla="*/ 20 w 32"/>
                <a:gd name="T27" fmla="*/ 1 h 53"/>
                <a:gd name="T28" fmla="*/ 23 w 32"/>
                <a:gd name="T29" fmla="*/ 2 h 53"/>
                <a:gd name="T30" fmla="*/ 25 w 32"/>
                <a:gd name="T31" fmla="*/ 4 h 53"/>
                <a:gd name="T32" fmla="*/ 25 w 32"/>
                <a:gd name="T33" fmla="*/ 0 h 53"/>
                <a:gd name="T34" fmla="*/ 32 w 32"/>
                <a:gd name="T35" fmla="*/ 0 h 53"/>
                <a:gd name="T36" fmla="*/ 32 w 32"/>
                <a:gd name="T37" fmla="*/ 49 h 53"/>
                <a:gd name="T38" fmla="*/ 25 w 32"/>
                <a:gd name="T39" fmla="*/ 53 h 53"/>
                <a:gd name="T40" fmla="*/ 25 w 32"/>
                <a:gd name="T41" fmla="*/ 12 h 53"/>
                <a:gd name="T42" fmla="*/ 23 w 32"/>
                <a:gd name="T43" fmla="*/ 10 h 53"/>
                <a:gd name="T44" fmla="*/ 21 w 32"/>
                <a:gd name="T45" fmla="*/ 8 h 53"/>
                <a:gd name="T46" fmla="*/ 18 w 32"/>
                <a:gd name="T47" fmla="*/ 7 h 53"/>
                <a:gd name="T48" fmla="*/ 16 w 32"/>
                <a:gd name="T49" fmla="*/ 7 h 53"/>
                <a:gd name="T50" fmla="*/ 9 w 32"/>
                <a:gd name="T51" fmla="*/ 10 h 53"/>
                <a:gd name="T52" fmla="*/ 7 w 32"/>
                <a:gd name="T53" fmla="*/ 19 h 53"/>
                <a:gd name="T54" fmla="*/ 10 w 32"/>
                <a:gd name="T55" fmla="*/ 29 h 53"/>
                <a:gd name="T56" fmla="*/ 16 w 32"/>
                <a:gd name="T57" fmla="*/ 33 h 53"/>
                <a:gd name="T58" fmla="*/ 21 w 32"/>
                <a:gd name="T59" fmla="*/ 31 h 53"/>
                <a:gd name="T60" fmla="*/ 25 w 32"/>
                <a:gd name="T61" fmla="*/ 28 h 53"/>
                <a:gd name="T62" fmla="*/ 25 w 32"/>
                <a:gd name="T63" fmla="*/ 1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2" h="53">
                  <a:moveTo>
                    <a:pt x="25" y="53"/>
                  </a:moveTo>
                  <a:cubicBezTo>
                    <a:pt x="25" y="35"/>
                    <a:pt x="25" y="35"/>
                    <a:pt x="25" y="35"/>
                  </a:cubicBezTo>
                  <a:cubicBezTo>
                    <a:pt x="23" y="36"/>
                    <a:pt x="22" y="37"/>
                    <a:pt x="20" y="38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3" y="40"/>
                    <a:pt x="11" y="39"/>
                    <a:pt x="9" y="38"/>
                  </a:cubicBezTo>
                  <a:cubicBezTo>
                    <a:pt x="7" y="38"/>
                    <a:pt x="5" y="36"/>
                    <a:pt x="4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0" y="26"/>
                    <a:pt x="0" y="23"/>
                    <a:pt x="0" y="19"/>
                  </a:cubicBezTo>
                  <a:cubicBezTo>
                    <a:pt x="0" y="16"/>
                    <a:pt x="0" y="13"/>
                    <a:pt x="1" y="10"/>
                  </a:cubicBezTo>
                  <a:cubicBezTo>
                    <a:pt x="2" y="8"/>
                    <a:pt x="3" y="6"/>
                    <a:pt x="4" y="4"/>
                  </a:cubicBezTo>
                  <a:cubicBezTo>
                    <a:pt x="6" y="3"/>
                    <a:pt x="7" y="2"/>
                    <a:pt x="9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6" y="0"/>
                    <a:pt x="17" y="0"/>
                    <a:pt x="18" y="0"/>
                  </a:cubicBezTo>
                  <a:cubicBezTo>
                    <a:pt x="19" y="0"/>
                    <a:pt x="20" y="0"/>
                    <a:pt x="20" y="1"/>
                  </a:cubicBezTo>
                  <a:cubicBezTo>
                    <a:pt x="21" y="1"/>
                    <a:pt x="22" y="2"/>
                    <a:pt x="23" y="2"/>
                  </a:cubicBezTo>
                  <a:cubicBezTo>
                    <a:pt x="23" y="3"/>
                    <a:pt x="24" y="3"/>
                    <a:pt x="25" y="4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49"/>
                    <a:pt x="32" y="49"/>
                    <a:pt x="32" y="49"/>
                  </a:cubicBezTo>
                  <a:lnTo>
                    <a:pt x="25" y="53"/>
                  </a:lnTo>
                  <a:close/>
                  <a:moveTo>
                    <a:pt x="25" y="12"/>
                  </a:moveTo>
                  <a:cubicBezTo>
                    <a:pt x="24" y="11"/>
                    <a:pt x="24" y="10"/>
                    <a:pt x="23" y="10"/>
                  </a:cubicBezTo>
                  <a:cubicBezTo>
                    <a:pt x="23" y="9"/>
                    <a:pt x="22" y="9"/>
                    <a:pt x="21" y="8"/>
                  </a:cubicBezTo>
                  <a:cubicBezTo>
                    <a:pt x="20" y="8"/>
                    <a:pt x="19" y="7"/>
                    <a:pt x="18" y="7"/>
                  </a:cubicBezTo>
                  <a:cubicBezTo>
                    <a:pt x="18" y="7"/>
                    <a:pt x="17" y="7"/>
                    <a:pt x="16" y="7"/>
                  </a:cubicBezTo>
                  <a:cubicBezTo>
                    <a:pt x="13" y="7"/>
                    <a:pt x="11" y="8"/>
                    <a:pt x="9" y="10"/>
                  </a:cubicBezTo>
                  <a:cubicBezTo>
                    <a:pt x="8" y="12"/>
                    <a:pt x="7" y="15"/>
                    <a:pt x="7" y="19"/>
                  </a:cubicBezTo>
                  <a:cubicBezTo>
                    <a:pt x="7" y="23"/>
                    <a:pt x="8" y="27"/>
                    <a:pt x="10" y="29"/>
                  </a:cubicBezTo>
                  <a:cubicBezTo>
                    <a:pt x="11" y="31"/>
                    <a:pt x="13" y="33"/>
                    <a:pt x="16" y="33"/>
                  </a:cubicBezTo>
                  <a:cubicBezTo>
                    <a:pt x="18" y="33"/>
                    <a:pt x="19" y="32"/>
                    <a:pt x="21" y="31"/>
                  </a:cubicBezTo>
                  <a:cubicBezTo>
                    <a:pt x="22" y="30"/>
                    <a:pt x="24" y="29"/>
                    <a:pt x="25" y="28"/>
                  </a:cubicBezTo>
                  <a:lnTo>
                    <a:pt x="25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184" name="Freeform 21">
              <a:extLst>
                <a:ext uri="{FF2B5EF4-FFF2-40B4-BE49-F238E27FC236}">
                  <a16:creationId xmlns:a16="http://schemas.microsoft.com/office/drawing/2014/main" id="{E7BD9E0B-920A-4409-95E7-40A47107B3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35545" y="6212575"/>
              <a:ext cx="78468" cy="101135"/>
            </a:xfrm>
            <a:custGeom>
              <a:avLst/>
              <a:gdLst>
                <a:gd name="T0" fmla="*/ 24 w 31"/>
                <a:gd name="T1" fmla="*/ 39 h 40"/>
                <a:gd name="T2" fmla="*/ 24 w 31"/>
                <a:gd name="T3" fmla="*/ 35 h 40"/>
                <a:gd name="T4" fmla="*/ 20 w 31"/>
                <a:gd name="T5" fmla="*/ 38 h 40"/>
                <a:gd name="T6" fmla="*/ 14 w 31"/>
                <a:gd name="T7" fmla="*/ 40 h 40"/>
                <a:gd name="T8" fmla="*/ 4 w 31"/>
                <a:gd name="T9" fmla="*/ 35 h 40"/>
                <a:gd name="T10" fmla="*/ 0 w 31"/>
                <a:gd name="T11" fmla="*/ 22 h 40"/>
                <a:gd name="T12" fmla="*/ 0 w 31"/>
                <a:gd name="T13" fmla="*/ 0 h 40"/>
                <a:gd name="T14" fmla="*/ 8 w 31"/>
                <a:gd name="T15" fmla="*/ 0 h 40"/>
                <a:gd name="T16" fmla="*/ 8 w 31"/>
                <a:gd name="T17" fmla="*/ 22 h 40"/>
                <a:gd name="T18" fmla="*/ 10 w 31"/>
                <a:gd name="T19" fmla="*/ 30 h 40"/>
                <a:gd name="T20" fmla="*/ 16 w 31"/>
                <a:gd name="T21" fmla="*/ 33 h 40"/>
                <a:gd name="T22" fmla="*/ 22 w 31"/>
                <a:gd name="T23" fmla="*/ 30 h 40"/>
                <a:gd name="T24" fmla="*/ 24 w 31"/>
                <a:gd name="T25" fmla="*/ 23 h 40"/>
                <a:gd name="T26" fmla="*/ 24 w 31"/>
                <a:gd name="T27" fmla="*/ 0 h 40"/>
                <a:gd name="T28" fmla="*/ 31 w 31"/>
                <a:gd name="T29" fmla="*/ 0 h 40"/>
                <a:gd name="T30" fmla="*/ 31 w 31"/>
                <a:gd name="T31" fmla="*/ 39 h 40"/>
                <a:gd name="T32" fmla="*/ 24 w 31"/>
                <a:gd name="T33" fmla="*/ 39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1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2" y="38"/>
                    <a:pt x="20" y="38"/>
                  </a:cubicBezTo>
                  <a:cubicBezTo>
                    <a:pt x="18" y="39"/>
                    <a:pt x="16" y="40"/>
                    <a:pt x="14" y="40"/>
                  </a:cubicBezTo>
                  <a:cubicBezTo>
                    <a:pt x="10" y="40"/>
                    <a:pt x="6" y="38"/>
                    <a:pt x="4" y="35"/>
                  </a:cubicBezTo>
                  <a:cubicBezTo>
                    <a:pt x="2" y="32"/>
                    <a:pt x="0" y="28"/>
                    <a:pt x="0" y="2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6"/>
                    <a:pt x="9" y="28"/>
                    <a:pt x="10" y="30"/>
                  </a:cubicBezTo>
                  <a:cubicBezTo>
                    <a:pt x="11" y="32"/>
                    <a:pt x="13" y="33"/>
                    <a:pt x="16" y="33"/>
                  </a:cubicBezTo>
                  <a:cubicBezTo>
                    <a:pt x="18" y="33"/>
                    <a:pt x="20" y="32"/>
                    <a:pt x="22" y="30"/>
                  </a:cubicBezTo>
                  <a:cubicBezTo>
                    <a:pt x="23" y="28"/>
                    <a:pt x="24" y="26"/>
                    <a:pt x="24" y="23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4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185" name="Freeform 22">
              <a:extLst>
                <a:ext uri="{FF2B5EF4-FFF2-40B4-BE49-F238E27FC236}">
                  <a16:creationId xmlns:a16="http://schemas.microsoft.com/office/drawing/2014/main" id="{9D2625B8-0A5B-46EF-8302-77353AB0D3A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93493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1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2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186" name="Freeform 23">
              <a:extLst>
                <a:ext uri="{FF2B5EF4-FFF2-40B4-BE49-F238E27FC236}">
                  <a16:creationId xmlns:a16="http://schemas.microsoft.com/office/drawing/2014/main" id="{DE6C9E0E-C49B-4FBE-97F3-BB6DFAC5742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30841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1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4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7 w 29"/>
                <a:gd name="T55" fmla="*/ 24 h 40"/>
                <a:gd name="T56" fmla="*/ 13 w 29"/>
                <a:gd name="T57" fmla="*/ 22 h 40"/>
                <a:gd name="T58" fmla="*/ 8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2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3" y="6"/>
                    <a:pt x="11" y="7"/>
                    <a:pt x="10" y="7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1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9" y="25"/>
                    <a:pt x="18" y="24"/>
                    <a:pt x="17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8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3" y="15"/>
                    <a:pt x="2" y="14"/>
                  </a:cubicBezTo>
                  <a:cubicBezTo>
                    <a:pt x="2" y="13"/>
                    <a:pt x="2" y="12"/>
                    <a:pt x="2" y="10"/>
                  </a:cubicBezTo>
                  <a:cubicBezTo>
                    <a:pt x="2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187" name="Freeform 24">
              <a:extLst>
                <a:ext uri="{FF2B5EF4-FFF2-40B4-BE49-F238E27FC236}">
                  <a16:creationId xmlns:a16="http://schemas.microsoft.com/office/drawing/2014/main" id="{580801ED-9260-41DB-A0B7-5AF24B32272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1802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188" name="Freeform 25">
              <a:extLst>
                <a:ext uri="{FF2B5EF4-FFF2-40B4-BE49-F238E27FC236}">
                  <a16:creationId xmlns:a16="http://schemas.microsoft.com/office/drawing/2014/main" id="{3A9842FB-6E95-4D11-B5B9-58C4CB82C2F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194750" y="6175958"/>
              <a:ext cx="24412" cy="136010"/>
            </a:xfrm>
            <a:custGeom>
              <a:avLst/>
              <a:gdLst>
                <a:gd name="T0" fmla="*/ 10 w 10"/>
                <a:gd name="T1" fmla="*/ 5 h 53"/>
                <a:gd name="T2" fmla="*/ 9 w 10"/>
                <a:gd name="T3" fmla="*/ 6 h 53"/>
                <a:gd name="T4" fmla="*/ 8 w 10"/>
                <a:gd name="T5" fmla="*/ 8 h 53"/>
                <a:gd name="T6" fmla="*/ 7 w 10"/>
                <a:gd name="T7" fmla="*/ 9 h 53"/>
                <a:gd name="T8" fmla="*/ 5 w 10"/>
                <a:gd name="T9" fmla="*/ 9 h 53"/>
                <a:gd name="T10" fmla="*/ 3 w 10"/>
                <a:gd name="T11" fmla="*/ 9 h 53"/>
                <a:gd name="T12" fmla="*/ 1 w 10"/>
                <a:gd name="T13" fmla="*/ 8 h 53"/>
                <a:gd name="T14" fmla="*/ 0 w 10"/>
                <a:gd name="T15" fmla="*/ 6 h 53"/>
                <a:gd name="T16" fmla="*/ 0 w 10"/>
                <a:gd name="T17" fmla="*/ 5 h 53"/>
                <a:gd name="T18" fmla="*/ 0 w 10"/>
                <a:gd name="T19" fmla="*/ 3 h 53"/>
                <a:gd name="T20" fmla="*/ 1 w 10"/>
                <a:gd name="T21" fmla="*/ 1 h 53"/>
                <a:gd name="T22" fmla="*/ 3 w 10"/>
                <a:gd name="T23" fmla="*/ 0 h 53"/>
                <a:gd name="T24" fmla="*/ 5 w 10"/>
                <a:gd name="T25" fmla="*/ 0 h 53"/>
                <a:gd name="T26" fmla="*/ 7 w 10"/>
                <a:gd name="T27" fmla="*/ 0 h 53"/>
                <a:gd name="T28" fmla="*/ 8 w 10"/>
                <a:gd name="T29" fmla="*/ 1 h 53"/>
                <a:gd name="T30" fmla="*/ 9 w 10"/>
                <a:gd name="T31" fmla="*/ 3 h 53"/>
                <a:gd name="T32" fmla="*/ 10 w 10"/>
                <a:gd name="T33" fmla="*/ 5 h 53"/>
                <a:gd name="T34" fmla="*/ 1 w 10"/>
                <a:gd name="T35" fmla="*/ 53 h 53"/>
                <a:gd name="T36" fmla="*/ 1 w 10"/>
                <a:gd name="T37" fmla="*/ 14 h 53"/>
                <a:gd name="T38" fmla="*/ 9 w 10"/>
                <a:gd name="T39" fmla="*/ 14 h 53"/>
                <a:gd name="T40" fmla="*/ 9 w 10"/>
                <a:gd name="T41" fmla="*/ 53 h 53"/>
                <a:gd name="T42" fmla="*/ 1 w 10"/>
                <a:gd name="T43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" h="53">
                  <a:moveTo>
                    <a:pt x="10" y="5"/>
                  </a:moveTo>
                  <a:cubicBezTo>
                    <a:pt x="10" y="5"/>
                    <a:pt x="10" y="6"/>
                    <a:pt x="9" y="6"/>
                  </a:cubicBezTo>
                  <a:cubicBezTo>
                    <a:pt x="9" y="7"/>
                    <a:pt x="9" y="8"/>
                    <a:pt x="8" y="8"/>
                  </a:cubicBezTo>
                  <a:cubicBezTo>
                    <a:pt x="8" y="8"/>
                    <a:pt x="7" y="9"/>
                    <a:pt x="7" y="9"/>
                  </a:cubicBezTo>
                  <a:cubicBezTo>
                    <a:pt x="6" y="9"/>
                    <a:pt x="6" y="9"/>
                    <a:pt x="5" y="9"/>
                  </a:cubicBezTo>
                  <a:cubicBezTo>
                    <a:pt x="4" y="9"/>
                    <a:pt x="4" y="9"/>
                    <a:pt x="3" y="9"/>
                  </a:cubicBezTo>
                  <a:cubicBezTo>
                    <a:pt x="2" y="9"/>
                    <a:pt x="2" y="8"/>
                    <a:pt x="1" y="8"/>
                  </a:cubicBezTo>
                  <a:cubicBezTo>
                    <a:pt x="1" y="8"/>
                    <a:pt x="1" y="7"/>
                    <a:pt x="0" y="6"/>
                  </a:cubicBezTo>
                  <a:cubicBezTo>
                    <a:pt x="0" y="6"/>
                    <a:pt x="0" y="5"/>
                    <a:pt x="0" y="5"/>
                  </a:cubicBezTo>
                  <a:cubicBezTo>
                    <a:pt x="0" y="4"/>
                    <a:pt x="0" y="3"/>
                    <a:pt x="0" y="3"/>
                  </a:cubicBezTo>
                  <a:cubicBezTo>
                    <a:pt x="1" y="2"/>
                    <a:pt x="1" y="2"/>
                    <a:pt x="1" y="1"/>
                  </a:cubicBezTo>
                  <a:cubicBezTo>
                    <a:pt x="2" y="1"/>
                    <a:pt x="2" y="0"/>
                    <a:pt x="3" y="0"/>
                  </a:cubicBezTo>
                  <a:cubicBezTo>
                    <a:pt x="4" y="0"/>
                    <a:pt x="4" y="0"/>
                    <a:pt x="5" y="0"/>
                  </a:cubicBezTo>
                  <a:cubicBezTo>
                    <a:pt x="6" y="0"/>
                    <a:pt x="6" y="0"/>
                    <a:pt x="7" y="0"/>
                  </a:cubicBezTo>
                  <a:cubicBezTo>
                    <a:pt x="7" y="0"/>
                    <a:pt x="8" y="1"/>
                    <a:pt x="8" y="1"/>
                  </a:cubicBezTo>
                  <a:cubicBezTo>
                    <a:pt x="9" y="2"/>
                    <a:pt x="9" y="2"/>
                    <a:pt x="9" y="3"/>
                  </a:cubicBezTo>
                  <a:cubicBezTo>
                    <a:pt x="10" y="3"/>
                    <a:pt x="10" y="4"/>
                    <a:pt x="10" y="5"/>
                  </a:cubicBezTo>
                  <a:close/>
                  <a:moveTo>
                    <a:pt x="1" y="53"/>
                  </a:moveTo>
                  <a:cubicBezTo>
                    <a:pt x="1" y="14"/>
                    <a:pt x="1" y="14"/>
                    <a:pt x="1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53"/>
                    <a:pt x="9" y="53"/>
                    <a:pt x="9" y="53"/>
                  </a:cubicBezTo>
                  <a:lnTo>
                    <a:pt x="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189" name="Freeform 26">
              <a:extLst>
                <a:ext uri="{FF2B5EF4-FFF2-40B4-BE49-F238E27FC236}">
                  <a16:creationId xmlns:a16="http://schemas.microsoft.com/office/drawing/2014/main" id="{076538BB-C266-42BE-916B-458AF9EFB22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236599" y="6212575"/>
              <a:ext cx="87186" cy="101135"/>
            </a:xfrm>
            <a:custGeom>
              <a:avLst/>
              <a:gdLst>
                <a:gd name="T0" fmla="*/ 34 w 34"/>
                <a:gd name="T1" fmla="*/ 19 h 40"/>
                <a:gd name="T2" fmla="*/ 33 w 34"/>
                <a:gd name="T3" fmla="*/ 28 h 40"/>
                <a:gd name="T4" fmla="*/ 29 w 34"/>
                <a:gd name="T5" fmla="*/ 34 h 40"/>
                <a:gd name="T6" fmla="*/ 24 w 34"/>
                <a:gd name="T7" fmla="*/ 38 h 40"/>
                <a:gd name="T8" fmla="*/ 17 w 34"/>
                <a:gd name="T9" fmla="*/ 40 h 40"/>
                <a:gd name="T10" fmla="*/ 10 w 34"/>
                <a:gd name="T11" fmla="*/ 38 h 40"/>
                <a:gd name="T12" fmla="*/ 5 w 34"/>
                <a:gd name="T13" fmla="*/ 34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1 h 40"/>
                <a:gd name="T20" fmla="*/ 5 w 34"/>
                <a:gd name="T21" fmla="*/ 5 h 40"/>
                <a:gd name="T22" fmla="*/ 10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1 h 40"/>
                <a:gd name="T32" fmla="*/ 34 w 34"/>
                <a:gd name="T33" fmla="*/ 19 h 40"/>
                <a:gd name="T34" fmla="*/ 26 w 34"/>
                <a:gd name="T35" fmla="*/ 20 h 40"/>
                <a:gd name="T36" fmla="*/ 26 w 34"/>
                <a:gd name="T37" fmla="*/ 14 h 40"/>
                <a:gd name="T38" fmla="*/ 24 w 34"/>
                <a:gd name="T39" fmla="*/ 10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0 h 40"/>
                <a:gd name="T48" fmla="*/ 8 w 34"/>
                <a:gd name="T49" fmla="*/ 14 h 40"/>
                <a:gd name="T50" fmla="*/ 7 w 34"/>
                <a:gd name="T51" fmla="*/ 19 h 40"/>
                <a:gd name="T52" fmla="*/ 8 w 34"/>
                <a:gd name="T53" fmla="*/ 25 h 40"/>
                <a:gd name="T54" fmla="*/ 10 w 34"/>
                <a:gd name="T55" fmla="*/ 29 h 40"/>
                <a:gd name="T56" fmla="*/ 13 w 34"/>
                <a:gd name="T57" fmla="*/ 32 h 40"/>
                <a:gd name="T58" fmla="*/ 17 w 34"/>
                <a:gd name="T59" fmla="*/ 32 h 40"/>
                <a:gd name="T60" fmla="*/ 21 w 34"/>
                <a:gd name="T61" fmla="*/ 31 h 40"/>
                <a:gd name="T62" fmla="*/ 24 w 34"/>
                <a:gd name="T63" fmla="*/ 29 h 40"/>
                <a:gd name="T64" fmla="*/ 26 w 34"/>
                <a:gd name="T65" fmla="*/ 25 h 40"/>
                <a:gd name="T66" fmla="*/ 26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19"/>
                  </a:moveTo>
                  <a:cubicBezTo>
                    <a:pt x="34" y="23"/>
                    <a:pt x="34" y="25"/>
                    <a:pt x="33" y="28"/>
                  </a:cubicBezTo>
                  <a:cubicBezTo>
                    <a:pt x="32" y="30"/>
                    <a:pt x="31" y="33"/>
                    <a:pt x="29" y="34"/>
                  </a:cubicBezTo>
                  <a:cubicBezTo>
                    <a:pt x="28" y="36"/>
                    <a:pt x="26" y="37"/>
                    <a:pt x="24" y="38"/>
                  </a:cubicBezTo>
                  <a:cubicBezTo>
                    <a:pt x="21" y="39"/>
                    <a:pt x="19" y="40"/>
                    <a:pt x="17" y="40"/>
                  </a:cubicBezTo>
                  <a:cubicBezTo>
                    <a:pt x="14" y="40"/>
                    <a:pt x="12" y="39"/>
                    <a:pt x="10" y="38"/>
                  </a:cubicBezTo>
                  <a:cubicBezTo>
                    <a:pt x="8" y="37"/>
                    <a:pt x="6" y="36"/>
                    <a:pt x="5" y="34"/>
                  </a:cubicBezTo>
                  <a:cubicBezTo>
                    <a:pt x="3" y="32"/>
                    <a:pt x="2" y="30"/>
                    <a:pt x="1" y="28"/>
                  </a:cubicBezTo>
                  <a:cubicBezTo>
                    <a:pt x="0" y="25"/>
                    <a:pt x="0" y="23"/>
                    <a:pt x="0" y="20"/>
                  </a:cubicBezTo>
                  <a:cubicBezTo>
                    <a:pt x="0" y="16"/>
                    <a:pt x="0" y="14"/>
                    <a:pt x="1" y="11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8" y="3"/>
                    <a:pt x="29" y="5"/>
                  </a:cubicBezTo>
                  <a:cubicBezTo>
                    <a:pt x="31" y="7"/>
                    <a:pt x="32" y="9"/>
                    <a:pt x="33" y="11"/>
                  </a:cubicBezTo>
                  <a:cubicBezTo>
                    <a:pt x="34" y="14"/>
                    <a:pt x="34" y="16"/>
                    <a:pt x="34" y="19"/>
                  </a:cubicBezTo>
                  <a:close/>
                  <a:moveTo>
                    <a:pt x="26" y="20"/>
                  </a:moveTo>
                  <a:cubicBezTo>
                    <a:pt x="26" y="18"/>
                    <a:pt x="26" y="16"/>
                    <a:pt x="26" y="14"/>
                  </a:cubicBezTo>
                  <a:cubicBezTo>
                    <a:pt x="25" y="13"/>
                    <a:pt x="25" y="11"/>
                    <a:pt x="24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19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11"/>
                    <a:pt x="8" y="13"/>
                    <a:pt x="8" y="14"/>
                  </a:cubicBezTo>
                  <a:cubicBezTo>
                    <a:pt x="8" y="16"/>
                    <a:pt x="7" y="17"/>
                    <a:pt x="7" y="19"/>
                  </a:cubicBezTo>
                  <a:cubicBezTo>
                    <a:pt x="7" y="21"/>
                    <a:pt x="8" y="23"/>
                    <a:pt x="8" y="25"/>
                  </a:cubicBezTo>
                  <a:cubicBezTo>
                    <a:pt x="9" y="27"/>
                    <a:pt x="9" y="28"/>
                    <a:pt x="10" y="29"/>
                  </a:cubicBezTo>
                  <a:cubicBezTo>
                    <a:pt x="11" y="30"/>
                    <a:pt x="12" y="31"/>
                    <a:pt x="13" y="32"/>
                  </a:cubicBezTo>
                  <a:cubicBezTo>
                    <a:pt x="14" y="32"/>
                    <a:pt x="16" y="32"/>
                    <a:pt x="17" y="32"/>
                  </a:cubicBezTo>
                  <a:cubicBezTo>
                    <a:pt x="18" y="32"/>
                    <a:pt x="20" y="32"/>
                    <a:pt x="21" y="31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7"/>
                    <a:pt x="25" y="26"/>
                    <a:pt x="26" y="25"/>
                  </a:cubicBezTo>
                  <a:cubicBezTo>
                    <a:pt x="26" y="23"/>
                    <a:pt x="26" y="21"/>
                    <a:pt x="26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190" name="Freeform 27">
              <a:extLst>
                <a:ext uri="{FF2B5EF4-FFF2-40B4-BE49-F238E27FC236}">
                  <a16:creationId xmlns:a16="http://schemas.microsoft.com/office/drawing/2014/main" id="{A7C95C0F-A1E9-46B5-B9DB-284F35C7280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44710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1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9 w 31"/>
                <a:gd name="T11" fmla="*/ 9 h 39"/>
                <a:gd name="T12" fmla="*/ 8 w 31"/>
                <a:gd name="T13" fmla="*/ 12 h 39"/>
                <a:gd name="T14" fmla="*/ 7 w 31"/>
                <a:gd name="T15" fmla="*/ 16 h 39"/>
                <a:gd name="T16" fmla="*/ 7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7 w 31"/>
                <a:gd name="T23" fmla="*/ 0 h 39"/>
                <a:gd name="T24" fmla="*/ 7 w 31"/>
                <a:gd name="T25" fmla="*/ 4 h 39"/>
                <a:gd name="T26" fmla="*/ 9 w 31"/>
                <a:gd name="T27" fmla="*/ 2 h 39"/>
                <a:gd name="T28" fmla="*/ 11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7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1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9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7" y="15"/>
                    <a:pt x="7" y="16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9" y="0"/>
                    <a:pt x="21" y="0"/>
                    <a:pt x="23" y="1"/>
                  </a:cubicBezTo>
                  <a:cubicBezTo>
                    <a:pt x="25" y="1"/>
                    <a:pt x="26" y="2"/>
                    <a:pt x="27" y="4"/>
                  </a:cubicBezTo>
                  <a:cubicBezTo>
                    <a:pt x="28" y="5"/>
                    <a:pt x="29" y="7"/>
                    <a:pt x="30" y="9"/>
                  </a:cubicBezTo>
                  <a:cubicBezTo>
                    <a:pt x="30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191" name="Freeform 28">
              <a:extLst>
                <a:ext uri="{FF2B5EF4-FFF2-40B4-BE49-F238E27FC236}">
                  <a16:creationId xmlns:a16="http://schemas.microsoft.com/office/drawing/2014/main" id="{BEEA6186-B2B9-4E5E-9631-B6332C7FDB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45845" y="6284068"/>
              <a:ext cx="31387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4 w 12"/>
                <a:gd name="T11" fmla="*/ 11 h 12"/>
                <a:gd name="T12" fmla="*/ 2 w 12"/>
                <a:gd name="T13" fmla="*/ 10 h 12"/>
                <a:gd name="T14" fmla="*/ 1 w 12"/>
                <a:gd name="T15" fmla="*/ 8 h 12"/>
                <a:gd name="T16" fmla="*/ 0 w 12"/>
                <a:gd name="T17" fmla="*/ 6 h 12"/>
                <a:gd name="T18" fmla="*/ 1 w 12"/>
                <a:gd name="T19" fmla="*/ 4 h 12"/>
                <a:gd name="T20" fmla="*/ 2 w 12"/>
                <a:gd name="T21" fmla="*/ 2 h 12"/>
                <a:gd name="T22" fmla="*/ 4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4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1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1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4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192" name="Freeform 29">
              <a:extLst>
                <a:ext uri="{FF2B5EF4-FFF2-40B4-BE49-F238E27FC236}">
                  <a16:creationId xmlns:a16="http://schemas.microsoft.com/office/drawing/2014/main" id="{E9B00A5D-BE04-4D7D-B4A2-204E2D0E04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0006" y="6181188"/>
              <a:ext cx="97648" cy="130778"/>
            </a:xfrm>
            <a:custGeom>
              <a:avLst/>
              <a:gdLst>
                <a:gd name="T0" fmla="*/ 34 w 56"/>
                <a:gd name="T1" fmla="*/ 11 h 75"/>
                <a:gd name="T2" fmla="*/ 34 w 56"/>
                <a:gd name="T3" fmla="*/ 75 h 75"/>
                <a:gd name="T4" fmla="*/ 22 w 56"/>
                <a:gd name="T5" fmla="*/ 75 h 75"/>
                <a:gd name="T6" fmla="*/ 22 w 56"/>
                <a:gd name="T7" fmla="*/ 11 h 75"/>
                <a:gd name="T8" fmla="*/ 0 w 56"/>
                <a:gd name="T9" fmla="*/ 11 h 75"/>
                <a:gd name="T10" fmla="*/ 0 w 56"/>
                <a:gd name="T11" fmla="*/ 0 h 75"/>
                <a:gd name="T12" fmla="*/ 56 w 56"/>
                <a:gd name="T13" fmla="*/ 0 h 75"/>
                <a:gd name="T14" fmla="*/ 56 w 56"/>
                <a:gd name="T15" fmla="*/ 11 h 75"/>
                <a:gd name="T16" fmla="*/ 34 w 56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6" h="75">
                  <a:moveTo>
                    <a:pt x="34" y="11"/>
                  </a:moveTo>
                  <a:lnTo>
                    <a:pt x="34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6" y="0"/>
                  </a:lnTo>
                  <a:lnTo>
                    <a:pt x="56" y="11"/>
                  </a:lnTo>
                  <a:lnTo>
                    <a:pt x="34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193" name="Freeform 30">
              <a:extLst>
                <a:ext uri="{FF2B5EF4-FFF2-40B4-BE49-F238E27FC236}">
                  <a16:creationId xmlns:a16="http://schemas.microsoft.com/office/drawing/2014/main" id="{72C85502-C007-49A3-A8AB-2BCC8C53945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51603" y="6174213"/>
              <a:ext cx="80211" cy="137753"/>
            </a:xfrm>
            <a:custGeom>
              <a:avLst/>
              <a:gdLst>
                <a:gd name="T0" fmla="*/ 24 w 31"/>
                <a:gd name="T1" fmla="*/ 54 h 54"/>
                <a:gd name="T2" fmla="*/ 24 w 31"/>
                <a:gd name="T3" fmla="*/ 32 h 54"/>
                <a:gd name="T4" fmla="*/ 22 w 31"/>
                <a:gd name="T5" fmla="*/ 24 h 54"/>
                <a:gd name="T6" fmla="*/ 16 w 31"/>
                <a:gd name="T7" fmla="*/ 22 h 54"/>
                <a:gd name="T8" fmla="*/ 13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8 w 31"/>
                <a:gd name="T15" fmla="*/ 31 h 54"/>
                <a:gd name="T16" fmla="*/ 8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8 w 31"/>
                <a:gd name="T23" fmla="*/ 0 h 54"/>
                <a:gd name="T24" fmla="*/ 8 w 31"/>
                <a:gd name="T25" fmla="*/ 19 h 54"/>
                <a:gd name="T26" fmla="*/ 10 w 31"/>
                <a:gd name="T27" fmla="*/ 17 h 54"/>
                <a:gd name="T28" fmla="*/ 12 w 31"/>
                <a:gd name="T29" fmla="*/ 16 h 54"/>
                <a:gd name="T30" fmla="*/ 15 w 31"/>
                <a:gd name="T31" fmla="*/ 15 h 54"/>
                <a:gd name="T32" fmla="*/ 18 w 31"/>
                <a:gd name="T33" fmla="*/ 15 h 54"/>
                <a:gd name="T34" fmla="*/ 24 w 31"/>
                <a:gd name="T35" fmla="*/ 16 h 54"/>
                <a:gd name="T36" fmla="*/ 28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4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4" y="54"/>
                  </a:moveTo>
                  <a:cubicBezTo>
                    <a:pt x="24" y="32"/>
                    <a:pt x="24" y="32"/>
                    <a:pt x="24" y="32"/>
                  </a:cubicBezTo>
                  <a:cubicBezTo>
                    <a:pt x="24" y="28"/>
                    <a:pt x="23" y="26"/>
                    <a:pt x="22" y="24"/>
                  </a:cubicBezTo>
                  <a:cubicBezTo>
                    <a:pt x="21" y="22"/>
                    <a:pt x="19" y="22"/>
                    <a:pt x="16" y="22"/>
                  </a:cubicBezTo>
                  <a:cubicBezTo>
                    <a:pt x="15" y="22"/>
                    <a:pt x="14" y="22"/>
                    <a:pt x="13" y="22"/>
                  </a:cubicBezTo>
                  <a:cubicBezTo>
                    <a:pt x="12" y="22"/>
                    <a:pt x="11" y="23"/>
                    <a:pt x="10" y="24"/>
                  </a:cubicBezTo>
                  <a:cubicBezTo>
                    <a:pt x="9" y="25"/>
                    <a:pt x="9" y="26"/>
                    <a:pt x="8" y="27"/>
                  </a:cubicBezTo>
                  <a:cubicBezTo>
                    <a:pt x="8" y="28"/>
                    <a:pt x="8" y="30"/>
                    <a:pt x="8" y="31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3" y="15"/>
                    <a:pt x="14" y="15"/>
                    <a:pt x="15" y="15"/>
                  </a:cubicBezTo>
                  <a:cubicBezTo>
                    <a:pt x="16" y="15"/>
                    <a:pt x="17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29" y="20"/>
                    <a:pt x="30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4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194" name="Freeform 31">
              <a:extLst>
                <a:ext uri="{FF2B5EF4-FFF2-40B4-BE49-F238E27FC236}">
                  <a16:creationId xmlns:a16="http://schemas.microsoft.com/office/drawing/2014/main" id="{9A42586B-B388-4323-82EB-ED3423EDC5D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50996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1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195" name="Freeform 32">
              <a:extLst>
                <a:ext uri="{FF2B5EF4-FFF2-40B4-BE49-F238E27FC236}">
                  <a16:creationId xmlns:a16="http://schemas.microsoft.com/office/drawing/2014/main" id="{558D2F0C-3796-492F-9EBD-4BB822191F3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02698" y="6174213"/>
              <a:ext cx="80211" cy="139497"/>
            </a:xfrm>
            <a:custGeom>
              <a:avLst/>
              <a:gdLst>
                <a:gd name="T0" fmla="*/ 32 w 32"/>
                <a:gd name="T1" fmla="*/ 35 h 55"/>
                <a:gd name="T2" fmla="*/ 31 w 32"/>
                <a:gd name="T3" fmla="*/ 44 h 55"/>
                <a:gd name="T4" fmla="*/ 28 w 32"/>
                <a:gd name="T5" fmla="*/ 50 h 55"/>
                <a:gd name="T6" fmla="*/ 23 w 32"/>
                <a:gd name="T7" fmla="*/ 53 h 55"/>
                <a:gd name="T8" fmla="*/ 17 w 32"/>
                <a:gd name="T9" fmla="*/ 55 h 55"/>
                <a:gd name="T10" fmla="*/ 12 w 32"/>
                <a:gd name="T11" fmla="*/ 53 h 55"/>
                <a:gd name="T12" fmla="*/ 7 w 32"/>
                <a:gd name="T13" fmla="*/ 50 h 55"/>
                <a:gd name="T14" fmla="*/ 7 w 32"/>
                <a:gd name="T15" fmla="*/ 54 h 55"/>
                <a:gd name="T16" fmla="*/ 0 w 32"/>
                <a:gd name="T17" fmla="*/ 54 h 55"/>
                <a:gd name="T18" fmla="*/ 0 w 32"/>
                <a:gd name="T19" fmla="*/ 4 h 55"/>
                <a:gd name="T20" fmla="*/ 7 w 32"/>
                <a:gd name="T21" fmla="*/ 0 h 55"/>
                <a:gd name="T22" fmla="*/ 7 w 32"/>
                <a:gd name="T23" fmla="*/ 19 h 55"/>
                <a:gd name="T24" fmla="*/ 10 w 32"/>
                <a:gd name="T25" fmla="*/ 17 h 55"/>
                <a:gd name="T26" fmla="*/ 12 w 32"/>
                <a:gd name="T27" fmla="*/ 16 h 55"/>
                <a:gd name="T28" fmla="*/ 14 w 32"/>
                <a:gd name="T29" fmla="*/ 15 h 55"/>
                <a:gd name="T30" fmla="*/ 17 w 32"/>
                <a:gd name="T31" fmla="*/ 15 h 55"/>
                <a:gd name="T32" fmla="*/ 23 w 32"/>
                <a:gd name="T33" fmla="*/ 16 h 55"/>
                <a:gd name="T34" fmla="*/ 28 w 32"/>
                <a:gd name="T35" fmla="*/ 19 h 55"/>
                <a:gd name="T36" fmla="*/ 31 w 32"/>
                <a:gd name="T37" fmla="*/ 26 h 55"/>
                <a:gd name="T38" fmla="*/ 32 w 32"/>
                <a:gd name="T39" fmla="*/ 35 h 55"/>
                <a:gd name="T40" fmla="*/ 25 w 32"/>
                <a:gd name="T41" fmla="*/ 35 h 55"/>
                <a:gd name="T42" fmla="*/ 23 w 32"/>
                <a:gd name="T43" fmla="*/ 25 h 55"/>
                <a:gd name="T44" fmla="*/ 16 w 32"/>
                <a:gd name="T45" fmla="*/ 22 h 55"/>
                <a:gd name="T46" fmla="*/ 14 w 32"/>
                <a:gd name="T47" fmla="*/ 22 h 55"/>
                <a:gd name="T48" fmla="*/ 11 w 32"/>
                <a:gd name="T49" fmla="*/ 23 h 55"/>
                <a:gd name="T50" fmla="*/ 9 w 32"/>
                <a:gd name="T51" fmla="*/ 25 h 55"/>
                <a:gd name="T52" fmla="*/ 7 w 32"/>
                <a:gd name="T53" fmla="*/ 26 h 55"/>
                <a:gd name="T54" fmla="*/ 7 w 32"/>
                <a:gd name="T55" fmla="*/ 43 h 55"/>
                <a:gd name="T56" fmla="*/ 9 w 32"/>
                <a:gd name="T57" fmla="*/ 44 h 55"/>
                <a:gd name="T58" fmla="*/ 11 w 32"/>
                <a:gd name="T59" fmla="*/ 46 h 55"/>
                <a:gd name="T60" fmla="*/ 14 w 32"/>
                <a:gd name="T61" fmla="*/ 47 h 55"/>
                <a:gd name="T62" fmla="*/ 16 w 32"/>
                <a:gd name="T63" fmla="*/ 48 h 55"/>
                <a:gd name="T64" fmla="*/ 23 w 32"/>
                <a:gd name="T65" fmla="*/ 45 h 55"/>
                <a:gd name="T66" fmla="*/ 25 w 32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2" h="55">
                  <a:moveTo>
                    <a:pt x="32" y="35"/>
                  </a:moveTo>
                  <a:cubicBezTo>
                    <a:pt x="32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6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5" y="55"/>
                    <a:pt x="13" y="54"/>
                    <a:pt x="12" y="53"/>
                  </a:cubicBezTo>
                  <a:cubicBezTo>
                    <a:pt x="10" y="52"/>
                    <a:pt x="9" y="51"/>
                    <a:pt x="7" y="50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6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20" y="15"/>
                    <a:pt x="21" y="15"/>
                    <a:pt x="23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29" y="21"/>
                    <a:pt x="30" y="23"/>
                    <a:pt x="31" y="26"/>
                  </a:cubicBezTo>
                  <a:cubicBezTo>
                    <a:pt x="32" y="28"/>
                    <a:pt x="32" y="32"/>
                    <a:pt x="32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4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0" y="23"/>
                    <a:pt x="10" y="24"/>
                    <a:pt x="9" y="25"/>
                  </a:cubicBezTo>
                  <a:cubicBezTo>
                    <a:pt x="8" y="25"/>
                    <a:pt x="8" y="26"/>
                    <a:pt x="7" y="26"/>
                  </a:cubicBezTo>
                  <a:cubicBezTo>
                    <a:pt x="7" y="43"/>
                    <a:pt x="7" y="43"/>
                    <a:pt x="7" y="43"/>
                  </a:cubicBezTo>
                  <a:cubicBezTo>
                    <a:pt x="8" y="43"/>
                    <a:pt x="8" y="44"/>
                    <a:pt x="9" y="44"/>
                  </a:cubicBezTo>
                  <a:cubicBezTo>
                    <a:pt x="10" y="45"/>
                    <a:pt x="10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5" y="48"/>
                    <a:pt x="16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196" name="Freeform 33">
              <a:extLst>
                <a:ext uri="{FF2B5EF4-FFF2-40B4-BE49-F238E27FC236}">
                  <a16:creationId xmlns:a16="http://schemas.microsoft.com/office/drawing/2014/main" id="{DE4E3633-17EF-414F-A86D-0B6A9F2F098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9860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8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8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3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7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197" name="Freeform 34">
              <a:extLst>
                <a:ext uri="{FF2B5EF4-FFF2-40B4-BE49-F238E27FC236}">
                  <a16:creationId xmlns:a16="http://schemas.microsoft.com/office/drawing/2014/main" id="{2572AE39-9386-47FC-B6AF-FBCF804BEB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625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3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198" name="Freeform 35">
              <a:extLst>
                <a:ext uri="{FF2B5EF4-FFF2-40B4-BE49-F238E27FC236}">
                  <a16:creationId xmlns:a16="http://schemas.microsoft.com/office/drawing/2014/main" id="{7096AEC6-B8C0-4212-842F-89677AE7D80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64256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7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6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7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199" name="Freeform 36">
              <a:extLst>
                <a:ext uri="{FF2B5EF4-FFF2-40B4-BE49-F238E27FC236}">
                  <a16:creationId xmlns:a16="http://schemas.microsoft.com/office/drawing/2014/main" id="{406AD873-E434-40CF-BFBD-6D1D1CA7CB8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2340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00" name="Freeform 37">
              <a:extLst>
                <a:ext uri="{FF2B5EF4-FFF2-40B4-BE49-F238E27FC236}">
                  <a16:creationId xmlns:a16="http://schemas.microsoft.com/office/drawing/2014/main" id="{74857EE2-44CC-4E8F-B1BB-355509B3EFE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36884" y="6212575"/>
              <a:ext cx="59286" cy="99391"/>
            </a:xfrm>
            <a:custGeom>
              <a:avLst/>
              <a:gdLst>
                <a:gd name="T0" fmla="*/ 21 w 23"/>
                <a:gd name="T1" fmla="*/ 8 h 39"/>
                <a:gd name="T2" fmla="*/ 19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9" y="7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01" name="Freeform 38">
              <a:extLst>
                <a:ext uri="{FF2B5EF4-FFF2-40B4-BE49-F238E27FC236}">
                  <a16:creationId xmlns:a16="http://schemas.microsoft.com/office/drawing/2014/main" id="{D39EC8B1-952E-4BF5-9735-6A38584161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51969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02" name="Freeform 39">
              <a:extLst>
                <a:ext uri="{FF2B5EF4-FFF2-40B4-BE49-F238E27FC236}">
                  <a16:creationId xmlns:a16="http://schemas.microsoft.com/office/drawing/2014/main" id="{EA37D3DF-3401-44BD-97F4-F423BFC87A1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30436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03" name="Freeform 40">
              <a:extLst>
                <a:ext uri="{FF2B5EF4-FFF2-40B4-BE49-F238E27FC236}">
                  <a16:creationId xmlns:a16="http://schemas.microsoft.com/office/drawing/2014/main" id="{7DFA4B46-95EA-4D4D-800F-4D2DB7BB66E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62808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04" name="Freeform 41">
              <a:extLst>
                <a:ext uri="{FF2B5EF4-FFF2-40B4-BE49-F238E27FC236}">
                  <a16:creationId xmlns:a16="http://schemas.microsoft.com/office/drawing/2014/main" id="{EF5012BA-3255-4BEF-8F4F-9117A6BEF32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772813" y="6212575"/>
              <a:ext cx="81955" cy="101135"/>
            </a:xfrm>
            <a:custGeom>
              <a:avLst/>
              <a:gdLst>
                <a:gd name="T0" fmla="*/ 24 w 32"/>
                <a:gd name="T1" fmla="*/ 39 h 40"/>
                <a:gd name="T2" fmla="*/ 24 w 32"/>
                <a:gd name="T3" fmla="*/ 35 h 40"/>
                <a:gd name="T4" fmla="*/ 22 w 32"/>
                <a:gd name="T5" fmla="*/ 37 h 40"/>
                <a:gd name="T6" fmla="*/ 20 w 32"/>
                <a:gd name="T7" fmla="*/ 38 h 40"/>
                <a:gd name="T8" fmla="*/ 17 w 32"/>
                <a:gd name="T9" fmla="*/ 39 h 40"/>
                <a:gd name="T10" fmla="*/ 14 w 32"/>
                <a:gd name="T11" fmla="*/ 40 h 40"/>
                <a:gd name="T12" fmla="*/ 9 w 32"/>
                <a:gd name="T13" fmla="*/ 39 h 40"/>
                <a:gd name="T14" fmla="*/ 5 w 32"/>
                <a:gd name="T15" fmla="*/ 37 h 40"/>
                <a:gd name="T16" fmla="*/ 2 w 32"/>
                <a:gd name="T17" fmla="*/ 33 h 40"/>
                <a:gd name="T18" fmla="*/ 0 w 32"/>
                <a:gd name="T19" fmla="*/ 27 h 40"/>
                <a:gd name="T20" fmla="*/ 2 w 32"/>
                <a:gd name="T21" fmla="*/ 21 h 40"/>
                <a:gd name="T22" fmla="*/ 5 w 32"/>
                <a:gd name="T23" fmla="*/ 17 h 40"/>
                <a:gd name="T24" fmla="*/ 10 w 32"/>
                <a:gd name="T25" fmla="*/ 15 h 40"/>
                <a:gd name="T26" fmla="*/ 16 w 32"/>
                <a:gd name="T27" fmla="*/ 14 h 40"/>
                <a:gd name="T28" fmla="*/ 21 w 32"/>
                <a:gd name="T29" fmla="*/ 15 h 40"/>
                <a:gd name="T30" fmla="*/ 24 w 32"/>
                <a:gd name="T31" fmla="*/ 16 h 40"/>
                <a:gd name="T32" fmla="*/ 24 w 32"/>
                <a:gd name="T33" fmla="*/ 13 h 40"/>
                <a:gd name="T34" fmla="*/ 22 w 32"/>
                <a:gd name="T35" fmla="*/ 8 h 40"/>
                <a:gd name="T36" fmla="*/ 17 w 32"/>
                <a:gd name="T37" fmla="*/ 6 h 40"/>
                <a:gd name="T38" fmla="*/ 12 w 32"/>
                <a:gd name="T39" fmla="*/ 7 h 40"/>
                <a:gd name="T40" fmla="*/ 7 w 32"/>
                <a:gd name="T41" fmla="*/ 9 h 40"/>
                <a:gd name="T42" fmla="*/ 4 w 32"/>
                <a:gd name="T43" fmla="*/ 3 h 40"/>
                <a:gd name="T44" fmla="*/ 10 w 32"/>
                <a:gd name="T45" fmla="*/ 0 h 40"/>
                <a:gd name="T46" fmla="*/ 17 w 32"/>
                <a:gd name="T47" fmla="*/ 0 h 40"/>
                <a:gd name="T48" fmla="*/ 23 w 32"/>
                <a:gd name="T49" fmla="*/ 0 h 40"/>
                <a:gd name="T50" fmla="*/ 28 w 32"/>
                <a:gd name="T51" fmla="*/ 3 h 40"/>
                <a:gd name="T52" fmla="*/ 31 w 32"/>
                <a:gd name="T53" fmla="*/ 7 h 40"/>
                <a:gd name="T54" fmla="*/ 32 w 32"/>
                <a:gd name="T55" fmla="*/ 12 h 40"/>
                <a:gd name="T56" fmla="*/ 32 w 32"/>
                <a:gd name="T57" fmla="*/ 39 h 40"/>
                <a:gd name="T58" fmla="*/ 24 w 32"/>
                <a:gd name="T59" fmla="*/ 39 h 40"/>
                <a:gd name="T60" fmla="*/ 24 w 32"/>
                <a:gd name="T61" fmla="*/ 22 h 40"/>
                <a:gd name="T62" fmla="*/ 22 w 32"/>
                <a:gd name="T63" fmla="*/ 22 h 40"/>
                <a:gd name="T64" fmla="*/ 21 w 32"/>
                <a:gd name="T65" fmla="*/ 21 h 40"/>
                <a:gd name="T66" fmla="*/ 18 w 32"/>
                <a:gd name="T67" fmla="*/ 21 h 40"/>
                <a:gd name="T68" fmla="*/ 16 w 32"/>
                <a:gd name="T69" fmla="*/ 21 h 40"/>
                <a:gd name="T70" fmla="*/ 10 w 32"/>
                <a:gd name="T71" fmla="*/ 22 h 40"/>
                <a:gd name="T72" fmla="*/ 8 w 32"/>
                <a:gd name="T73" fmla="*/ 26 h 40"/>
                <a:gd name="T74" fmla="*/ 8 w 32"/>
                <a:gd name="T75" fmla="*/ 29 h 40"/>
                <a:gd name="T76" fmla="*/ 10 w 32"/>
                <a:gd name="T77" fmla="*/ 31 h 40"/>
                <a:gd name="T78" fmla="*/ 12 w 32"/>
                <a:gd name="T79" fmla="*/ 32 h 40"/>
                <a:gd name="T80" fmla="*/ 15 w 32"/>
                <a:gd name="T81" fmla="*/ 33 h 40"/>
                <a:gd name="T82" fmla="*/ 18 w 32"/>
                <a:gd name="T83" fmla="*/ 32 h 40"/>
                <a:gd name="T84" fmla="*/ 21 w 32"/>
                <a:gd name="T85" fmla="*/ 31 h 40"/>
                <a:gd name="T86" fmla="*/ 23 w 32"/>
                <a:gd name="T87" fmla="*/ 30 h 40"/>
                <a:gd name="T88" fmla="*/ 24 w 32"/>
                <a:gd name="T89" fmla="*/ 28 h 40"/>
                <a:gd name="T90" fmla="*/ 24 w 32"/>
                <a:gd name="T91" fmla="*/ 2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2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3" y="37"/>
                    <a:pt x="22" y="37"/>
                  </a:cubicBezTo>
                  <a:cubicBezTo>
                    <a:pt x="21" y="37"/>
                    <a:pt x="21" y="38"/>
                    <a:pt x="20" y="38"/>
                  </a:cubicBezTo>
                  <a:cubicBezTo>
                    <a:pt x="19" y="39"/>
                    <a:pt x="18" y="39"/>
                    <a:pt x="17" y="39"/>
                  </a:cubicBezTo>
                  <a:cubicBezTo>
                    <a:pt x="16" y="39"/>
                    <a:pt x="15" y="40"/>
                    <a:pt x="14" y="40"/>
                  </a:cubicBezTo>
                  <a:cubicBezTo>
                    <a:pt x="12" y="40"/>
                    <a:pt x="11" y="39"/>
                    <a:pt x="9" y="39"/>
                  </a:cubicBezTo>
                  <a:cubicBezTo>
                    <a:pt x="7" y="38"/>
                    <a:pt x="6" y="38"/>
                    <a:pt x="5" y="37"/>
                  </a:cubicBezTo>
                  <a:cubicBezTo>
                    <a:pt x="3" y="36"/>
                    <a:pt x="2" y="34"/>
                    <a:pt x="2" y="33"/>
                  </a:cubicBezTo>
                  <a:cubicBezTo>
                    <a:pt x="1" y="31"/>
                    <a:pt x="0" y="29"/>
                    <a:pt x="0" y="27"/>
                  </a:cubicBezTo>
                  <a:cubicBezTo>
                    <a:pt x="0" y="24"/>
                    <a:pt x="1" y="23"/>
                    <a:pt x="2" y="21"/>
                  </a:cubicBezTo>
                  <a:cubicBezTo>
                    <a:pt x="2" y="20"/>
                    <a:pt x="3" y="18"/>
                    <a:pt x="5" y="17"/>
                  </a:cubicBezTo>
                  <a:cubicBezTo>
                    <a:pt x="6" y="16"/>
                    <a:pt x="8" y="15"/>
                    <a:pt x="10" y="15"/>
                  </a:cubicBezTo>
                  <a:cubicBezTo>
                    <a:pt x="12" y="14"/>
                    <a:pt x="14" y="14"/>
                    <a:pt x="16" y="14"/>
                  </a:cubicBezTo>
                  <a:cubicBezTo>
                    <a:pt x="18" y="14"/>
                    <a:pt x="19" y="14"/>
                    <a:pt x="21" y="15"/>
                  </a:cubicBezTo>
                  <a:cubicBezTo>
                    <a:pt x="22" y="15"/>
                    <a:pt x="23" y="15"/>
                    <a:pt x="24" y="16"/>
                  </a:cubicBezTo>
                  <a:cubicBezTo>
                    <a:pt x="24" y="13"/>
                    <a:pt x="24" y="13"/>
                    <a:pt x="24" y="13"/>
                  </a:cubicBezTo>
                  <a:cubicBezTo>
                    <a:pt x="24" y="11"/>
                    <a:pt x="24" y="9"/>
                    <a:pt x="22" y="8"/>
                  </a:cubicBezTo>
                  <a:cubicBezTo>
                    <a:pt x="21" y="7"/>
                    <a:pt x="19" y="6"/>
                    <a:pt x="17" y="6"/>
                  </a:cubicBezTo>
                  <a:cubicBezTo>
                    <a:pt x="15" y="6"/>
                    <a:pt x="13" y="6"/>
                    <a:pt x="12" y="7"/>
                  </a:cubicBezTo>
                  <a:cubicBezTo>
                    <a:pt x="10" y="7"/>
                    <a:pt x="9" y="8"/>
                    <a:pt x="7" y="9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6" y="2"/>
                    <a:pt x="8" y="1"/>
                    <a:pt x="10" y="0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19" y="0"/>
                    <a:pt x="21" y="0"/>
                    <a:pt x="23" y="0"/>
                  </a:cubicBezTo>
                  <a:cubicBezTo>
                    <a:pt x="25" y="1"/>
                    <a:pt x="26" y="2"/>
                    <a:pt x="28" y="3"/>
                  </a:cubicBezTo>
                  <a:cubicBezTo>
                    <a:pt x="29" y="4"/>
                    <a:pt x="30" y="5"/>
                    <a:pt x="31" y="7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2" y="39"/>
                    <a:pt x="32" y="39"/>
                    <a:pt x="32" y="39"/>
                  </a:cubicBezTo>
                  <a:lnTo>
                    <a:pt x="24" y="39"/>
                  </a:lnTo>
                  <a:close/>
                  <a:moveTo>
                    <a:pt x="24" y="22"/>
                  </a:moveTo>
                  <a:cubicBezTo>
                    <a:pt x="24" y="22"/>
                    <a:pt x="23" y="22"/>
                    <a:pt x="22" y="22"/>
                  </a:cubicBezTo>
                  <a:cubicBezTo>
                    <a:pt x="22" y="21"/>
                    <a:pt x="21" y="21"/>
                    <a:pt x="21" y="21"/>
                  </a:cubicBezTo>
                  <a:cubicBezTo>
                    <a:pt x="20" y="21"/>
                    <a:pt x="19" y="21"/>
                    <a:pt x="18" y="21"/>
                  </a:cubicBezTo>
                  <a:cubicBezTo>
                    <a:pt x="17" y="21"/>
                    <a:pt x="17" y="21"/>
                    <a:pt x="16" y="21"/>
                  </a:cubicBezTo>
                  <a:cubicBezTo>
                    <a:pt x="13" y="21"/>
                    <a:pt x="11" y="21"/>
                    <a:pt x="10" y="22"/>
                  </a:cubicBezTo>
                  <a:cubicBezTo>
                    <a:pt x="8" y="23"/>
                    <a:pt x="8" y="25"/>
                    <a:pt x="8" y="26"/>
                  </a:cubicBezTo>
                  <a:cubicBezTo>
                    <a:pt x="8" y="28"/>
                    <a:pt x="8" y="29"/>
                    <a:pt x="8" y="29"/>
                  </a:cubicBezTo>
                  <a:cubicBezTo>
                    <a:pt x="9" y="30"/>
                    <a:pt x="9" y="31"/>
                    <a:pt x="10" y="31"/>
                  </a:cubicBezTo>
                  <a:cubicBezTo>
                    <a:pt x="10" y="32"/>
                    <a:pt x="11" y="32"/>
                    <a:pt x="12" y="32"/>
                  </a:cubicBezTo>
                  <a:cubicBezTo>
                    <a:pt x="13" y="33"/>
                    <a:pt x="14" y="33"/>
                    <a:pt x="15" y="33"/>
                  </a:cubicBezTo>
                  <a:cubicBezTo>
                    <a:pt x="16" y="33"/>
                    <a:pt x="17" y="33"/>
                    <a:pt x="18" y="32"/>
                  </a:cubicBezTo>
                  <a:cubicBezTo>
                    <a:pt x="19" y="32"/>
                    <a:pt x="20" y="32"/>
                    <a:pt x="21" y="31"/>
                  </a:cubicBezTo>
                  <a:cubicBezTo>
                    <a:pt x="21" y="31"/>
                    <a:pt x="22" y="30"/>
                    <a:pt x="23" y="30"/>
                  </a:cubicBezTo>
                  <a:cubicBezTo>
                    <a:pt x="23" y="29"/>
                    <a:pt x="24" y="28"/>
                    <a:pt x="24" y="28"/>
                  </a:cubicBezTo>
                  <a:lnTo>
                    <a:pt x="24" y="2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05" name="Freeform 42">
              <a:extLst>
                <a:ext uri="{FF2B5EF4-FFF2-40B4-BE49-F238E27FC236}">
                  <a16:creationId xmlns:a16="http://schemas.microsoft.com/office/drawing/2014/main" id="{223989A0-E246-4806-AF7E-9D6C2B1DD48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77436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2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10 w 31"/>
                <a:gd name="T11" fmla="*/ 9 h 39"/>
                <a:gd name="T12" fmla="*/ 8 w 31"/>
                <a:gd name="T13" fmla="*/ 12 h 39"/>
                <a:gd name="T14" fmla="*/ 8 w 31"/>
                <a:gd name="T15" fmla="*/ 16 h 39"/>
                <a:gd name="T16" fmla="*/ 8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8 w 31"/>
                <a:gd name="T23" fmla="*/ 0 h 39"/>
                <a:gd name="T24" fmla="*/ 8 w 31"/>
                <a:gd name="T25" fmla="*/ 4 h 39"/>
                <a:gd name="T26" fmla="*/ 9 w 31"/>
                <a:gd name="T27" fmla="*/ 2 h 39"/>
                <a:gd name="T28" fmla="*/ 12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8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2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10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8" y="15"/>
                    <a:pt x="8" y="16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2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20" y="0"/>
                    <a:pt x="22" y="0"/>
                    <a:pt x="23" y="1"/>
                  </a:cubicBezTo>
                  <a:cubicBezTo>
                    <a:pt x="25" y="1"/>
                    <a:pt x="26" y="2"/>
                    <a:pt x="28" y="4"/>
                  </a:cubicBezTo>
                  <a:cubicBezTo>
                    <a:pt x="29" y="5"/>
                    <a:pt x="29" y="7"/>
                    <a:pt x="30" y="9"/>
                  </a:cubicBezTo>
                  <a:cubicBezTo>
                    <a:pt x="31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06" name="Freeform 43">
              <a:extLst>
                <a:ext uri="{FF2B5EF4-FFF2-40B4-BE49-F238E27FC236}">
                  <a16:creationId xmlns:a16="http://schemas.microsoft.com/office/drawing/2014/main" id="{5FED967A-F1ED-4489-A689-A9A49A2780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75084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0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3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6 w 29"/>
                <a:gd name="T55" fmla="*/ 24 h 40"/>
                <a:gd name="T56" fmla="*/ 13 w 29"/>
                <a:gd name="T57" fmla="*/ 22 h 40"/>
                <a:gd name="T58" fmla="*/ 7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1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2" y="6"/>
                    <a:pt x="11" y="7"/>
                    <a:pt x="10" y="7"/>
                  </a:cubicBezTo>
                  <a:cubicBezTo>
                    <a:pt x="9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1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8" y="25"/>
                    <a:pt x="18" y="24"/>
                    <a:pt x="16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7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2" y="15"/>
                    <a:pt x="2" y="14"/>
                  </a:cubicBezTo>
                  <a:cubicBezTo>
                    <a:pt x="2" y="13"/>
                    <a:pt x="1" y="12"/>
                    <a:pt x="1" y="10"/>
                  </a:cubicBezTo>
                  <a:cubicBezTo>
                    <a:pt x="1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07" name="Freeform 44">
              <a:extLst>
                <a:ext uri="{FF2B5EF4-FFF2-40B4-BE49-F238E27FC236}">
                  <a16:creationId xmlns:a16="http://schemas.microsoft.com/office/drawing/2014/main" id="{DA362954-FE74-40B7-AB98-CC8AC60FFC8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58782" y="6212575"/>
              <a:ext cx="122060" cy="99391"/>
            </a:xfrm>
            <a:custGeom>
              <a:avLst/>
              <a:gdLst>
                <a:gd name="T0" fmla="*/ 55 w 70"/>
                <a:gd name="T1" fmla="*/ 57 h 57"/>
                <a:gd name="T2" fmla="*/ 45 w 70"/>
                <a:gd name="T3" fmla="*/ 57 h 57"/>
                <a:gd name="T4" fmla="*/ 35 w 70"/>
                <a:gd name="T5" fmla="*/ 17 h 57"/>
                <a:gd name="T6" fmla="*/ 25 w 70"/>
                <a:gd name="T7" fmla="*/ 57 h 57"/>
                <a:gd name="T8" fmla="*/ 14 w 70"/>
                <a:gd name="T9" fmla="*/ 57 h 57"/>
                <a:gd name="T10" fmla="*/ 0 w 70"/>
                <a:gd name="T11" fmla="*/ 0 h 57"/>
                <a:gd name="T12" fmla="*/ 10 w 70"/>
                <a:gd name="T13" fmla="*/ 0 h 57"/>
                <a:gd name="T14" fmla="*/ 20 w 70"/>
                <a:gd name="T15" fmla="*/ 39 h 57"/>
                <a:gd name="T16" fmla="*/ 30 w 70"/>
                <a:gd name="T17" fmla="*/ 0 h 57"/>
                <a:gd name="T18" fmla="*/ 39 w 70"/>
                <a:gd name="T19" fmla="*/ 0 h 57"/>
                <a:gd name="T20" fmla="*/ 49 w 70"/>
                <a:gd name="T21" fmla="*/ 39 h 57"/>
                <a:gd name="T22" fmla="*/ 60 w 70"/>
                <a:gd name="T23" fmla="*/ 0 h 57"/>
                <a:gd name="T24" fmla="*/ 70 w 70"/>
                <a:gd name="T25" fmla="*/ 0 h 57"/>
                <a:gd name="T26" fmla="*/ 55 w 70"/>
                <a:gd name="T27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7">
                  <a:moveTo>
                    <a:pt x="55" y="57"/>
                  </a:moveTo>
                  <a:lnTo>
                    <a:pt x="45" y="57"/>
                  </a:lnTo>
                  <a:lnTo>
                    <a:pt x="35" y="17"/>
                  </a:lnTo>
                  <a:lnTo>
                    <a:pt x="25" y="57"/>
                  </a:lnTo>
                  <a:lnTo>
                    <a:pt x="14" y="57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0" y="39"/>
                  </a:lnTo>
                  <a:lnTo>
                    <a:pt x="30" y="0"/>
                  </a:lnTo>
                  <a:lnTo>
                    <a:pt x="39" y="0"/>
                  </a:lnTo>
                  <a:lnTo>
                    <a:pt x="49" y="39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08" name="Freeform 45">
              <a:extLst>
                <a:ext uri="{FF2B5EF4-FFF2-40B4-BE49-F238E27FC236}">
                  <a16:creationId xmlns:a16="http://schemas.microsoft.com/office/drawing/2014/main" id="{C1C7EF3F-CB28-4C69-901C-8F9F09C5B59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1913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09" name="Freeform 46">
              <a:extLst>
                <a:ext uri="{FF2B5EF4-FFF2-40B4-BE49-F238E27FC236}">
                  <a16:creationId xmlns:a16="http://schemas.microsoft.com/office/drawing/2014/main" id="{80D5AA14-D31C-42E8-B89F-2FCABF20400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95927" y="6212575"/>
              <a:ext cx="57543" cy="99391"/>
            </a:xfrm>
            <a:custGeom>
              <a:avLst/>
              <a:gdLst>
                <a:gd name="T0" fmla="*/ 21 w 23"/>
                <a:gd name="T1" fmla="*/ 8 h 39"/>
                <a:gd name="T2" fmla="*/ 18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6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0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10" name="Freeform 47">
              <a:extLst>
                <a:ext uri="{FF2B5EF4-FFF2-40B4-BE49-F238E27FC236}">
                  <a16:creationId xmlns:a16="http://schemas.microsoft.com/office/drawing/2014/main" id="{3894EB82-A456-47F8-BB06-FE894AF4B86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6494" y="6284068"/>
              <a:ext cx="29644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3 w 12"/>
                <a:gd name="T11" fmla="*/ 11 h 12"/>
                <a:gd name="T12" fmla="*/ 2 w 12"/>
                <a:gd name="T13" fmla="*/ 10 h 12"/>
                <a:gd name="T14" fmla="*/ 0 w 12"/>
                <a:gd name="T15" fmla="*/ 8 h 12"/>
                <a:gd name="T16" fmla="*/ 0 w 12"/>
                <a:gd name="T17" fmla="*/ 6 h 12"/>
                <a:gd name="T18" fmla="*/ 0 w 12"/>
                <a:gd name="T19" fmla="*/ 4 h 12"/>
                <a:gd name="T20" fmla="*/ 2 w 12"/>
                <a:gd name="T21" fmla="*/ 2 h 12"/>
                <a:gd name="T22" fmla="*/ 3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3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0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3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11" name="Freeform 48">
              <a:extLst>
                <a:ext uri="{FF2B5EF4-FFF2-40B4-BE49-F238E27FC236}">
                  <a16:creationId xmlns:a16="http://schemas.microsoft.com/office/drawing/2014/main" id="{A88F5C3F-FAE1-4A50-86D3-E9A1CAA89A9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388691"/>
              <a:ext cx="94161" cy="130778"/>
            </a:xfrm>
            <a:custGeom>
              <a:avLst/>
              <a:gdLst>
                <a:gd name="T0" fmla="*/ 32 w 54"/>
                <a:gd name="T1" fmla="*/ 12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2 h 75"/>
                <a:gd name="T8" fmla="*/ 0 w 54"/>
                <a:gd name="T9" fmla="*/ 12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2 h 75"/>
                <a:gd name="T16" fmla="*/ 32 w 54"/>
                <a:gd name="T17" fmla="*/ 12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2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2"/>
                  </a:lnTo>
                  <a:lnTo>
                    <a:pt x="0" y="12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2"/>
                  </a:lnTo>
                  <a:lnTo>
                    <a:pt x="32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12" name="Freeform 49">
              <a:extLst>
                <a:ext uri="{FF2B5EF4-FFF2-40B4-BE49-F238E27FC236}">
                  <a16:creationId xmlns:a16="http://schemas.microsoft.com/office/drawing/2014/main" id="{1EFCBDA7-FA42-4391-9872-95EB6DDEA68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383459"/>
              <a:ext cx="78468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9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1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7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7"/>
                    <a:pt x="9" y="17"/>
                  </a:cubicBezTo>
                  <a:cubicBezTo>
                    <a:pt x="10" y="16"/>
                    <a:pt x="10" y="16"/>
                    <a:pt x="11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13" name="Freeform 50">
              <a:extLst>
                <a:ext uri="{FF2B5EF4-FFF2-40B4-BE49-F238E27FC236}">
                  <a16:creationId xmlns:a16="http://schemas.microsoft.com/office/drawing/2014/main" id="{721D8C30-DB23-4A0B-8A74-BC467086477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418333"/>
              <a:ext cx="85443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7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3 w 33"/>
                <a:gd name="T73" fmla="*/ 8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9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2" y="32"/>
                    <a:pt x="23" y="32"/>
                    <a:pt x="23" y="32"/>
                  </a:cubicBezTo>
                  <a:cubicBezTo>
                    <a:pt x="24" y="31"/>
                    <a:pt x="25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1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5" y="13"/>
                  </a:cubicBezTo>
                  <a:cubicBezTo>
                    <a:pt x="24" y="12"/>
                    <a:pt x="24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14" name="Freeform 51">
              <a:extLst>
                <a:ext uri="{FF2B5EF4-FFF2-40B4-BE49-F238E27FC236}">
                  <a16:creationId xmlns:a16="http://schemas.microsoft.com/office/drawing/2014/main" id="{01AD00CA-8BC7-4B62-AC64-03851855A7A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383459"/>
              <a:ext cx="83698" cy="137753"/>
            </a:xfrm>
            <a:custGeom>
              <a:avLst/>
              <a:gdLst>
                <a:gd name="T0" fmla="*/ 33 w 33"/>
                <a:gd name="T1" fmla="*/ 35 h 54"/>
                <a:gd name="T2" fmla="*/ 31 w 33"/>
                <a:gd name="T3" fmla="*/ 43 h 54"/>
                <a:gd name="T4" fmla="*/ 28 w 33"/>
                <a:gd name="T5" fmla="*/ 49 h 54"/>
                <a:gd name="T6" fmla="*/ 23 w 33"/>
                <a:gd name="T7" fmla="*/ 53 h 54"/>
                <a:gd name="T8" fmla="*/ 17 w 33"/>
                <a:gd name="T9" fmla="*/ 54 h 54"/>
                <a:gd name="T10" fmla="*/ 12 w 33"/>
                <a:gd name="T11" fmla="*/ 53 h 54"/>
                <a:gd name="T12" fmla="*/ 8 w 33"/>
                <a:gd name="T13" fmla="*/ 50 h 54"/>
                <a:gd name="T14" fmla="*/ 8 w 33"/>
                <a:gd name="T15" fmla="*/ 53 h 54"/>
                <a:gd name="T16" fmla="*/ 0 w 33"/>
                <a:gd name="T17" fmla="*/ 53 h 54"/>
                <a:gd name="T18" fmla="*/ 0 w 33"/>
                <a:gd name="T19" fmla="*/ 4 h 54"/>
                <a:gd name="T20" fmla="*/ 8 w 33"/>
                <a:gd name="T21" fmla="*/ 0 h 54"/>
                <a:gd name="T22" fmla="*/ 8 w 33"/>
                <a:gd name="T23" fmla="*/ 19 h 54"/>
                <a:gd name="T24" fmla="*/ 10 w 33"/>
                <a:gd name="T25" fmla="*/ 17 h 54"/>
                <a:gd name="T26" fmla="*/ 12 w 33"/>
                <a:gd name="T27" fmla="*/ 16 h 54"/>
                <a:gd name="T28" fmla="*/ 14 w 33"/>
                <a:gd name="T29" fmla="*/ 14 h 54"/>
                <a:gd name="T30" fmla="*/ 18 w 33"/>
                <a:gd name="T31" fmla="*/ 14 h 54"/>
                <a:gd name="T32" fmla="*/ 24 w 33"/>
                <a:gd name="T33" fmla="*/ 15 h 54"/>
                <a:gd name="T34" fmla="*/ 28 w 33"/>
                <a:gd name="T35" fmla="*/ 19 h 54"/>
                <a:gd name="T36" fmla="*/ 31 w 33"/>
                <a:gd name="T37" fmla="*/ 25 h 54"/>
                <a:gd name="T38" fmla="*/ 33 w 33"/>
                <a:gd name="T39" fmla="*/ 35 h 54"/>
                <a:gd name="T40" fmla="*/ 25 w 33"/>
                <a:gd name="T41" fmla="*/ 35 h 54"/>
                <a:gd name="T42" fmla="*/ 23 w 33"/>
                <a:gd name="T43" fmla="*/ 24 h 54"/>
                <a:gd name="T44" fmla="*/ 16 w 33"/>
                <a:gd name="T45" fmla="*/ 21 h 54"/>
                <a:gd name="T46" fmla="*/ 14 w 33"/>
                <a:gd name="T47" fmla="*/ 21 h 54"/>
                <a:gd name="T48" fmla="*/ 11 w 33"/>
                <a:gd name="T49" fmla="*/ 23 h 54"/>
                <a:gd name="T50" fmla="*/ 9 w 33"/>
                <a:gd name="T51" fmla="*/ 24 h 54"/>
                <a:gd name="T52" fmla="*/ 8 w 33"/>
                <a:gd name="T53" fmla="*/ 26 h 54"/>
                <a:gd name="T54" fmla="*/ 8 w 33"/>
                <a:gd name="T55" fmla="*/ 42 h 54"/>
                <a:gd name="T56" fmla="*/ 9 w 33"/>
                <a:gd name="T57" fmla="*/ 44 h 54"/>
                <a:gd name="T58" fmla="*/ 11 w 33"/>
                <a:gd name="T59" fmla="*/ 45 h 54"/>
                <a:gd name="T60" fmla="*/ 14 w 33"/>
                <a:gd name="T61" fmla="*/ 47 h 54"/>
                <a:gd name="T62" fmla="*/ 17 w 33"/>
                <a:gd name="T63" fmla="*/ 47 h 54"/>
                <a:gd name="T64" fmla="*/ 23 w 33"/>
                <a:gd name="T65" fmla="*/ 44 h 54"/>
                <a:gd name="T66" fmla="*/ 25 w 33"/>
                <a:gd name="T67" fmla="*/ 35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4">
                  <a:moveTo>
                    <a:pt x="33" y="35"/>
                  </a:moveTo>
                  <a:cubicBezTo>
                    <a:pt x="33" y="38"/>
                    <a:pt x="32" y="41"/>
                    <a:pt x="31" y="43"/>
                  </a:cubicBezTo>
                  <a:cubicBezTo>
                    <a:pt x="30" y="46"/>
                    <a:pt x="29" y="48"/>
                    <a:pt x="28" y="49"/>
                  </a:cubicBezTo>
                  <a:cubicBezTo>
                    <a:pt x="27" y="51"/>
                    <a:pt x="25" y="52"/>
                    <a:pt x="23" y="53"/>
                  </a:cubicBezTo>
                  <a:cubicBezTo>
                    <a:pt x="21" y="54"/>
                    <a:pt x="19" y="54"/>
                    <a:pt x="17" y="54"/>
                  </a:cubicBezTo>
                  <a:cubicBezTo>
                    <a:pt x="16" y="54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7"/>
                    <a:pt x="10" y="17"/>
                  </a:cubicBezTo>
                  <a:cubicBezTo>
                    <a:pt x="11" y="16"/>
                    <a:pt x="11" y="16"/>
                    <a:pt x="12" y="16"/>
                  </a:cubicBezTo>
                  <a:cubicBezTo>
                    <a:pt x="13" y="15"/>
                    <a:pt x="13" y="15"/>
                    <a:pt x="14" y="14"/>
                  </a:cubicBezTo>
                  <a:cubicBezTo>
                    <a:pt x="15" y="14"/>
                    <a:pt x="16" y="14"/>
                    <a:pt x="18" y="14"/>
                  </a:cubicBezTo>
                  <a:cubicBezTo>
                    <a:pt x="20" y="14"/>
                    <a:pt x="22" y="14"/>
                    <a:pt x="24" y="15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30" y="21"/>
                    <a:pt x="31" y="23"/>
                    <a:pt x="31" y="25"/>
                  </a:cubicBezTo>
                  <a:cubicBezTo>
                    <a:pt x="32" y="28"/>
                    <a:pt x="33" y="31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0"/>
                    <a:pt x="24" y="27"/>
                    <a:pt x="23" y="24"/>
                  </a:cubicBezTo>
                  <a:cubicBezTo>
                    <a:pt x="21" y="22"/>
                    <a:pt x="19" y="21"/>
                    <a:pt x="16" y="21"/>
                  </a:cubicBezTo>
                  <a:cubicBezTo>
                    <a:pt x="15" y="21"/>
                    <a:pt x="15" y="21"/>
                    <a:pt x="14" y="21"/>
                  </a:cubicBezTo>
                  <a:cubicBezTo>
                    <a:pt x="13" y="22"/>
                    <a:pt x="12" y="22"/>
                    <a:pt x="11" y="23"/>
                  </a:cubicBezTo>
                  <a:cubicBezTo>
                    <a:pt x="11" y="23"/>
                    <a:pt x="10" y="24"/>
                    <a:pt x="9" y="24"/>
                  </a:cubicBezTo>
                  <a:cubicBezTo>
                    <a:pt x="9" y="25"/>
                    <a:pt x="8" y="25"/>
                    <a:pt x="8" y="26"/>
                  </a:cubicBezTo>
                  <a:cubicBezTo>
                    <a:pt x="8" y="42"/>
                    <a:pt x="8" y="42"/>
                    <a:pt x="8" y="42"/>
                  </a:cubicBezTo>
                  <a:cubicBezTo>
                    <a:pt x="8" y="43"/>
                    <a:pt x="9" y="43"/>
                    <a:pt x="9" y="44"/>
                  </a:cubicBezTo>
                  <a:cubicBezTo>
                    <a:pt x="10" y="44"/>
                    <a:pt x="11" y="45"/>
                    <a:pt x="11" y="45"/>
                  </a:cubicBezTo>
                  <a:cubicBezTo>
                    <a:pt x="12" y="46"/>
                    <a:pt x="13" y="46"/>
                    <a:pt x="14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9" y="47"/>
                    <a:pt x="21" y="46"/>
                    <a:pt x="23" y="44"/>
                  </a:cubicBezTo>
                  <a:cubicBezTo>
                    <a:pt x="24" y="42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15" name="Freeform 52">
              <a:extLst>
                <a:ext uri="{FF2B5EF4-FFF2-40B4-BE49-F238E27FC236}">
                  <a16:creationId xmlns:a16="http://schemas.microsoft.com/office/drawing/2014/main" id="{BC957590-E3D7-48BF-A1DF-73DCD767385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1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4" y="31"/>
                    <a:pt x="24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16" name="Freeform 53">
              <a:extLst>
                <a:ext uri="{FF2B5EF4-FFF2-40B4-BE49-F238E27FC236}">
                  <a16:creationId xmlns:a16="http://schemas.microsoft.com/office/drawing/2014/main" id="{9BC2125B-AF0E-4411-AFA7-3F79B873BFB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1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2" y="54"/>
                    <a:pt x="11" y="54"/>
                  </a:cubicBezTo>
                  <a:cubicBezTo>
                    <a:pt x="10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2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17" name="Freeform 54">
              <a:extLst>
                <a:ext uri="{FF2B5EF4-FFF2-40B4-BE49-F238E27FC236}">
                  <a16:creationId xmlns:a16="http://schemas.microsoft.com/office/drawing/2014/main" id="{1E5BE33C-9675-423A-802C-0A789DB1851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18" name="Freeform 55">
              <a:extLst>
                <a:ext uri="{FF2B5EF4-FFF2-40B4-BE49-F238E27FC236}">
                  <a16:creationId xmlns:a16="http://schemas.microsoft.com/office/drawing/2014/main" id="{FB04A8AC-9DA2-4FB3-985A-DD8E6439135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0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2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0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3" y="31"/>
                    <a:pt x="24" y="31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0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7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19" name="Freeform 56">
              <a:extLst>
                <a:ext uri="{FF2B5EF4-FFF2-40B4-BE49-F238E27FC236}">
                  <a16:creationId xmlns:a16="http://schemas.microsoft.com/office/drawing/2014/main" id="{F365BB87-C861-4F40-A844-477BAA1EAA5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418333"/>
              <a:ext cx="55799" cy="101135"/>
            </a:xfrm>
            <a:custGeom>
              <a:avLst/>
              <a:gdLst>
                <a:gd name="T0" fmla="*/ 20 w 22"/>
                <a:gd name="T1" fmla="*/ 9 h 39"/>
                <a:gd name="T2" fmla="*/ 18 w 22"/>
                <a:gd name="T3" fmla="*/ 8 h 39"/>
                <a:gd name="T4" fmla="*/ 15 w 22"/>
                <a:gd name="T5" fmla="*/ 7 h 39"/>
                <a:gd name="T6" fmla="*/ 9 w 22"/>
                <a:gd name="T7" fmla="*/ 10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1 h 39"/>
                <a:gd name="T16" fmla="*/ 7 w 22"/>
                <a:gd name="T17" fmla="*/ 1 h 39"/>
                <a:gd name="T18" fmla="*/ 7 w 22"/>
                <a:gd name="T19" fmla="*/ 5 h 39"/>
                <a:gd name="T20" fmla="*/ 9 w 22"/>
                <a:gd name="T21" fmla="*/ 3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1 h 39"/>
                <a:gd name="T30" fmla="*/ 22 w 22"/>
                <a:gd name="T31" fmla="*/ 2 h 39"/>
                <a:gd name="T32" fmla="*/ 20 w 22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7" y="8"/>
                    <a:pt x="16" y="7"/>
                    <a:pt x="15" y="7"/>
                  </a:cubicBezTo>
                  <a:cubicBezTo>
                    <a:pt x="12" y="7"/>
                    <a:pt x="10" y="8"/>
                    <a:pt x="9" y="10"/>
                  </a:cubicBezTo>
                  <a:cubicBezTo>
                    <a:pt x="8" y="12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8" y="4"/>
                    <a:pt x="8" y="3"/>
                    <a:pt x="9" y="3"/>
                  </a:cubicBezTo>
                  <a:cubicBezTo>
                    <a:pt x="9" y="2"/>
                    <a:pt x="10" y="2"/>
                    <a:pt x="11" y="1"/>
                  </a:cubicBezTo>
                  <a:cubicBezTo>
                    <a:pt x="11" y="1"/>
                    <a:pt x="12" y="1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1"/>
                  </a:cubicBezTo>
                  <a:cubicBezTo>
                    <a:pt x="21" y="1"/>
                    <a:pt x="22" y="1"/>
                    <a:pt x="22" y="2"/>
                  </a:cubicBezTo>
                  <a:lnTo>
                    <a:pt x="20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20" name="Freeform 57">
              <a:extLst>
                <a:ext uri="{FF2B5EF4-FFF2-40B4-BE49-F238E27FC236}">
                  <a16:creationId xmlns:a16="http://schemas.microsoft.com/office/drawing/2014/main" id="{8B7E2806-AAFA-45B5-B801-55C79A92779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21" name="Freeform 58">
              <a:extLst>
                <a:ext uri="{FF2B5EF4-FFF2-40B4-BE49-F238E27FC236}">
                  <a16:creationId xmlns:a16="http://schemas.microsoft.com/office/drawing/2014/main" id="{7A49B80F-B4C0-4F31-9238-8123D3E20D1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383459"/>
              <a:ext cx="80211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10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2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8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7"/>
                    <a:pt x="9" y="17"/>
                  </a:cubicBezTo>
                  <a:cubicBezTo>
                    <a:pt x="10" y="16"/>
                    <a:pt x="11" y="16"/>
                    <a:pt x="12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22" name="Freeform 59">
              <a:extLst>
                <a:ext uri="{FF2B5EF4-FFF2-40B4-BE49-F238E27FC236}">
                  <a16:creationId xmlns:a16="http://schemas.microsoft.com/office/drawing/2014/main" id="{9C60C45F-865F-4118-A4B0-174C696B472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8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2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6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1 w 33"/>
                <a:gd name="T69" fmla="*/ 8 h 40"/>
                <a:gd name="T70" fmla="*/ 17 w 33"/>
                <a:gd name="T71" fmla="*/ 7 h 40"/>
                <a:gd name="T72" fmla="*/ 13 w 33"/>
                <a:gd name="T73" fmla="*/ 8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6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10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3" y="32"/>
                    <a:pt x="23" y="32"/>
                    <a:pt x="24" y="32"/>
                  </a:cubicBezTo>
                  <a:cubicBezTo>
                    <a:pt x="24" y="31"/>
                    <a:pt x="25" y="31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7" y="38"/>
                    <a:pt x="26" y="38"/>
                    <a:pt x="25" y="39"/>
                  </a:cubicBezTo>
                  <a:cubicBezTo>
                    <a:pt x="24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4" y="40"/>
                    <a:pt x="12" y="39"/>
                  </a:cubicBezTo>
                  <a:cubicBezTo>
                    <a:pt x="11" y="39"/>
                    <a:pt x="10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4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5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6" y="17"/>
                  </a:moveTo>
                  <a:cubicBezTo>
                    <a:pt x="26" y="15"/>
                    <a:pt x="25" y="14"/>
                    <a:pt x="25" y="13"/>
                  </a:cubicBezTo>
                  <a:cubicBezTo>
                    <a:pt x="25" y="12"/>
                    <a:pt x="24" y="11"/>
                    <a:pt x="23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20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6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23" name="Freeform 60">
              <a:extLst>
                <a:ext uri="{FF2B5EF4-FFF2-40B4-BE49-F238E27FC236}">
                  <a16:creationId xmlns:a16="http://schemas.microsoft.com/office/drawing/2014/main" id="{15FBF980-B96C-472B-A46B-A731CA164E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7435" y="6421821"/>
              <a:ext cx="122060" cy="97648"/>
            </a:xfrm>
            <a:custGeom>
              <a:avLst/>
              <a:gdLst>
                <a:gd name="T0" fmla="*/ 56 w 70"/>
                <a:gd name="T1" fmla="*/ 56 h 56"/>
                <a:gd name="T2" fmla="*/ 46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5 w 70"/>
                <a:gd name="T9" fmla="*/ 56 h 56"/>
                <a:gd name="T10" fmla="*/ 0 w 70"/>
                <a:gd name="T11" fmla="*/ 0 h 56"/>
                <a:gd name="T12" fmla="*/ 10 w 70"/>
                <a:gd name="T13" fmla="*/ 0 h 56"/>
                <a:gd name="T14" fmla="*/ 21 w 70"/>
                <a:gd name="T15" fmla="*/ 38 h 56"/>
                <a:gd name="T16" fmla="*/ 31 w 70"/>
                <a:gd name="T17" fmla="*/ 0 h 56"/>
                <a:gd name="T18" fmla="*/ 40 w 70"/>
                <a:gd name="T19" fmla="*/ 0 h 56"/>
                <a:gd name="T20" fmla="*/ 50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6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6" y="56"/>
                  </a:moveTo>
                  <a:lnTo>
                    <a:pt x="46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5" y="56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1" y="38"/>
                  </a:lnTo>
                  <a:lnTo>
                    <a:pt x="31" y="0"/>
                  </a:lnTo>
                  <a:lnTo>
                    <a:pt x="40" y="0"/>
                  </a:lnTo>
                  <a:lnTo>
                    <a:pt x="50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6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24" name="Freeform 61">
              <a:extLst>
                <a:ext uri="{FF2B5EF4-FFF2-40B4-BE49-F238E27FC236}">
                  <a16:creationId xmlns:a16="http://schemas.microsoft.com/office/drawing/2014/main" id="{64F1DD18-05EE-4F9F-9E6B-E03C4C500F2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859957" y="6418333"/>
              <a:ext cx="87186" cy="102879"/>
            </a:xfrm>
            <a:custGeom>
              <a:avLst/>
              <a:gdLst>
                <a:gd name="T0" fmla="*/ 34 w 34"/>
                <a:gd name="T1" fmla="*/ 20 h 40"/>
                <a:gd name="T2" fmla="*/ 33 w 34"/>
                <a:gd name="T3" fmla="*/ 28 h 40"/>
                <a:gd name="T4" fmla="*/ 29 w 34"/>
                <a:gd name="T5" fmla="*/ 35 h 40"/>
                <a:gd name="T6" fmla="*/ 24 w 34"/>
                <a:gd name="T7" fmla="*/ 39 h 40"/>
                <a:gd name="T8" fmla="*/ 17 w 34"/>
                <a:gd name="T9" fmla="*/ 40 h 40"/>
                <a:gd name="T10" fmla="*/ 10 w 34"/>
                <a:gd name="T11" fmla="*/ 39 h 40"/>
                <a:gd name="T12" fmla="*/ 5 w 34"/>
                <a:gd name="T13" fmla="*/ 35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2 h 40"/>
                <a:gd name="T20" fmla="*/ 5 w 34"/>
                <a:gd name="T21" fmla="*/ 5 h 40"/>
                <a:gd name="T22" fmla="*/ 11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2 h 40"/>
                <a:gd name="T32" fmla="*/ 34 w 34"/>
                <a:gd name="T33" fmla="*/ 20 h 40"/>
                <a:gd name="T34" fmla="*/ 27 w 34"/>
                <a:gd name="T35" fmla="*/ 20 h 40"/>
                <a:gd name="T36" fmla="*/ 26 w 34"/>
                <a:gd name="T37" fmla="*/ 15 h 40"/>
                <a:gd name="T38" fmla="*/ 24 w 34"/>
                <a:gd name="T39" fmla="*/ 11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1 h 40"/>
                <a:gd name="T48" fmla="*/ 8 w 34"/>
                <a:gd name="T49" fmla="*/ 15 h 40"/>
                <a:gd name="T50" fmla="*/ 8 w 34"/>
                <a:gd name="T51" fmla="*/ 20 h 40"/>
                <a:gd name="T52" fmla="*/ 8 w 34"/>
                <a:gd name="T53" fmla="*/ 26 h 40"/>
                <a:gd name="T54" fmla="*/ 10 w 34"/>
                <a:gd name="T55" fmla="*/ 30 h 40"/>
                <a:gd name="T56" fmla="*/ 13 w 34"/>
                <a:gd name="T57" fmla="*/ 32 h 40"/>
                <a:gd name="T58" fmla="*/ 17 w 34"/>
                <a:gd name="T59" fmla="*/ 33 h 40"/>
                <a:gd name="T60" fmla="*/ 21 w 34"/>
                <a:gd name="T61" fmla="*/ 32 h 40"/>
                <a:gd name="T62" fmla="*/ 24 w 34"/>
                <a:gd name="T63" fmla="*/ 29 h 40"/>
                <a:gd name="T64" fmla="*/ 26 w 34"/>
                <a:gd name="T65" fmla="*/ 25 h 40"/>
                <a:gd name="T66" fmla="*/ 27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20"/>
                  </a:moveTo>
                  <a:cubicBezTo>
                    <a:pt x="34" y="23"/>
                    <a:pt x="34" y="26"/>
                    <a:pt x="33" y="28"/>
                  </a:cubicBezTo>
                  <a:cubicBezTo>
                    <a:pt x="32" y="31"/>
                    <a:pt x="31" y="33"/>
                    <a:pt x="29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2" y="40"/>
                    <a:pt x="10" y="39"/>
                  </a:cubicBezTo>
                  <a:cubicBezTo>
                    <a:pt x="8" y="38"/>
                    <a:pt x="6" y="36"/>
                    <a:pt x="5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1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7" y="4"/>
                    <a:pt x="8" y="2"/>
                    <a:pt x="11" y="1"/>
                  </a:cubicBezTo>
                  <a:cubicBezTo>
                    <a:pt x="13" y="1"/>
                    <a:pt x="15" y="0"/>
                    <a:pt x="17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4" y="17"/>
                    <a:pt x="34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3" y="10"/>
                    <a:pt x="22" y="9"/>
                    <a:pt x="21" y="8"/>
                  </a:cubicBezTo>
                  <a:cubicBezTo>
                    <a:pt x="20" y="8"/>
                    <a:pt x="18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9" y="12"/>
                    <a:pt x="9" y="13"/>
                    <a:pt x="8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8" y="26"/>
                  </a:cubicBezTo>
                  <a:cubicBezTo>
                    <a:pt x="9" y="27"/>
                    <a:pt x="10" y="28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25" name="Freeform 62">
              <a:extLst>
                <a:ext uri="{FF2B5EF4-FFF2-40B4-BE49-F238E27FC236}">
                  <a16:creationId xmlns:a16="http://schemas.microsoft.com/office/drawing/2014/main" id="{6051CC00-BFF2-4334-9855-62AD588546F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8067" y="6418333"/>
              <a:ext cx="57543" cy="101135"/>
            </a:xfrm>
            <a:custGeom>
              <a:avLst/>
              <a:gdLst>
                <a:gd name="T0" fmla="*/ 21 w 23"/>
                <a:gd name="T1" fmla="*/ 9 h 39"/>
                <a:gd name="T2" fmla="*/ 18 w 23"/>
                <a:gd name="T3" fmla="*/ 8 h 39"/>
                <a:gd name="T4" fmla="*/ 15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9 w 23"/>
                <a:gd name="T21" fmla="*/ 3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8" y="8"/>
                    <a:pt x="17" y="7"/>
                    <a:pt x="15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8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9" y="3"/>
                  </a:cubicBezTo>
                  <a:cubicBezTo>
                    <a:pt x="10" y="2"/>
                    <a:pt x="11" y="2"/>
                    <a:pt x="11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1"/>
                  </a:cubicBezTo>
                  <a:cubicBezTo>
                    <a:pt x="21" y="1"/>
                    <a:pt x="22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26" name="Freeform 63">
              <a:extLst>
                <a:ext uri="{FF2B5EF4-FFF2-40B4-BE49-F238E27FC236}">
                  <a16:creationId xmlns:a16="http://schemas.microsoft.com/office/drawing/2014/main" id="{905DD261-B224-46ED-8CEE-E8D180BA4B7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3046" y="6383459"/>
              <a:ext cx="19181" cy="136010"/>
            </a:xfrm>
            <a:custGeom>
              <a:avLst/>
              <a:gdLst>
                <a:gd name="T0" fmla="*/ 0 w 11"/>
                <a:gd name="T1" fmla="*/ 78 h 78"/>
                <a:gd name="T2" fmla="*/ 0 w 11"/>
                <a:gd name="T3" fmla="*/ 6 h 78"/>
                <a:gd name="T4" fmla="*/ 11 w 11"/>
                <a:gd name="T5" fmla="*/ 0 h 78"/>
                <a:gd name="T6" fmla="*/ 11 w 11"/>
                <a:gd name="T7" fmla="*/ 78 h 78"/>
                <a:gd name="T8" fmla="*/ 0 w 11"/>
                <a:gd name="T9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78">
                  <a:moveTo>
                    <a:pt x="0" y="78"/>
                  </a:moveTo>
                  <a:lnTo>
                    <a:pt x="0" y="6"/>
                  </a:lnTo>
                  <a:lnTo>
                    <a:pt x="11" y="0"/>
                  </a:lnTo>
                  <a:lnTo>
                    <a:pt x="11" y="78"/>
                  </a:lnTo>
                  <a:lnTo>
                    <a:pt x="0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27" name="Freeform 64">
              <a:extLst>
                <a:ext uri="{FF2B5EF4-FFF2-40B4-BE49-F238E27FC236}">
                  <a16:creationId xmlns:a16="http://schemas.microsoft.com/office/drawing/2014/main" id="{A23129DF-0296-4CA9-9723-124682F0A70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084896" y="6383459"/>
              <a:ext cx="80211" cy="137753"/>
            </a:xfrm>
            <a:custGeom>
              <a:avLst/>
              <a:gdLst>
                <a:gd name="T0" fmla="*/ 24 w 32"/>
                <a:gd name="T1" fmla="*/ 53 h 54"/>
                <a:gd name="T2" fmla="*/ 24 w 32"/>
                <a:gd name="T3" fmla="*/ 50 h 54"/>
                <a:gd name="T4" fmla="*/ 22 w 32"/>
                <a:gd name="T5" fmla="*/ 51 h 54"/>
                <a:gd name="T6" fmla="*/ 20 w 32"/>
                <a:gd name="T7" fmla="*/ 53 h 54"/>
                <a:gd name="T8" fmla="*/ 17 w 32"/>
                <a:gd name="T9" fmla="*/ 54 h 54"/>
                <a:gd name="T10" fmla="*/ 14 w 32"/>
                <a:gd name="T11" fmla="*/ 54 h 54"/>
                <a:gd name="T12" fmla="*/ 9 w 32"/>
                <a:gd name="T13" fmla="*/ 53 h 54"/>
                <a:gd name="T14" fmla="*/ 4 w 32"/>
                <a:gd name="T15" fmla="*/ 49 h 54"/>
                <a:gd name="T16" fmla="*/ 1 w 32"/>
                <a:gd name="T17" fmla="*/ 43 h 54"/>
                <a:gd name="T18" fmla="*/ 0 w 32"/>
                <a:gd name="T19" fmla="*/ 33 h 54"/>
                <a:gd name="T20" fmla="*/ 1 w 32"/>
                <a:gd name="T21" fmla="*/ 25 h 54"/>
                <a:gd name="T22" fmla="*/ 4 w 32"/>
                <a:gd name="T23" fmla="*/ 19 h 54"/>
                <a:gd name="T24" fmla="*/ 9 w 32"/>
                <a:gd name="T25" fmla="*/ 15 h 54"/>
                <a:gd name="T26" fmla="*/ 15 w 32"/>
                <a:gd name="T27" fmla="*/ 14 h 54"/>
                <a:gd name="T28" fmla="*/ 18 w 32"/>
                <a:gd name="T29" fmla="*/ 14 h 54"/>
                <a:gd name="T30" fmla="*/ 20 w 32"/>
                <a:gd name="T31" fmla="*/ 15 h 54"/>
                <a:gd name="T32" fmla="*/ 22 w 32"/>
                <a:gd name="T33" fmla="*/ 17 h 54"/>
                <a:gd name="T34" fmla="*/ 24 w 32"/>
                <a:gd name="T35" fmla="*/ 18 h 54"/>
                <a:gd name="T36" fmla="*/ 24 w 32"/>
                <a:gd name="T37" fmla="*/ 4 h 54"/>
                <a:gd name="T38" fmla="*/ 32 w 32"/>
                <a:gd name="T39" fmla="*/ 0 h 54"/>
                <a:gd name="T40" fmla="*/ 32 w 32"/>
                <a:gd name="T41" fmla="*/ 53 h 54"/>
                <a:gd name="T42" fmla="*/ 24 w 32"/>
                <a:gd name="T43" fmla="*/ 53 h 54"/>
                <a:gd name="T44" fmla="*/ 24 w 32"/>
                <a:gd name="T45" fmla="*/ 26 h 54"/>
                <a:gd name="T46" fmla="*/ 23 w 32"/>
                <a:gd name="T47" fmla="*/ 24 h 54"/>
                <a:gd name="T48" fmla="*/ 21 w 32"/>
                <a:gd name="T49" fmla="*/ 23 h 54"/>
                <a:gd name="T50" fmla="*/ 18 w 32"/>
                <a:gd name="T51" fmla="*/ 22 h 54"/>
                <a:gd name="T52" fmla="*/ 15 w 32"/>
                <a:gd name="T53" fmla="*/ 21 h 54"/>
                <a:gd name="T54" fmla="*/ 9 w 32"/>
                <a:gd name="T55" fmla="*/ 24 h 54"/>
                <a:gd name="T56" fmla="*/ 7 w 32"/>
                <a:gd name="T57" fmla="*/ 33 h 54"/>
                <a:gd name="T58" fmla="*/ 8 w 32"/>
                <a:gd name="T59" fmla="*/ 39 h 54"/>
                <a:gd name="T60" fmla="*/ 9 w 32"/>
                <a:gd name="T61" fmla="*/ 44 h 54"/>
                <a:gd name="T62" fmla="*/ 12 w 32"/>
                <a:gd name="T63" fmla="*/ 46 h 54"/>
                <a:gd name="T64" fmla="*/ 16 w 32"/>
                <a:gd name="T65" fmla="*/ 47 h 54"/>
                <a:gd name="T66" fmla="*/ 18 w 32"/>
                <a:gd name="T67" fmla="*/ 47 h 54"/>
                <a:gd name="T68" fmla="*/ 21 w 32"/>
                <a:gd name="T69" fmla="*/ 46 h 54"/>
                <a:gd name="T70" fmla="*/ 23 w 32"/>
                <a:gd name="T71" fmla="*/ 44 h 54"/>
                <a:gd name="T72" fmla="*/ 24 w 32"/>
                <a:gd name="T73" fmla="*/ 42 h 54"/>
                <a:gd name="T74" fmla="*/ 24 w 32"/>
                <a:gd name="T75" fmla="*/ 2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2" h="54">
                  <a:moveTo>
                    <a:pt x="24" y="53"/>
                  </a:moveTo>
                  <a:cubicBezTo>
                    <a:pt x="24" y="50"/>
                    <a:pt x="24" y="50"/>
                    <a:pt x="24" y="50"/>
                  </a:cubicBezTo>
                  <a:cubicBezTo>
                    <a:pt x="24" y="50"/>
                    <a:pt x="23" y="51"/>
                    <a:pt x="22" y="51"/>
                  </a:cubicBezTo>
                  <a:cubicBezTo>
                    <a:pt x="21" y="52"/>
                    <a:pt x="21" y="52"/>
                    <a:pt x="20" y="53"/>
                  </a:cubicBezTo>
                  <a:cubicBezTo>
                    <a:pt x="19" y="53"/>
                    <a:pt x="18" y="54"/>
                    <a:pt x="17" y="54"/>
                  </a:cubicBezTo>
                  <a:cubicBezTo>
                    <a:pt x="16" y="54"/>
                    <a:pt x="15" y="54"/>
                    <a:pt x="14" y="54"/>
                  </a:cubicBezTo>
                  <a:cubicBezTo>
                    <a:pt x="12" y="54"/>
                    <a:pt x="10" y="54"/>
                    <a:pt x="9" y="53"/>
                  </a:cubicBezTo>
                  <a:cubicBezTo>
                    <a:pt x="7" y="52"/>
                    <a:pt x="5" y="51"/>
                    <a:pt x="4" y="49"/>
                  </a:cubicBezTo>
                  <a:cubicBezTo>
                    <a:pt x="3" y="48"/>
                    <a:pt x="1" y="45"/>
                    <a:pt x="1" y="43"/>
                  </a:cubicBezTo>
                  <a:cubicBezTo>
                    <a:pt x="0" y="40"/>
                    <a:pt x="0" y="37"/>
                    <a:pt x="0" y="33"/>
                  </a:cubicBezTo>
                  <a:cubicBezTo>
                    <a:pt x="0" y="30"/>
                    <a:pt x="0" y="27"/>
                    <a:pt x="1" y="25"/>
                  </a:cubicBezTo>
                  <a:cubicBezTo>
                    <a:pt x="2" y="22"/>
                    <a:pt x="3" y="20"/>
                    <a:pt x="4" y="19"/>
                  </a:cubicBezTo>
                  <a:cubicBezTo>
                    <a:pt x="6" y="17"/>
                    <a:pt x="7" y="16"/>
                    <a:pt x="9" y="15"/>
                  </a:cubicBezTo>
                  <a:cubicBezTo>
                    <a:pt x="11" y="14"/>
                    <a:pt x="13" y="14"/>
                    <a:pt x="15" y="14"/>
                  </a:cubicBezTo>
                  <a:cubicBezTo>
                    <a:pt x="16" y="14"/>
                    <a:pt x="17" y="14"/>
                    <a:pt x="18" y="14"/>
                  </a:cubicBezTo>
                  <a:cubicBezTo>
                    <a:pt x="18" y="15"/>
                    <a:pt x="19" y="15"/>
                    <a:pt x="20" y="15"/>
                  </a:cubicBezTo>
                  <a:cubicBezTo>
                    <a:pt x="21" y="16"/>
                    <a:pt x="22" y="16"/>
                    <a:pt x="22" y="17"/>
                  </a:cubicBezTo>
                  <a:cubicBezTo>
                    <a:pt x="23" y="17"/>
                    <a:pt x="24" y="18"/>
                    <a:pt x="24" y="18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53"/>
                    <a:pt x="32" y="53"/>
                    <a:pt x="32" y="53"/>
                  </a:cubicBezTo>
                  <a:lnTo>
                    <a:pt x="24" y="53"/>
                  </a:lnTo>
                  <a:close/>
                  <a:moveTo>
                    <a:pt x="24" y="26"/>
                  </a:moveTo>
                  <a:cubicBezTo>
                    <a:pt x="24" y="26"/>
                    <a:pt x="23" y="25"/>
                    <a:pt x="23" y="24"/>
                  </a:cubicBezTo>
                  <a:cubicBezTo>
                    <a:pt x="22" y="24"/>
                    <a:pt x="22" y="23"/>
                    <a:pt x="21" y="23"/>
                  </a:cubicBezTo>
                  <a:cubicBezTo>
                    <a:pt x="20" y="22"/>
                    <a:pt x="19" y="22"/>
                    <a:pt x="18" y="22"/>
                  </a:cubicBezTo>
                  <a:cubicBezTo>
                    <a:pt x="17" y="21"/>
                    <a:pt x="16" y="21"/>
                    <a:pt x="15" y="21"/>
                  </a:cubicBezTo>
                  <a:cubicBezTo>
                    <a:pt x="13" y="21"/>
                    <a:pt x="11" y="22"/>
                    <a:pt x="9" y="24"/>
                  </a:cubicBezTo>
                  <a:cubicBezTo>
                    <a:pt x="8" y="26"/>
                    <a:pt x="7" y="29"/>
                    <a:pt x="7" y="33"/>
                  </a:cubicBezTo>
                  <a:cubicBezTo>
                    <a:pt x="7" y="36"/>
                    <a:pt x="7" y="38"/>
                    <a:pt x="8" y="39"/>
                  </a:cubicBezTo>
                  <a:cubicBezTo>
                    <a:pt x="8" y="41"/>
                    <a:pt x="9" y="43"/>
                    <a:pt x="9" y="44"/>
                  </a:cubicBezTo>
                  <a:cubicBezTo>
                    <a:pt x="10" y="45"/>
                    <a:pt x="11" y="46"/>
                    <a:pt x="12" y="46"/>
                  </a:cubicBezTo>
                  <a:cubicBezTo>
                    <a:pt x="13" y="47"/>
                    <a:pt x="14" y="47"/>
                    <a:pt x="16" y="47"/>
                  </a:cubicBezTo>
                  <a:cubicBezTo>
                    <a:pt x="17" y="47"/>
                    <a:pt x="18" y="47"/>
                    <a:pt x="18" y="47"/>
                  </a:cubicBezTo>
                  <a:cubicBezTo>
                    <a:pt x="19" y="46"/>
                    <a:pt x="20" y="46"/>
                    <a:pt x="21" y="46"/>
                  </a:cubicBezTo>
                  <a:cubicBezTo>
                    <a:pt x="21" y="45"/>
                    <a:pt x="22" y="45"/>
                    <a:pt x="23" y="44"/>
                  </a:cubicBezTo>
                  <a:cubicBezTo>
                    <a:pt x="23" y="43"/>
                    <a:pt x="24" y="43"/>
                    <a:pt x="24" y="42"/>
                  </a:cubicBezTo>
                  <a:lnTo>
                    <a:pt x="24" y="2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28" name="Freeform 65">
              <a:extLst>
                <a:ext uri="{FF2B5EF4-FFF2-40B4-BE49-F238E27FC236}">
                  <a16:creationId xmlns:a16="http://schemas.microsoft.com/office/drawing/2014/main" id="{A2A2BF8E-DA3A-4AC0-B7EB-7CAABFC9E69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29624" y="6421821"/>
              <a:ext cx="122060" cy="97648"/>
            </a:xfrm>
            <a:custGeom>
              <a:avLst/>
              <a:gdLst>
                <a:gd name="T0" fmla="*/ 55 w 70"/>
                <a:gd name="T1" fmla="*/ 56 h 56"/>
                <a:gd name="T2" fmla="*/ 45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6 w 70"/>
                <a:gd name="T9" fmla="*/ 56 h 56"/>
                <a:gd name="T10" fmla="*/ 0 w 70"/>
                <a:gd name="T11" fmla="*/ 0 h 56"/>
                <a:gd name="T12" fmla="*/ 12 w 70"/>
                <a:gd name="T13" fmla="*/ 0 h 56"/>
                <a:gd name="T14" fmla="*/ 20 w 70"/>
                <a:gd name="T15" fmla="*/ 38 h 56"/>
                <a:gd name="T16" fmla="*/ 31 w 70"/>
                <a:gd name="T17" fmla="*/ 0 h 56"/>
                <a:gd name="T18" fmla="*/ 39 w 70"/>
                <a:gd name="T19" fmla="*/ 0 h 56"/>
                <a:gd name="T20" fmla="*/ 51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5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5" y="56"/>
                  </a:moveTo>
                  <a:lnTo>
                    <a:pt x="45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6" y="56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0" y="38"/>
                  </a:lnTo>
                  <a:lnTo>
                    <a:pt x="31" y="0"/>
                  </a:lnTo>
                  <a:lnTo>
                    <a:pt x="39" y="0"/>
                  </a:lnTo>
                  <a:lnTo>
                    <a:pt x="51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29" name="Freeform 66">
              <a:extLst>
                <a:ext uri="{FF2B5EF4-FFF2-40B4-BE49-F238E27FC236}">
                  <a16:creationId xmlns:a16="http://schemas.microsoft.com/office/drawing/2014/main" id="{BEBFC1A4-92B9-418F-A0A9-2E210A37BCF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62147" y="6418333"/>
              <a:ext cx="88930" cy="102879"/>
            </a:xfrm>
            <a:custGeom>
              <a:avLst/>
              <a:gdLst>
                <a:gd name="T0" fmla="*/ 35 w 35"/>
                <a:gd name="T1" fmla="*/ 20 h 40"/>
                <a:gd name="T2" fmla="*/ 33 w 35"/>
                <a:gd name="T3" fmla="*/ 28 h 40"/>
                <a:gd name="T4" fmla="*/ 30 w 35"/>
                <a:gd name="T5" fmla="*/ 35 h 40"/>
                <a:gd name="T6" fmla="*/ 24 w 35"/>
                <a:gd name="T7" fmla="*/ 39 h 40"/>
                <a:gd name="T8" fmla="*/ 17 w 35"/>
                <a:gd name="T9" fmla="*/ 40 h 40"/>
                <a:gd name="T10" fmla="*/ 11 w 35"/>
                <a:gd name="T11" fmla="*/ 39 h 40"/>
                <a:gd name="T12" fmla="*/ 5 w 35"/>
                <a:gd name="T13" fmla="*/ 35 h 40"/>
                <a:gd name="T14" fmla="*/ 2 w 35"/>
                <a:gd name="T15" fmla="*/ 28 h 40"/>
                <a:gd name="T16" fmla="*/ 0 w 35"/>
                <a:gd name="T17" fmla="*/ 20 h 40"/>
                <a:gd name="T18" fmla="*/ 2 w 35"/>
                <a:gd name="T19" fmla="*/ 12 h 40"/>
                <a:gd name="T20" fmla="*/ 5 w 35"/>
                <a:gd name="T21" fmla="*/ 5 h 40"/>
                <a:gd name="T22" fmla="*/ 11 w 35"/>
                <a:gd name="T23" fmla="*/ 1 h 40"/>
                <a:gd name="T24" fmla="*/ 18 w 35"/>
                <a:gd name="T25" fmla="*/ 0 h 40"/>
                <a:gd name="T26" fmla="*/ 24 w 35"/>
                <a:gd name="T27" fmla="*/ 1 h 40"/>
                <a:gd name="T28" fmla="*/ 30 w 35"/>
                <a:gd name="T29" fmla="*/ 5 h 40"/>
                <a:gd name="T30" fmla="*/ 33 w 35"/>
                <a:gd name="T31" fmla="*/ 12 h 40"/>
                <a:gd name="T32" fmla="*/ 35 w 35"/>
                <a:gd name="T33" fmla="*/ 20 h 40"/>
                <a:gd name="T34" fmla="*/ 27 w 35"/>
                <a:gd name="T35" fmla="*/ 20 h 40"/>
                <a:gd name="T36" fmla="*/ 26 w 35"/>
                <a:gd name="T37" fmla="*/ 15 h 40"/>
                <a:gd name="T38" fmla="*/ 24 w 35"/>
                <a:gd name="T39" fmla="*/ 11 h 40"/>
                <a:gd name="T40" fmla="*/ 21 w 35"/>
                <a:gd name="T41" fmla="*/ 8 h 40"/>
                <a:gd name="T42" fmla="*/ 17 w 35"/>
                <a:gd name="T43" fmla="*/ 7 h 40"/>
                <a:gd name="T44" fmla="*/ 13 w 35"/>
                <a:gd name="T45" fmla="*/ 8 h 40"/>
                <a:gd name="T46" fmla="*/ 10 w 35"/>
                <a:gd name="T47" fmla="*/ 11 h 40"/>
                <a:gd name="T48" fmla="*/ 9 w 35"/>
                <a:gd name="T49" fmla="*/ 15 h 40"/>
                <a:gd name="T50" fmla="*/ 8 w 35"/>
                <a:gd name="T51" fmla="*/ 20 h 40"/>
                <a:gd name="T52" fmla="*/ 9 w 35"/>
                <a:gd name="T53" fmla="*/ 26 h 40"/>
                <a:gd name="T54" fmla="*/ 11 w 35"/>
                <a:gd name="T55" fmla="*/ 30 h 40"/>
                <a:gd name="T56" fmla="*/ 14 w 35"/>
                <a:gd name="T57" fmla="*/ 32 h 40"/>
                <a:gd name="T58" fmla="*/ 18 w 35"/>
                <a:gd name="T59" fmla="*/ 33 h 40"/>
                <a:gd name="T60" fmla="*/ 21 w 35"/>
                <a:gd name="T61" fmla="*/ 32 h 40"/>
                <a:gd name="T62" fmla="*/ 24 w 35"/>
                <a:gd name="T63" fmla="*/ 29 h 40"/>
                <a:gd name="T64" fmla="*/ 26 w 35"/>
                <a:gd name="T65" fmla="*/ 25 h 40"/>
                <a:gd name="T66" fmla="*/ 27 w 35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5" h="40">
                  <a:moveTo>
                    <a:pt x="35" y="20"/>
                  </a:moveTo>
                  <a:cubicBezTo>
                    <a:pt x="35" y="23"/>
                    <a:pt x="34" y="26"/>
                    <a:pt x="33" y="28"/>
                  </a:cubicBezTo>
                  <a:cubicBezTo>
                    <a:pt x="32" y="31"/>
                    <a:pt x="31" y="33"/>
                    <a:pt x="30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3" y="40"/>
                    <a:pt x="11" y="39"/>
                  </a:cubicBezTo>
                  <a:cubicBezTo>
                    <a:pt x="8" y="38"/>
                    <a:pt x="7" y="36"/>
                    <a:pt x="5" y="35"/>
                  </a:cubicBezTo>
                  <a:cubicBezTo>
                    <a:pt x="4" y="33"/>
                    <a:pt x="2" y="31"/>
                    <a:pt x="2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3" y="9"/>
                    <a:pt x="4" y="7"/>
                    <a:pt x="5" y="5"/>
                  </a:cubicBezTo>
                  <a:cubicBezTo>
                    <a:pt x="7" y="4"/>
                    <a:pt x="9" y="2"/>
                    <a:pt x="11" y="1"/>
                  </a:cubicBezTo>
                  <a:cubicBezTo>
                    <a:pt x="13" y="1"/>
                    <a:pt x="15" y="0"/>
                    <a:pt x="18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30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5" y="17"/>
                    <a:pt x="35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4" y="10"/>
                    <a:pt x="23" y="9"/>
                    <a:pt x="21" y="8"/>
                  </a:cubicBezTo>
                  <a:cubicBezTo>
                    <a:pt x="20" y="8"/>
                    <a:pt x="19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10" y="12"/>
                    <a:pt x="9" y="13"/>
                    <a:pt x="9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9" y="26"/>
                  </a:cubicBezTo>
                  <a:cubicBezTo>
                    <a:pt x="9" y="27"/>
                    <a:pt x="10" y="28"/>
                    <a:pt x="11" y="30"/>
                  </a:cubicBezTo>
                  <a:cubicBezTo>
                    <a:pt x="11" y="31"/>
                    <a:pt x="12" y="32"/>
                    <a:pt x="14" y="32"/>
                  </a:cubicBezTo>
                  <a:cubicBezTo>
                    <a:pt x="15" y="33"/>
                    <a:pt x="16" y="33"/>
                    <a:pt x="18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3" y="31"/>
                    <a:pt x="24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30" name="Freeform 67">
              <a:extLst>
                <a:ext uri="{FF2B5EF4-FFF2-40B4-BE49-F238E27FC236}">
                  <a16:creationId xmlns:a16="http://schemas.microsoft.com/office/drawing/2014/main" id="{A28B9FD0-8354-4DD6-856A-157C5F8768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68514" y="6418333"/>
              <a:ext cx="59286" cy="101135"/>
            </a:xfrm>
            <a:custGeom>
              <a:avLst/>
              <a:gdLst>
                <a:gd name="T0" fmla="*/ 21 w 23"/>
                <a:gd name="T1" fmla="*/ 9 h 39"/>
                <a:gd name="T2" fmla="*/ 19 w 23"/>
                <a:gd name="T3" fmla="*/ 8 h 39"/>
                <a:gd name="T4" fmla="*/ 16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10 w 23"/>
                <a:gd name="T21" fmla="*/ 3 h 39"/>
                <a:gd name="T22" fmla="*/ 12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1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20" y="8"/>
                    <a:pt x="19" y="8"/>
                  </a:cubicBezTo>
                  <a:cubicBezTo>
                    <a:pt x="18" y="8"/>
                    <a:pt x="17" y="7"/>
                    <a:pt x="16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9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10" y="3"/>
                  </a:cubicBezTo>
                  <a:cubicBezTo>
                    <a:pt x="10" y="2"/>
                    <a:pt x="11" y="2"/>
                    <a:pt x="12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20" y="0"/>
                    <a:pt x="21" y="1"/>
                  </a:cubicBezTo>
                  <a:cubicBezTo>
                    <a:pt x="22" y="1"/>
                    <a:pt x="23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31" name="Freeform 68">
              <a:extLst>
                <a:ext uri="{FF2B5EF4-FFF2-40B4-BE49-F238E27FC236}">
                  <a16:creationId xmlns:a16="http://schemas.microsoft.com/office/drawing/2014/main" id="{83D3DEEE-A610-48BE-BADD-6BA188B5B86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5237" y="6383459"/>
              <a:ext cx="76723" cy="136010"/>
            </a:xfrm>
            <a:custGeom>
              <a:avLst/>
              <a:gdLst>
                <a:gd name="T0" fmla="*/ 31 w 44"/>
                <a:gd name="T1" fmla="*/ 78 h 78"/>
                <a:gd name="T2" fmla="*/ 19 w 44"/>
                <a:gd name="T3" fmla="*/ 50 h 78"/>
                <a:gd name="T4" fmla="*/ 10 w 44"/>
                <a:gd name="T5" fmla="*/ 61 h 78"/>
                <a:gd name="T6" fmla="*/ 10 w 44"/>
                <a:gd name="T7" fmla="*/ 78 h 78"/>
                <a:gd name="T8" fmla="*/ 0 w 44"/>
                <a:gd name="T9" fmla="*/ 78 h 78"/>
                <a:gd name="T10" fmla="*/ 0 w 44"/>
                <a:gd name="T11" fmla="*/ 6 h 78"/>
                <a:gd name="T12" fmla="*/ 10 w 44"/>
                <a:gd name="T13" fmla="*/ 0 h 78"/>
                <a:gd name="T14" fmla="*/ 10 w 44"/>
                <a:gd name="T15" fmla="*/ 47 h 78"/>
                <a:gd name="T16" fmla="*/ 28 w 44"/>
                <a:gd name="T17" fmla="*/ 22 h 78"/>
                <a:gd name="T18" fmla="*/ 41 w 44"/>
                <a:gd name="T19" fmla="*/ 22 h 78"/>
                <a:gd name="T20" fmla="*/ 26 w 44"/>
                <a:gd name="T21" fmla="*/ 41 h 78"/>
                <a:gd name="T22" fmla="*/ 44 w 44"/>
                <a:gd name="T23" fmla="*/ 78 h 78"/>
                <a:gd name="T24" fmla="*/ 31 w 44"/>
                <a:gd name="T25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4" h="78">
                  <a:moveTo>
                    <a:pt x="31" y="78"/>
                  </a:moveTo>
                  <a:lnTo>
                    <a:pt x="19" y="50"/>
                  </a:lnTo>
                  <a:lnTo>
                    <a:pt x="10" y="61"/>
                  </a:lnTo>
                  <a:lnTo>
                    <a:pt x="10" y="78"/>
                  </a:lnTo>
                  <a:lnTo>
                    <a:pt x="0" y="78"/>
                  </a:lnTo>
                  <a:lnTo>
                    <a:pt x="0" y="6"/>
                  </a:lnTo>
                  <a:lnTo>
                    <a:pt x="10" y="0"/>
                  </a:lnTo>
                  <a:lnTo>
                    <a:pt x="10" y="47"/>
                  </a:lnTo>
                  <a:lnTo>
                    <a:pt x="28" y="22"/>
                  </a:lnTo>
                  <a:lnTo>
                    <a:pt x="41" y="22"/>
                  </a:lnTo>
                  <a:lnTo>
                    <a:pt x="26" y="41"/>
                  </a:lnTo>
                  <a:lnTo>
                    <a:pt x="44" y="78"/>
                  </a:lnTo>
                  <a:lnTo>
                    <a:pt x="31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32" name="Freeform 69">
              <a:extLst>
                <a:ext uri="{FF2B5EF4-FFF2-40B4-BE49-F238E27FC236}">
                  <a16:creationId xmlns:a16="http://schemas.microsoft.com/office/drawing/2014/main" id="{463C7ADB-C654-4D24-9055-0B6003A770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28936" y="6418333"/>
              <a:ext cx="74980" cy="102879"/>
            </a:xfrm>
            <a:custGeom>
              <a:avLst/>
              <a:gdLst>
                <a:gd name="T0" fmla="*/ 28 w 29"/>
                <a:gd name="T1" fmla="*/ 4 h 40"/>
                <a:gd name="T2" fmla="*/ 25 w 29"/>
                <a:gd name="T3" fmla="*/ 10 h 40"/>
                <a:gd name="T4" fmla="*/ 20 w 29"/>
                <a:gd name="T5" fmla="*/ 8 h 40"/>
                <a:gd name="T6" fmla="*/ 15 w 29"/>
                <a:gd name="T7" fmla="*/ 7 h 40"/>
                <a:gd name="T8" fmla="*/ 11 w 29"/>
                <a:gd name="T9" fmla="*/ 8 h 40"/>
                <a:gd name="T10" fmla="*/ 9 w 29"/>
                <a:gd name="T11" fmla="*/ 10 h 40"/>
                <a:gd name="T12" fmla="*/ 10 w 29"/>
                <a:gd name="T13" fmla="*/ 12 h 40"/>
                <a:gd name="T14" fmla="*/ 11 w 29"/>
                <a:gd name="T15" fmla="*/ 13 h 40"/>
                <a:gd name="T16" fmla="*/ 13 w 29"/>
                <a:gd name="T17" fmla="*/ 14 h 40"/>
                <a:gd name="T18" fmla="*/ 17 w 29"/>
                <a:gd name="T19" fmla="*/ 16 h 40"/>
                <a:gd name="T20" fmla="*/ 22 w 29"/>
                <a:gd name="T21" fmla="*/ 18 h 40"/>
                <a:gd name="T22" fmla="*/ 26 w 29"/>
                <a:gd name="T23" fmla="*/ 21 h 40"/>
                <a:gd name="T24" fmla="*/ 29 w 29"/>
                <a:gd name="T25" fmla="*/ 24 h 40"/>
                <a:gd name="T26" fmla="*/ 29 w 29"/>
                <a:gd name="T27" fmla="*/ 29 h 40"/>
                <a:gd name="T28" fmla="*/ 28 w 29"/>
                <a:gd name="T29" fmla="*/ 34 h 40"/>
                <a:gd name="T30" fmla="*/ 25 w 29"/>
                <a:gd name="T31" fmla="*/ 38 h 40"/>
                <a:gd name="T32" fmla="*/ 21 w 29"/>
                <a:gd name="T33" fmla="*/ 40 h 40"/>
                <a:gd name="T34" fmla="*/ 15 w 29"/>
                <a:gd name="T35" fmla="*/ 40 h 40"/>
                <a:gd name="T36" fmla="*/ 7 w 29"/>
                <a:gd name="T37" fmla="*/ 39 h 40"/>
                <a:gd name="T38" fmla="*/ 0 w 29"/>
                <a:gd name="T39" fmla="*/ 35 h 40"/>
                <a:gd name="T40" fmla="*/ 4 w 29"/>
                <a:gd name="T41" fmla="*/ 30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20 w 29"/>
                <a:gd name="T53" fmla="*/ 26 h 40"/>
                <a:gd name="T54" fmla="*/ 17 w 29"/>
                <a:gd name="T55" fmla="*/ 24 h 40"/>
                <a:gd name="T56" fmla="*/ 13 w 29"/>
                <a:gd name="T57" fmla="*/ 23 h 40"/>
                <a:gd name="T58" fmla="*/ 8 w 29"/>
                <a:gd name="T59" fmla="*/ 20 h 40"/>
                <a:gd name="T60" fmla="*/ 4 w 29"/>
                <a:gd name="T61" fmla="*/ 18 h 40"/>
                <a:gd name="T62" fmla="*/ 2 w 29"/>
                <a:gd name="T63" fmla="*/ 15 h 40"/>
                <a:gd name="T64" fmla="*/ 2 w 29"/>
                <a:gd name="T65" fmla="*/ 11 h 40"/>
                <a:gd name="T66" fmla="*/ 3 w 29"/>
                <a:gd name="T67" fmla="*/ 6 h 40"/>
                <a:gd name="T68" fmla="*/ 6 w 29"/>
                <a:gd name="T69" fmla="*/ 3 h 40"/>
                <a:gd name="T70" fmla="*/ 10 w 29"/>
                <a:gd name="T71" fmla="*/ 1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5" y="10"/>
                    <a:pt x="25" y="10"/>
                    <a:pt x="25" y="10"/>
                  </a:cubicBezTo>
                  <a:cubicBezTo>
                    <a:pt x="23" y="9"/>
                    <a:pt x="22" y="8"/>
                    <a:pt x="20" y="8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2" y="7"/>
                    <a:pt x="11" y="8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1"/>
                    <a:pt x="10" y="11"/>
                    <a:pt x="10" y="12"/>
                  </a:cubicBezTo>
                  <a:cubicBezTo>
                    <a:pt x="10" y="12"/>
                    <a:pt x="10" y="13"/>
                    <a:pt x="11" y="13"/>
                  </a:cubicBezTo>
                  <a:cubicBezTo>
                    <a:pt x="11" y="13"/>
                    <a:pt x="12" y="14"/>
                    <a:pt x="13" y="14"/>
                  </a:cubicBezTo>
                  <a:cubicBezTo>
                    <a:pt x="14" y="15"/>
                    <a:pt x="15" y="15"/>
                    <a:pt x="17" y="16"/>
                  </a:cubicBezTo>
                  <a:cubicBezTo>
                    <a:pt x="19" y="17"/>
                    <a:pt x="21" y="18"/>
                    <a:pt x="22" y="18"/>
                  </a:cubicBezTo>
                  <a:cubicBezTo>
                    <a:pt x="24" y="19"/>
                    <a:pt x="25" y="20"/>
                    <a:pt x="26" y="21"/>
                  </a:cubicBezTo>
                  <a:cubicBezTo>
                    <a:pt x="27" y="22"/>
                    <a:pt x="28" y="23"/>
                    <a:pt x="29" y="24"/>
                  </a:cubicBezTo>
                  <a:cubicBezTo>
                    <a:pt x="29" y="25"/>
                    <a:pt x="29" y="27"/>
                    <a:pt x="29" y="29"/>
                  </a:cubicBezTo>
                  <a:cubicBezTo>
                    <a:pt x="29" y="31"/>
                    <a:pt x="29" y="33"/>
                    <a:pt x="28" y="34"/>
                  </a:cubicBezTo>
                  <a:cubicBezTo>
                    <a:pt x="28" y="36"/>
                    <a:pt x="26" y="37"/>
                    <a:pt x="25" y="38"/>
                  </a:cubicBezTo>
                  <a:cubicBezTo>
                    <a:pt x="24" y="39"/>
                    <a:pt x="22" y="39"/>
                    <a:pt x="21" y="40"/>
                  </a:cubicBezTo>
                  <a:cubicBezTo>
                    <a:pt x="19" y="40"/>
                    <a:pt x="17" y="40"/>
                    <a:pt x="15" y="40"/>
                  </a:cubicBezTo>
                  <a:cubicBezTo>
                    <a:pt x="13" y="40"/>
                    <a:pt x="10" y="40"/>
                    <a:pt x="7" y="39"/>
                  </a:cubicBezTo>
                  <a:cubicBezTo>
                    <a:pt x="5" y="38"/>
                    <a:pt x="2" y="37"/>
                    <a:pt x="0" y="35"/>
                  </a:cubicBezTo>
                  <a:cubicBezTo>
                    <a:pt x="4" y="30"/>
                    <a:pt x="4" y="30"/>
                    <a:pt x="4" y="30"/>
                  </a:cubicBezTo>
                  <a:cubicBezTo>
                    <a:pt x="6" y="31"/>
                    <a:pt x="7" y="32"/>
                    <a:pt x="9" y="32"/>
                  </a:cubicBezTo>
                  <a:cubicBezTo>
                    <a:pt x="11" y="33"/>
                    <a:pt x="13" y="33"/>
                    <a:pt x="15" y="33"/>
                  </a:cubicBezTo>
                  <a:cubicBezTo>
                    <a:pt x="17" y="33"/>
                    <a:pt x="19" y="33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8"/>
                    <a:pt x="21" y="27"/>
                  </a:cubicBezTo>
                  <a:cubicBezTo>
                    <a:pt x="21" y="27"/>
                    <a:pt x="20" y="26"/>
                    <a:pt x="20" y="26"/>
                  </a:cubicBezTo>
                  <a:cubicBezTo>
                    <a:pt x="19" y="25"/>
                    <a:pt x="18" y="25"/>
                    <a:pt x="17" y="24"/>
                  </a:cubicBezTo>
                  <a:cubicBezTo>
                    <a:pt x="16" y="24"/>
                    <a:pt x="15" y="23"/>
                    <a:pt x="13" y="23"/>
                  </a:cubicBezTo>
                  <a:cubicBezTo>
                    <a:pt x="11" y="22"/>
                    <a:pt x="9" y="21"/>
                    <a:pt x="8" y="20"/>
                  </a:cubicBezTo>
                  <a:cubicBezTo>
                    <a:pt x="6" y="19"/>
                    <a:pt x="5" y="19"/>
                    <a:pt x="4" y="18"/>
                  </a:cubicBezTo>
                  <a:cubicBezTo>
                    <a:pt x="3" y="17"/>
                    <a:pt x="3" y="16"/>
                    <a:pt x="2" y="15"/>
                  </a:cubicBezTo>
                  <a:cubicBezTo>
                    <a:pt x="2" y="13"/>
                    <a:pt x="2" y="12"/>
                    <a:pt x="2" y="11"/>
                  </a:cubicBezTo>
                  <a:cubicBezTo>
                    <a:pt x="2" y="9"/>
                    <a:pt x="2" y="7"/>
                    <a:pt x="3" y="6"/>
                  </a:cubicBezTo>
                  <a:cubicBezTo>
                    <a:pt x="3" y="5"/>
                    <a:pt x="4" y="4"/>
                    <a:pt x="6" y="3"/>
                  </a:cubicBezTo>
                  <a:cubicBezTo>
                    <a:pt x="7" y="2"/>
                    <a:pt x="8" y="1"/>
                    <a:pt x="10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20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  <p:sp>
          <p:nvSpPr>
            <p:cNvPr id="233" name="Freeform 70">
              <a:extLst>
                <a:ext uri="{FF2B5EF4-FFF2-40B4-BE49-F238E27FC236}">
                  <a16:creationId xmlns:a16="http://schemas.microsoft.com/office/drawing/2014/main" id="{40CF3793-E792-4DB3-8064-4B43F4706A3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23096" y="6489826"/>
              <a:ext cx="27899" cy="31387"/>
            </a:xfrm>
            <a:custGeom>
              <a:avLst/>
              <a:gdLst>
                <a:gd name="T0" fmla="*/ 11 w 11"/>
                <a:gd name="T1" fmla="*/ 6 h 12"/>
                <a:gd name="T2" fmla="*/ 11 w 11"/>
                <a:gd name="T3" fmla="*/ 9 h 12"/>
                <a:gd name="T4" fmla="*/ 10 w 11"/>
                <a:gd name="T5" fmla="*/ 10 h 12"/>
                <a:gd name="T6" fmla="*/ 8 w 11"/>
                <a:gd name="T7" fmla="*/ 12 h 12"/>
                <a:gd name="T8" fmla="*/ 6 w 11"/>
                <a:gd name="T9" fmla="*/ 12 h 12"/>
                <a:gd name="T10" fmla="*/ 3 w 11"/>
                <a:gd name="T11" fmla="*/ 12 h 12"/>
                <a:gd name="T12" fmla="*/ 1 w 11"/>
                <a:gd name="T13" fmla="*/ 10 h 12"/>
                <a:gd name="T14" fmla="*/ 0 w 11"/>
                <a:gd name="T15" fmla="*/ 9 h 12"/>
                <a:gd name="T16" fmla="*/ 0 w 11"/>
                <a:gd name="T17" fmla="*/ 6 h 12"/>
                <a:gd name="T18" fmla="*/ 0 w 11"/>
                <a:gd name="T19" fmla="*/ 4 h 12"/>
                <a:gd name="T20" fmla="*/ 1 w 11"/>
                <a:gd name="T21" fmla="*/ 2 h 12"/>
                <a:gd name="T22" fmla="*/ 3 w 11"/>
                <a:gd name="T23" fmla="*/ 1 h 12"/>
                <a:gd name="T24" fmla="*/ 6 w 11"/>
                <a:gd name="T25" fmla="*/ 0 h 12"/>
                <a:gd name="T26" fmla="*/ 8 w 11"/>
                <a:gd name="T27" fmla="*/ 1 h 12"/>
                <a:gd name="T28" fmla="*/ 10 w 11"/>
                <a:gd name="T29" fmla="*/ 2 h 12"/>
                <a:gd name="T30" fmla="*/ 11 w 11"/>
                <a:gd name="T31" fmla="*/ 4 h 12"/>
                <a:gd name="T32" fmla="*/ 11 w 11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" h="12">
                  <a:moveTo>
                    <a:pt x="11" y="6"/>
                  </a:moveTo>
                  <a:cubicBezTo>
                    <a:pt x="11" y="7"/>
                    <a:pt x="11" y="8"/>
                    <a:pt x="11" y="9"/>
                  </a:cubicBezTo>
                  <a:cubicBezTo>
                    <a:pt x="11" y="9"/>
                    <a:pt x="10" y="10"/>
                    <a:pt x="10" y="10"/>
                  </a:cubicBezTo>
                  <a:cubicBezTo>
                    <a:pt x="9" y="11"/>
                    <a:pt x="9" y="11"/>
                    <a:pt x="8" y="12"/>
                  </a:cubicBezTo>
                  <a:cubicBezTo>
                    <a:pt x="7" y="12"/>
                    <a:pt x="6" y="12"/>
                    <a:pt x="6" y="12"/>
                  </a:cubicBezTo>
                  <a:cubicBezTo>
                    <a:pt x="5" y="12"/>
                    <a:pt x="4" y="12"/>
                    <a:pt x="3" y="12"/>
                  </a:cubicBezTo>
                  <a:cubicBezTo>
                    <a:pt x="3" y="11"/>
                    <a:pt x="2" y="11"/>
                    <a:pt x="1" y="10"/>
                  </a:cubicBezTo>
                  <a:cubicBezTo>
                    <a:pt x="1" y="10"/>
                    <a:pt x="1" y="9"/>
                    <a:pt x="0" y="9"/>
                  </a:cubicBezTo>
                  <a:cubicBezTo>
                    <a:pt x="0" y="8"/>
                    <a:pt x="0" y="7"/>
                    <a:pt x="0" y="6"/>
                  </a:cubicBezTo>
                  <a:cubicBezTo>
                    <a:pt x="0" y="6"/>
                    <a:pt x="0" y="5"/>
                    <a:pt x="0" y="4"/>
                  </a:cubicBezTo>
                  <a:cubicBezTo>
                    <a:pt x="1" y="3"/>
                    <a:pt x="1" y="3"/>
                    <a:pt x="1" y="2"/>
                  </a:cubicBezTo>
                  <a:cubicBezTo>
                    <a:pt x="2" y="2"/>
                    <a:pt x="3" y="1"/>
                    <a:pt x="3" y="1"/>
                  </a:cubicBezTo>
                  <a:cubicBezTo>
                    <a:pt x="4" y="1"/>
                    <a:pt x="5" y="0"/>
                    <a:pt x="6" y="0"/>
                  </a:cubicBezTo>
                  <a:cubicBezTo>
                    <a:pt x="6" y="0"/>
                    <a:pt x="7" y="1"/>
                    <a:pt x="8" y="1"/>
                  </a:cubicBezTo>
                  <a:cubicBezTo>
                    <a:pt x="9" y="1"/>
                    <a:pt x="9" y="2"/>
                    <a:pt x="10" y="2"/>
                  </a:cubicBezTo>
                  <a:cubicBezTo>
                    <a:pt x="10" y="3"/>
                    <a:pt x="11" y="3"/>
                    <a:pt x="11" y="4"/>
                  </a:cubicBezTo>
                  <a:cubicBezTo>
                    <a:pt x="11" y="5"/>
                    <a:pt x="11" y="6"/>
                    <a:pt x="11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chemeClr val="bg1"/>
                </a:solidFill>
              </a:endParaRPr>
            </a:p>
          </p:txBody>
        </p:sp>
      </p:grpSp>
      <p:sp>
        <p:nvSpPr>
          <p:cNvPr id="18" name="Title 1"/>
          <p:cNvSpPr>
            <a:spLocks noGrp="1"/>
          </p:cNvSpPr>
          <p:nvPr userDrawn="1">
            <p:ph type="ctrTitle"/>
          </p:nvPr>
        </p:nvSpPr>
        <p:spPr>
          <a:xfrm>
            <a:off x="944388" y="2158329"/>
            <a:ext cx="4781392" cy="860400"/>
          </a:xfrm>
          <a:prstGeom prst="rect">
            <a:avLst/>
          </a:prstGeom>
        </p:spPr>
        <p:txBody>
          <a:bodyPr/>
          <a:lstStyle>
            <a:lvl1pPr>
              <a:defRPr sz="2998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9" name="Subtitle 2"/>
          <p:cNvSpPr>
            <a:spLocks noGrp="1"/>
          </p:cNvSpPr>
          <p:nvPr userDrawn="1">
            <p:ph type="subTitle" idx="1"/>
          </p:nvPr>
        </p:nvSpPr>
        <p:spPr>
          <a:xfrm>
            <a:off x="944580" y="3200329"/>
            <a:ext cx="4805525" cy="64574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998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  <a:lvl2pPr marL="0" indent="0" algn="l">
              <a:buNone/>
              <a:defRPr sz="1598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9134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2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69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37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04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72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3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3" name="Freeform: Shape 2">
            <a:extLst>
              <a:ext uri="{FF2B5EF4-FFF2-40B4-BE49-F238E27FC236}">
                <a16:creationId xmlns:a16="http://schemas.microsoft.com/office/drawing/2014/main" id="{44A731D0-020D-4D8E-955D-2354AF0FE452}"/>
              </a:ext>
            </a:extLst>
          </p:cNvPr>
          <p:cNvSpPr/>
          <p:nvPr userDrawn="1"/>
        </p:nvSpPr>
        <p:spPr>
          <a:xfrm>
            <a:off x="489113" y="723658"/>
            <a:ext cx="5677988" cy="3452894"/>
          </a:xfrm>
          <a:custGeom>
            <a:avLst/>
            <a:gdLst>
              <a:gd name="connsiteX0" fmla="*/ 8749 w 5680945"/>
              <a:gd name="connsiteY0" fmla="*/ 1021520 h 3452894"/>
              <a:gd name="connsiteX1" fmla="*/ 8749 w 5680945"/>
              <a:gd name="connsiteY1" fmla="*/ 3164181 h 3452894"/>
              <a:gd name="connsiteX2" fmla="*/ 151414 w 5680945"/>
              <a:gd name="connsiteY2" fmla="*/ 3164181 h 3452894"/>
              <a:gd name="connsiteX3" fmla="*/ 151414 w 5680945"/>
              <a:gd name="connsiteY3" fmla="*/ 1140155 h 3452894"/>
              <a:gd name="connsiteX4" fmla="*/ 5534897 w 5680945"/>
              <a:gd name="connsiteY4" fmla="*/ 179294 h 3452894"/>
              <a:gd name="connsiteX5" fmla="*/ 5534897 w 5680945"/>
              <a:gd name="connsiteY5" fmla="*/ 3306846 h 3452894"/>
              <a:gd name="connsiteX6" fmla="*/ 864624 w 5680945"/>
              <a:gd name="connsiteY6" fmla="*/ 3306846 h 3452894"/>
              <a:gd name="connsiteX7" fmla="*/ 864624 w 5680945"/>
              <a:gd name="connsiteY7" fmla="*/ 3449395 h 3452894"/>
              <a:gd name="connsiteX8" fmla="*/ 5677562 w 5680945"/>
              <a:gd name="connsiteY8" fmla="*/ 3449395 h 3452894"/>
              <a:gd name="connsiteX9" fmla="*/ 5677562 w 5680945"/>
              <a:gd name="connsiteY9" fmla="*/ 8749 h 3452894"/>
              <a:gd name="connsiteX10" fmla="*/ 8749 w 5680945"/>
              <a:gd name="connsiteY10" fmla="*/ 1021520 h 34528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5680945" h="3452894">
                <a:moveTo>
                  <a:pt x="8749" y="1021520"/>
                </a:moveTo>
                <a:lnTo>
                  <a:pt x="8749" y="3164181"/>
                </a:lnTo>
                <a:lnTo>
                  <a:pt x="151414" y="3164181"/>
                </a:lnTo>
                <a:lnTo>
                  <a:pt x="151414" y="1140155"/>
                </a:lnTo>
                <a:lnTo>
                  <a:pt x="5534897" y="179294"/>
                </a:lnTo>
                <a:lnTo>
                  <a:pt x="5534897" y="3306846"/>
                </a:lnTo>
                <a:lnTo>
                  <a:pt x="864624" y="3306846"/>
                </a:lnTo>
                <a:lnTo>
                  <a:pt x="864624" y="3449395"/>
                </a:lnTo>
                <a:lnTo>
                  <a:pt x="5677562" y="3449395"/>
                </a:lnTo>
                <a:lnTo>
                  <a:pt x="5677562" y="8749"/>
                </a:lnTo>
                <a:lnTo>
                  <a:pt x="8749" y="1021520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 sz="1798" dirty="0"/>
          </a:p>
        </p:txBody>
      </p:sp>
      <p:sp>
        <p:nvSpPr>
          <p:cNvPr id="4" name="Freeform: Shape 3">
            <a:extLst>
              <a:ext uri="{FF2B5EF4-FFF2-40B4-BE49-F238E27FC236}">
                <a16:creationId xmlns:a16="http://schemas.microsoft.com/office/drawing/2014/main" id="{15324C54-B75E-4AC0-90C2-FA558C7716F7}"/>
              </a:ext>
            </a:extLst>
          </p:cNvPr>
          <p:cNvSpPr/>
          <p:nvPr/>
        </p:nvSpPr>
        <p:spPr>
          <a:xfrm>
            <a:off x="489113" y="4021758"/>
            <a:ext cx="151568" cy="151647"/>
          </a:xfrm>
          <a:custGeom>
            <a:avLst/>
            <a:gdLst>
              <a:gd name="connsiteX0" fmla="*/ 8749 w 151647"/>
              <a:gd name="connsiteY0" fmla="*/ 8749 h 151647"/>
              <a:gd name="connsiteX1" fmla="*/ 151414 w 151647"/>
              <a:gd name="connsiteY1" fmla="*/ 8749 h 151647"/>
              <a:gd name="connsiteX2" fmla="*/ 151414 w 151647"/>
              <a:gd name="connsiteY2" fmla="*/ 151414 h 151647"/>
              <a:gd name="connsiteX3" fmla="*/ 8749 w 151647"/>
              <a:gd name="connsiteY3" fmla="*/ 151414 h 151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647" h="151647">
                <a:moveTo>
                  <a:pt x="8749" y="8749"/>
                </a:moveTo>
                <a:lnTo>
                  <a:pt x="151414" y="8749"/>
                </a:lnTo>
                <a:lnTo>
                  <a:pt x="151414" y="151414"/>
                </a:lnTo>
                <a:lnTo>
                  <a:pt x="8749" y="151414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 sz="1798" dirty="0"/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CAA95478-C099-485F-AD95-A617656C6C7C}"/>
              </a:ext>
            </a:extLst>
          </p:cNvPr>
          <p:cNvSpPr/>
          <p:nvPr/>
        </p:nvSpPr>
        <p:spPr>
          <a:xfrm>
            <a:off x="774294" y="4021758"/>
            <a:ext cx="151568" cy="151647"/>
          </a:xfrm>
          <a:custGeom>
            <a:avLst/>
            <a:gdLst>
              <a:gd name="connsiteX0" fmla="*/ 8749 w 151647"/>
              <a:gd name="connsiteY0" fmla="*/ 8749 h 151647"/>
              <a:gd name="connsiteX1" fmla="*/ 151414 w 151647"/>
              <a:gd name="connsiteY1" fmla="*/ 8749 h 151647"/>
              <a:gd name="connsiteX2" fmla="*/ 151414 w 151647"/>
              <a:gd name="connsiteY2" fmla="*/ 151414 h 151647"/>
              <a:gd name="connsiteX3" fmla="*/ 8749 w 151647"/>
              <a:gd name="connsiteY3" fmla="*/ 151414 h 151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647" h="151647">
                <a:moveTo>
                  <a:pt x="8749" y="8749"/>
                </a:moveTo>
                <a:lnTo>
                  <a:pt x="151414" y="8749"/>
                </a:lnTo>
                <a:lnTo>
                  <a:pt x="151414" y="151414"/>
                </a:lnTo>
                <a:lnTo>
                  <a:pt x="8749" y="151414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 sz="1798" dirty="0"/>
          </a:p>
        </p:txBody>
      </p: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D65680A1-86D1-44C2-AA38-0DF5735F1F26}"/>
              </a:ext>
            </a:extLst>
          </p:cNvPr>
          <p:cNvSpPr/>
          <p:nvPr/>
        </p:nvSpPr>
        <p:spPr>
          <a:xfrm>
            <a:off x="1059360" y="4021758"/>
            <a:ext cx="151568" cy="151647"/>
          </a:xfrm>
          <a:custGeom>
            <a:avLst/>
            <a:gdLst>
              <a:gd name="connsiteX0" fmla="*/ 8749 w 151647"/>
              <a:gd name="connsiteY0" fmla="*/ 8749 h 151647"/>
              <a:gd name="connsiteX1" fmla="*/ 151414 w 151647"/>
              <a:gd name="connsiteY1" fmla="*/ 8749 h 151647"/>
              <a:gd name="connsiteX2" fmla="*/ 151414 w 151647"/>
              <a:gd name="connsiteY2" fmla="*/ 151414 h 151647"/>
              <a:gd name="connsiteX3" fmla="*/ 8749 w 151647"/>
              <a:gd name="connsiteY3" fmla="*/ 151414 h 151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647" h="151647">
                <a:moveTo>
                  <a:pt x="8749" y="8749"/>
                </a:moveTo>
                <a:lnTo>
                  <a:pt x="151414" y="8749"/>
                </a:lnTo>
                <a:lnTo>
                  <a:pt x="151414" y="151414"/>
                </a:lnTo>
                <a:lnTo>
                  <a:pt x="8749" y="151414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 sz="1798" dirty="0"/>
          </a:p>
        </p:txBody>
      </p:sp>
      <p:grpSp>
        <p:nvGrpSpPr>
          <p:cNvPr id="76" name="Group 4">
            <a:extLst>
              <a:ext uri="{FF2B5EF4-FFF2-40B4-BE49-F238E27FC236}">
                <a16:creationId xmlns:a16="http://schemas.microsoft.com/office/drawing/2014/main" id="{9D60B6B0-F7ED-4B9F-A77C-632AC4EA661D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59392" y="4960938"/>
            <a:ext cx="1224912" cy="1435100"/>
            <a:chOff x="6529" y="3125"/>
            <a:chExt cx="772" cy="904"/>
          </a:xfrm>
        </p:grpSpPr>
        <p:sp>
          <p:nvSpPr>
            <p:cNvPr id="77" name="Freeform 5">
              <a:extLst>
                <a:ext uri="{FF2B5EF4-FFF2-40B4-BE49-F238E27FC236}">
                  <a16:creationId xmlns:a16="http://schemas.microsoft.com/office/drawing/2014/main" id="{CC1B45B9-64DF-4C5B-9711-FA69AD53707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/>
            </a:p>
          </p:txBody>
        </p:sp>
        <p:sp>
          <p:nvSpPr>
            <p:cNvPr id="78" name="Freeform 6">
              <a:extLst>
                <a:ext uri="{FF2B5EF4-FFF2-40B4-BE49-F238E27FC236}">
                  <a16:creationId xmlns:a16="http://schemas.microsoft.com/office/drawing/2014/main" id="{BA55CB73-EE25-43B6-9720-855E16C4B15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/>
            </a:p>
          </p:txBody>
        </p:sp>
      </p:grpSp>
    </p:spTree>
    <p:extLst>
      <p:ext uri="{BB962C8B-B14F-4D97-AF65-F5344CB8AC3E}">
        <p14:creationId xmlns:p14="http://schemas.microsoft.com/office/powerpoint/2010/main" val="323983130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2" y="294200"/>
            <a:ext cx="10972800" cy="590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Table Placeholder 4">
            <a:extLst>
              <a:ext uri="{FF2B5EF4-FFF2-40B4-BE49-F238E27FC236}">
                <a16:creationId xmlns:a16="http://schemas.microsoft.com/office/drawing/2014/main" id="{95A2BE92-ABF7-4A82-BC35-00F28F500FED}"/>
              </a:ext>
            </a:extLst>
          </p:cNvPr>
          <p:cNvSpPr>
            <a:spLocks noGrp="1"/>
          </p:cNvSpPr>
          <p:nvPr>
            <p:ph type="tbl" sz="quarter" idx="10"/>
          </p:nvPr>
        </p:nvSpPr>
        <p:spPr>
          <a:xfrm>
            <a:off x="609600" y="1137923"/>
            <a:ext cx="4954924" cy="4267457"/>
          </a:xfrm>
        </p:spPr>
        <p:txBody>
          <a:bodyPr/>
          <a:lstStyle/>
          <a:p>
            <a:endParaRPr lang="en-IN" dirty="0"/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DA81FCAA-64D2-4A9C-B16E-9C4E3BB431B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129749" y="3813288"/>
            <a:ext cx="3087667" cy="180000"/>
          </a:xfrm>
        </p:spPr>
        <p:txBody>
          <a:bodyPr/>
          <a:lstStyle>
            <a:lvl1pPr marL="0" indent="0">
              <a:buNone/>
              <a:defRPr sz="1198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Name Surname</a:t>
            </a:r>
            <a:endParaRPr lang="en-GB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03CDC117-35F2-47B2-85B2-29CB8EE7E09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129749" y="4055931"/>
            <a:ext cx="3087667" cy="180000"/>
          </a:xfrm>
        </p:spPr>
        <p:txBody>
          <a:bodyPr/>
          <a:lstStyle>
            <a:lvl1pPr marL="0" indent="0">
              <a:buNone/>
              <a:defRPr sz="1198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Job Title to go here</a:t>
            </a:r>
            <a:endParaRPr lang="en-GB"/>
          </a:p>
        </p:txBody>
      </p:sp>
      <p:sp>
        <p:nvSpPr>
          <p:cNvPr id="14" name="Picture Placeholder 19">
            <a:extLst>
              <a:ext uri="{FF2B5EF4-FFF2-40B4-BE49-F238E27FC236}">
                <a16:creationId xmlns:a16="http://schemas.microsoft.com/office/drawing/2014/main" id="{00A15EA9-2372-4E06-83C2-1E13AB1FA62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19821" y="3578084"/>
            <a:ext cx="778554" cy="778959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9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DB83DAE-9FEB-4E9C-85BA-A34BD239275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19821" y="1137923"/>
            <a:ext cx="5462580" cy="37380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Key Takeaways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C1ABE303-7041-4312-AD03-0E872AEF99B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119821" y="1635009"/>
            <a:ext cx="5462580" cy="1611554"/>
          </a:xfrm>
        </p:spPr>
        <p:txBody>
          <a:bodyPr/>
          <a:lstStyle>
            <a:lvl1pPr marL="0" indent="0">
              <a:buNone/>
              <a:defRPr sz="1598"/>
            </a:lvl1pPr>
          </a:lstStyle>
          <a:p>
            <a:pPr lvl="0"/>
            <a:r>
              <a:rPr lang="en-US"/>
              <a:t>Content EY Interstate Light, 16pt, Lorem ipsum dolor, 12pt, </a:t>
            </a:r>
            <a:r>
              <a:rPr lang="en-US" err="1"/>
              <a:t>Utinam</a:t>
            </a:r>
            <a:r>
              <a:rPr lang="en-US"/>
              <a:t>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abhorreant</a:t>
            </a:r>
            <a:r>
              <a:rPr lang="en-US"/>
              <a:t> </a:t>
            </a:r>
            <a:r>
              <a:rPr lang="en-US" err="1"/>
              <a:t>sead</a:t>
            </a:r>
            <a:r>
              <a:rPr lang="en-US"/>
              <a:t>. </a:t>
            </a:r>
            <a:r>
              <a:rPr lang="en-US" err="1"/>
              <a:t>Putant</a:t>
            </a:r>
            <a:r>
              <a:rPr lang="en-US"/>
              <a:t> </a:t>
            </a:r>
            <a:r>
              <a:rPr lang="en-US" err="1"/>
              <a:t>probatus</a:t>
            </a:r>
            <a:r>
              <a:rPr lang="en-US"/>
              <a:t> id vis, ad his </a:t>
            </a:r>
            <a:r>
              <a:rPr lang="en-US" err="1"/>
              <a:t>meis</a:t>
            </a:r>
            <a:r>
              <a:rPr lang="en-US"/>
              <a:t> </a:t>
            </a:r>
            <a:r>
              <a:rPr lang="en-US" err="1"/>
              <a:t>habemus</a:t>
            </a:r>
            <a:r>
              <a:rPr lang="en-US"/>
              <a:t> </a:t>
            </a:r>
            <a:r>
              <a:rPr lang="en-US" err="1"/>
              <a:t>repudiare</a:t>
            </a:r>
            <a:r>
              <a:rPr lang="en-US"/>
              <a:t>, has an </a:t>
            </a:r>
            <a:r>
              <a:rPr lang="en-US" err="1"/>
              <a:t>pericula</a:t>
            </a:r>
            <a:r>
              <a:rPr lang="en-US"/>
              <a:t> </a:t>
            </a:r>
            <a:r>
              <a:rPr lang="en-US" err="1"/>
              <a:t>tractatos</a:t>
            </a:r>
            <a:r>
              <a:rPr lang="en-US"/>
              <a:t>. </a:t>
            </a:r>
            <a:r>
              <a:rPr lang="en-US" err="1"/>
              <a:t>Nec</a:t>
            </a:r>
            <a:r>
              <a:rPr lang="en-US"/>
              <a:t> </a:t>
            </a:r>
            <a:r>
              <a:rPr lang="en-US" err="1"/>
              <a:t>debitis</a:t>
            </a:r>
            <a:r>
              <a:rPr lang="en-US"/>
              <a:t> </a:t>
            </a:r>
            <a:r>
              <a:rPr lang="en-US" err="1"/>
              <a:t>dissentias</a:t>
            </a:r>
            <a:r>
              <a:rPr lang="en-US"/>
              <a:t> ad. </a:t>
            </a:r>
            <a:r>
              <a:rPr lang="en-US" err="1"/>
              <a:t>Patrioque</a:t>
            </a:r>
            <a:r>
              <a:rPr lang="en-US"/>
              <a:t> </a:t>
            </a:r>
            <a:r>
              <a:rPr lang="en-US" err="1"/>
              <a:t>voluptatum</a:t>
            </a:r>
            <a:r>
              <a:rPr lang="en-US"/>
              <a:t> </a:t>
            </a:r>
            <a:r>
              <a:rPr lang="en-US" err="1"/>
              <a:t>sed</a:t>
            </a:r>
            <a:r>
              <a:rPr lang="en-US"/>
              <a:t> ex, id </a:t>
            </a:r>
            <a:r>
              <a:rPr lang="en-US" err="1"/>
              <a:t>admodum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20" name="Line 10">
            <a:extLst>
              <a:ext uri="{FF2B5EF4-FFF2-40B4-BE49-F238E27FC236}">
                <a16:creationId xmlns:a16="http://schemas.microsoft.com/office/drawing/2014/main" id="{B69EB865-6B86-419B-923C-F7DDC68C9C66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601" y="907750"/>
            <a:ext cx="10974284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8" noProof="0" dirty="0">
              <a:solidFill>
                <a:schemeClr val="bg1"/>
              </a:solidFill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A661012-3455-4F88-94AD-14869D2D5405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86AD1DFC-053D-4B86-B715-9C611EC38679}" type="datetime3">
              <a:rPr lang="en-US" smtClean="0"/>
              <a:t>5 August 2022</a:t>
            </a:fld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21FBA45-9D10-4CA1-B5FE-DF08BC4B79DE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IN" dirty="0"/>
              <a:t>Presentation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11C45D8-BA71-4A92-82B2-C059AF6B6702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245887435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2" y="294200"/>
            <a:ext cx="10972800" cy="590400"/>
          </a:xfrm>
        </p:spPr>
        <p:txBody>
          <a:bodyPr/>
          <a:lstStyle>
            <a:lvl1pPr>
              <a:defRPr sz="2398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2" name="Line 10">
            <a:extLst>
              <a:ext uri="{FF2B5EF4-FFF2-40B4-BE49-F238E27FC236}">
                <a16:creationId xmlns:a16="http://schemas.microsoft.com/office/drawing/2014/main" id="{DA9741B6-D337-4A18-8ECB-FB21A6953E44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601" y="907750"/>
            <a:ext cx="10974284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8" noProof="0" dirty="0">
              <a:solidFill>
                <a:schemeClr val="bg1"/>
              </a:solidFill>
            </a:endParaRP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90356C28-34FC-48BD-943E-82B485EB0C4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2" y="1137920"/>
            <a:ext cx="10972800" cy="49479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9369FE1-2141-4E78-8B01-84E57EEFE06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D63E5D-D4D4-47A0-B3D2-9C348E301267}" type="datetime3">
              <a:rPr lang="en-US" smtClean="0"/>
              <a:t>5 August 2022</a:t>
            </a:fld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14482B3-B946-42D6-98EA-72EE48EEB8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 dirty="0"/>
              <a:t>Presentation tit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72DD5AC-66F0-425C-A9DE-0484513193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847810986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80593A0-4211-460E-B6CF-FE2D9CE6D9C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194853" y="1"/>
            <a:ext cx="3997149" cy="6156104"/>
          </a:xfrm>
        </p:spPr>
        <p:txBody>
          <a:bodyPr/>
          <a:lstStyle/>
          <a:p>
            <a:endParaRPr lang="en-IN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94200"/>
            <a:ext cx="7440547" cy="590400"/>
          </a:xfrm>
        </p:spPr>
        <p:txBody>
          <a:bodyPr/>
          <a:lstStyle>
            <a:lvl1pPr>
              <a:defRPr sz="2398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09601" y="1137921"/>
            <a:ext cx="7295842" cy="873760"/>
          </a:xfrm>
        </p:spPr>
        <p:txBody>
          <a:bodyPr/>
          <a:lstStyle>
            <a:lvl1pPr marL="0" indent="0">
              <a:buNone/>
              <a:defRPr sz="1798">
                <a:solidFill>
                  <a:schemeClr val="bg1"/>
                </a:solidFill>
              </a:defRPr>
            </a:lvl1pPr>
            <a:lvl2pPr marL="356260" indent="0">
              <a:buNone/>
              <a:defRPr sz="1798">
                <a:solidFill>
                  <a:schemeClr val="bg1"/>
                </a:solidFill>
              </a:defRPr>
            </a:lvl2pPr>
            <a:lvl3pPr marL="712519" indent="0">
              <a:buNone/>
              <a:defRPr sz="1598">
                <a:solidFill>
                  <a:schemeClr val="bg1"/>
                </a:solidFill>
              </a:defRPr>
            </a:lvl3pPr>
            <a:lvl4pPr marL="1068778" indent="0">
              <a:buNone/>
              <a:defRPr sz="1398">
                <a:solidFill>
                  <a:schemeClr val="bg1"/>
                </a:solidFill>
              </a:defRPr>
            </a:lvl4pPr>
            <a:lvl5pPr marL="1425038" indent="0">
              <a:buNone/>
              <a:defRPr sz="1198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78D3272-120F-430D-AFB5-E93227EEEAAF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609602" y="2311401"/>
            <a:ext cx="3578253" cy="3844704"/>
          </a:xfrm>
        </p:spPr>
        <p:txBody>
          <a:bodyPr numCol="1"/>
          <a:lstStyle>
            <a:lvl1pPr marL="0" indent="0">
              <a:buNone/>
              <a:defRPr sz="1398">
                <a:solidFill>
                  <a:schemeClr val="bg1"/>
                </a:solidFill>
              </a:defRPr>
            </a:lvl1pPr>
            <a:lvl2pPr marL="356260" indent="0">
              <a:buNone/>
              <a:defRPr sz="1798">
                <a:solidFill>
                  <a:schemeClr val="bg1"/>
                </a:solidFill>
              </a:defRPr>
            </a:lvl2pPr>
            <a:lvl3pPr marL="712519" indent="0">
              <a:buNone/>
              <a:defRPr sz="1598">
                <a:solidFill>
                  <a:schemeClr val="bg1"/>
                </a:solidFill>
              </a:defRPr>
            </a:lvl3pPr>
            <a:lvl4pPr marL="1068778" indent="0">
              <a:buNone/>
              <a:defRPr sz="1398">
                <a:solidFill>
                  <a:schemeClr val="bg1"/>
                </a:solidFill>
              </a:defRPr>
            </a:lvl4pPr>
            <a:lvl5pPr marL="1425038" indent="0">
              <a:buNone/>
              <a:defRPr sz="1198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0C7BD71A-882B-40FB-A05F-48ECC69FF73D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4327191" y="2311404"/>
            <a:ext cx="3578253" cy="1254759"/>
          </a:xfrm>
        </p:spPr>
        <p:txBody>
          <a:bodyPr numCol="1"/>
          <a:lstStyle>
            <a:lvl1pPr marL="0" indent="0">
              <a:buNone/>
              <a:defRPr sz="1398">
                <a:solidFill>
                  <a:schemeClr val="bg1"/>
                </a:solidFill>
              </a:defRPr>
            </a:lvl1pPr>
            <a:lvl2pPr marL="356260" indent="0">
              <a:buNone/>
              <a:defRPr sz="1798">
                <a:solidFill>
                  <a:schemeClr val="bg1"/>
                </a:solidFill>
              </a:defRPr>
            </a:lvl2pPr>
            <a:lvl3pPr marL="712519" indent="0">
              <a:buNone/>
              <a:defRPr sz="1598">
                <a:solidFill>
                  <a:schemeClr val="bg1"/>
                </a:solidFill>
              </a:defRPr>
            </a:lvl3pPr>
            <a:lvl4pPr marL="1068778" indent="0">
              <a:buNone/>
              <a:defRPr sz="1398">
                <a:solidFill>
                  <a:schemeClr val="bg1"/>
                </a:solidFill>
              </a:defRPr>
            </a:lvl4pPr>
            <a:lvl5pPr marL="1425038" indent="0">
              <a:buNone/>
              <a:defRPr sz="1198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D87D58C8-1517-42AA-8B2A-E449A3F6F028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327191" y="4236721"/>
            <a:ext cx="3578253" cy="1944160"/>
          </a:xfrm>
        </p:spPr>
        <p:txBody>
          <a:bodyPr numCol="1"/>
          <a:lstStyle>
            <a:lvl1pPr marL="0" indent="0">
              <a:buNone/>
              <a:defRPr sz="1798">
                <a:solidFill>
                  <a:schemeClr val="bg1"/>
                </a:solidFill>
                <a:latin typeface="Georgia" panose="02040502050405020303" pitchFamily="18" charset="0"/>
              </a:defRPr>
            </a:lvl1pPr>
            <a:lvl2pPr marL="356260" indent="0">
              <a:buNone/>
              <a:defRPr sz="1798">
                <a:solidFill>
                  <a:schemeClr val="bg1"/>
                </a:solidFill>
              </a:defRPr>
            </a:lvl2pPr>
            <a:lvl3pPr marL="712519" indent="0">
              <a:buNone/>
              <a:defRPr sz="1598">
                <a:solidFill>
                  <a:schemeClr val="bg1"/>
                </a:solidFill>
              </a:defRPr>
            </a:lvl3pPr>
            <a:lvl4pPr marL="1068778" indent="0">
              <a:buNone/>
              <a:defRPr sz="1398">
                <a:solidFill>
                  <a:schemeClr val="bg1"/>
                </a:solidFill>
              </a:defRPr>
            </a:lvl4pPr>
            <a:lvl5pPr marL="1425038" indent="0">
              <a:buNone/>
              <a:defRPr sz="1198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Quote</a:t>
            </a:r>
          </a:p>
        </p:txBody>
      </p:sp>
      <p:sp>
        <p:nvSpPr>
          <p:cNvPr id="23" name="Line 10">
            <a:extLst>
              <a:ext uri="{FF2B5EF4-FFF2-40B4-BE49-F238E27FC236}">
                <a16:creationId xmlns:a16="http://schemas.microsoft.com/office/drawing/2014/main" id="{E820DC59-E206-4DC0-9012-584F8EBAF730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602" y="907750"/>
            <a:ext cx="7719833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8" noProof="0" dirty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073C7F4-1F66-48B4-8A7F-96C64986A204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0E49E8CE-5235-4494-B0FD-9ECC8206E96E}" type="datetime3">
              <a:rPr lang="en-US" smtClean="0"/>
              <a:t>5 August 2022</a:t>
            </a:fld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28F1198-1F5C-4C8B-A7E4-2658430FBCF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IN" dirty="0"/>
              <a:t>Presentation titl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6EA2D1B-5973-42E9-87B4-02C40C0EF1B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048973784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80593A0-4211-460E-B6CF-FE2D9CE6D9C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" y="3"/>
            <a:ext cx="2383219" cy="6857999"/>
          </a:xfrm>
        </p:spPr>
        <p:txBody>
          <a:bodyPr/>
          <a:lstStyle/>
          <a:p>
            <a:endParaRPr lang="en-IN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3891" y="294200"/>
            <a:ext cx="8887371" cy="590400"/>
          </a:xfrm>
        </p:spPr>
        <p:txBody>
          <a:bodyPr/>
          <a:lstStyle>
            <a:lvl1pPr>
              <a:defRPr sz="2398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693890" y="1137921"/>
            <a:ext cx="2741454" cy="5018184"/>
          </a:xfrm>
        </p:spPr>
        <p:txBody>
          <a:bodyPr/>
          <a:lstStyle>
            <a:lvl1pPr marL="0" indent="0">
              <a:buNone/>
              <a:defRPr sz="1798">
                <a:solidFill>
                  <a:schemeClr val="bg1"/>
                </a:solidFill>
              </a:defRPr>
            </a:lvl1pPr>
            <a:lvl2pPr marL="356260" indent="0">
              <a:buNone/>
              <a:defRPr sz="1798">
                <a:solidFill>
                  <a:schemeClr val="bg1"/>
                </a:solidFill>
              </a:defRPr>
            </a:lvl2pPr>
            <a:lvl3pPr marL="712519" indent="0">
              <a:buNone/>
              <a:defRPr sz="1598">
                <a:solidFill>
                  <a:schemeClr val="bg1"/>
                </a:solidFill>
              </a:defRPr>
            </a:lvl3pPr>
            <a:lvl4pPr marL="1068778" indent="0">
              <a:buNone/>
              <a:defRPr sz="1398">
                <a:solidFill>
                  <a:schemeClr val="bg1"/>
                </a:solidFill>
              </a:defRPr>
            </a:lvl4pPr>
            <a:lvl5pPr marL="1425038" indent="0">
              <a:buNone/>
              <a:defRPr sz="1198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78D3272-120F-430D-AFB5-E93227EEEAAF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5724102" y="1137921"/>
            <a:ext cx="2802382" cy="5018184"/>
          </a:xfrm>
        </p:spPr>
        <p:txBody>
          <a:bodyPr numCol="1"/>
          <a:lstStyle>
            <a:lvl1pPr marL="0" indent="0">
              <a:buNone/>
              <a:defRPr sz="1398">
                <a:solidFill>
                  <a:schemeClr val="bg1"/>
                </a:solidFill>
              </a:defRPr>
            </a:lvl1pPr>
            <a:lvl2pPr marL="356260" indent="0">
              <a:buNone/>
              <a:defRPr sz="1798">
                <a:solidFill>
                  <a:schemeClr val="bg1"/>
                </a:solidFill>
              </a:defRPr>
            </a:lvl2pPr>
            <a:lvl3pPr marL="712519" indent="0">
              <a:buNone/>
              <a:defRPr sz="1598">
                <a:solidFill>
                  <a:schemeClr val="bg1"/>
                </a:solidFill>
              </a:defRPr>
            </a:lvl3pPr>
            <a:lvl4pPr marL="1068778" indent="0">
              <a:buNone/>
              <a:defRPr sz="1398">
                <a:solidFill>
                  <a:schemeClr val="bg1"/>
                </a:solidFill>
              </a:defRPr>
            </a:lvl4pPr>
            <a:lvl5pPr marL="1425038" indent="0">
              <a:buNone/>
              <a:defRPr sz="1198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6FF4A6F8-D9C6-4FEE-9324-5200D308BB1F}"/>
              </a:ext>
            </a:extLst>
          </p:cNvPr>
          <p:cNvSpPr>
            <a:spLocks noGrp="1"/>
          </p:cNvSpPr>
          <p:nvPr userDrawn="1">
            <p:ph idx="12" hasCustomPrompt="1"/>
          </p:nvPr>
        </p:nvSpPr>
        <p:spPr>
          <a:xfrm>
            <a:off x="8815242" y="1137924"/>
            <a:ext cx="2767159" cy="2796151"/>
          </a:xfrm>
        </p:spPr>
        <p:txBody>
          <a:bodyPr numCol="1"/>
          <a:lstStyle>
            <a:lvl1pPr marL="0" indent="0">
              <a:buNone/>
              <a:defRPr sz="1398">
                <a:solidFill>
                  <a:schemeClr val="bg1"/>
                </a:solidFill>
              </a:defRPr>
            </a:lvl1pPr>
            <a:lvl2pPr marL="356260" indent="0">
              <a:buNone/>
              <a:defRPr sz="1798">
                <a:solidFill>
                  <a:schemeClr val="bg1"/>
                </a:solidFill>
              </a:defRPr>
            </a:lvl2pPr>
            <a:lvl3pPr marL="712519" indent="0">
              <a:buNone/>
              <a:defRPr sz="1598">
                <a:solidFill>
                  <a:schemeClr val="bg1"/>
                </a:solidFill>
              </a:defRPr>
            </a:lvl3pPr>
            <a:lvl4pPr marL="1068778" indent="0">
              <a:buNone/>
              <a:defRPr sz="1398">
                <a:solidFill>
                  <a:schemeClr val="bg1"/>
                </a:solidFill>
              </a:defRPr>
            </a:lvl4pPr>
            <a:lvl5pPr marL="1425038" indent="0">
              <a:buNone/>
              <a:defRPr sz="1198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9" name="Line 10">
            <a:extLst>
              <a:ext uri="{FF2B5EF4-FFF2-40B4-BE49-F238E27FC236}">
                <a16:creationId xmlns:a16="http://schemas.microsoft.com/office/drawing/2014/main" id="{B63A7CBA-3151-452E-BD2F-D3E65CE1595F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2693891" y="907750"/>
            <a:ext cx="8887371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8" noProof="0" dirty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18571DE-086F-444C-976E-D386CED54CF9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CFB1ADCF-7548-48F2-B4E3-18B2C0EE8460}" type="datetime3">
              <a:rPr lang="en-US" smtClean="0"/>
              <a:t>5 August 2022</a:t>
            </a:fld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5178D09-F6E9-4981-B6E0-209D099207E6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IN" dirty="0"/>
              <a:t>Presentation titl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AE170B6-45D3-4E0A-A799-1F973EAAC5E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514925047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11">
            <a:extLst>
              <a:ext uri="{FF2B5EF4-FFF2-40B4-BE49-F238E27FC236}">
                <a16:creationId xmlns:a16="http://schemas.microsoft.com/office/drawing/2014/main" id="{8F291EB0-15F5-4E9A-A38B-CE3AC1452E21}"/>
              </a:ext>
            </a:extLst>
          </p:cNvPr>
          <p:cNvSpPr txBox="1">
            <a:spLocks/>
          </p:cNvSpPr>
          <p:nvPr userDrawn="1"/>
        </p:nvSpPr>
        <p:spPr>
          <a:xfrm>
            <a:off x="477102" y="1488927"/>
            <a:ext cx="2337171" cy="858838"/>
          </a:xfrm>
          <a:prstGeom prst="rect">
            <a:avLst/>
          </a:prstGeom>
        </p:spPr>
        <p:txBody>
          <a:bodyPr/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11188" dirty="0">
                <a:solidFill>
                  <a:schemeClr val="tx2"/>
                </a:solidFill>
                <a:latin typeface="Georgia" panose="02040502050405020303" pitchFamily="18" charset="0"/>
              </a:rPr>
              <a:t>“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B5D2AC0-B4F7-4455-9AE0-201966050A6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13084" y="2526765"/>
            <a:ext cx="5289245" cy="1800000"/>
          </a:xfrm>
        </p:spPr>
        <p:txBody>
          <a:bodyPr lIns="90000" tIns="46800" rIns="90000" bIns="46800"/>
          <a:lstStyle>
            <a:lvl1pPr marL="0" indent="0">
              <a:buNone/>
              <a:defRPr lang="en-US" sz="2798" dirty="0" smtClean="0">
                <a:latin typeface="Georgia" panose="02040502050405020303" pitchFamily="18" charset="0"/>
              </a:defRPr>
            </a:lvl1pPr>
          </a:lstStyle>
          <a:p>
            <a:pPr marL="356260" lvl="0" indent="-356260">
              <a:spcBef>
                <a:spcPts val="0"/>
              </a:spcBef>
            </a:pPr>
            <a:r>
              <a:rPr lang="en-US"/>
              <a:t>Edit Master text styles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F1BA83A2-78F0-4F7E-836B-9B4B87820F9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3084" y="4632765"/>
            <a:ext cx="5289245" cy="316838"/>
          </a:xfrm>
        </p:spPr>
        <p:txBody>
          <a:bodyPr lIns="90000" tIns="46800" rIns="90000" bIns="46800"/>
          <a:lstStyle>
            <a:lvl1pPr marL="0" indent="0" algn="l" defTabSz="913486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70000"/>
              <a:buFont typeface="Arial" pitchFamily="34" charset="0"/>
              <a:buNone/>
              <a:defRPr lang="en-US" sz="1598" kern="1200" dirty="0" smtClean="0">
                <a:solidFill>
                  <a:srgbClr val="2E2E38"/>
                </a:solidFill>
                <a:latin typeface="+mn-lt"/>
                <a:ea typeface="+mn-ea"/>
                <a:cs typeface="+mn-cs"/>
              </a:defRPr>
            </a:lvl1pPr>
            <a:lvl2pPr marL="356260" indent="0">
              <a:buNone/>
              <a:defRPr lang="en-US" sz="1998" smtClean="0">
                <a:latin typeface="+mn-lt"/>
              </a:defRPr>
            </a:lvl2pPr>
            <a:lvl3pPr>
              <a:defRPr lang="en-US" sz="1798" smtClean="0">
                <a:latin typeface="+mn-lt"/>
              </a:defRPr>
            </a:lvl3pPr>
            <a:lvl4pPr>
              <a:defRPr lang="en-US" sz="1598" smtClean="0">
                <a:latin typeface="+mn-lt"/>
              </a:defRPr>
            </a:lvl4pPr>
            <a:lvl5pPr>
              <a:defRPr lang="en-IN" sz="1598">
                <a:latin typeface="+mn-lt"/>
              </a:defRPr>
            </a:lvl5pPr>
          </a:lstStyle>
          <a:p>
            <a:pPr marL="0" lvl="0" indent="0">
              <a:spcBef>
                <a:spcPts val="0"/>
              </a:spcBef>
              <a:buNone/>
            </a:pPr>
            <a:r>
              <a:rPr lang="en-US"/>
              <a:t>Name Surname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034CE9DD-CE12-4D9F-8FD6-A2522F36C8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13084" y="4971442"/>
            <a:ext cx="5289245" cy="316838"/>
          </a:xfrm>
        </p:spPr>
        <p:txBody>
          <a:bodyPr lIns="90000" tIns="46800" rIns="90000" bIns="46800"/>
          <a:lstStyle>
            <a:lvl1pPr marL="0" indent="0" algn="l" defTabSz="913486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70000"/>
              <a:buFont typeface="Arial" pitchFamily="34" charset="0"/>
              <a:buNone/>
              <a:defRPr lang="en-US" sz="1598" kern="1200" dirty="0" smtClean="0">
                <a:solidFill>
                  <a:srgbClr val="2E2E38"/>
                </a:solidFill>
                <a:latin typeface="+mn-lt"/>
                <a:ea typeface="+mn-ea"/>
                <a:cs typeface="+mn-cs"/>
              </a:defRPr>
            </a:lvl1pPr>
            <a:lvl2pPr marL="356260" indent="0">
              <a:buNone/>
              <a:defRPr lang="en-US" sz="1998" smtClean="0">
                <a:latin typeface="+mn-lt"/>
              </a:defRPr>
            </a:lvl2pPr>
            <a:lvl3pPr>
              <a:defRPr lang="en-US" sz="1798" smtClean="0">
                <a:latin typeface="+mn-lt"/>
              </a:defRPr>
            </a:lvl3pPr>
            <a:lvl4pPr>
              <a:defRPr lang="en-US" sz="1598" smtClean="0">
                <a:latin typeface="+mn-lt"/>
              </a:defRPr>
            </a:lvl4pPr>
            <a:lvl5pPr>
              <a:defRPr lang="en-IN" sz="1598">
                <a:latin typeface="+mn-lt"/>
              </a:defRPr>
            </a:lvl5pPr>
          </a:lstStyle>
          <a:p>
            <a:pPr marL="0" lvl="0" indent="0">
              <a:spcBef>
                <a:spcPts val="0"/>
              </a:spcBef>
              <a:buNone/>
            </a:pPr>
            <a:r>
              <a:rPr lang="en-US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3447032299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E28D7EA5-A532-4D8B-9984-8F3D1FEA98D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451378" y="2060235"/>
            <a:ext cx="5289245" cy="3025522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lang="en-US" sz="2798" dirty="0" smtClean="0">
                <a:latin typeface="Georgia" panose="02040502050405020303" pitchFamily="18" charset="0"/>
              </a:defRPr>
            </a:lvl1pPr>
          </a:lstStyle>
          <a:p>
            <a:pPr marL="356260" lvl="0" indent="-356260" algn="ctr">
              <a:spcBef>
                <a:spcPts val="0"/>
              </a:spcBef>
            </a:pPr>
            <a:r>
              <a:rPr lang="en-US"/>
              <a:t>Edit Master text styles</a:t>
            </a:r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9F9B9C3C-16F2-40B2-A460-0480520ECF8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451378" y="5506678"/>
            <a:ext cx="5289245" cy="316838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lang="en-US" sz="1598" dirty="0" smtClean="0">
                <a:solidFill>
                  <a:srgbClr val="2E2E38"/>
                </a:solidFill>
                <a:latin typeface="+mn-lt"/>
              </a:defRPr>
            </a:lvl1pPr>
          </a:lstStyle>
          <a:p>
            <a:pPr marL="356260" lvl="0" indent="-356260" algn="ctr">
              <a:spcBef>
                <a:spcPts val="0"/>
              </a:spcBef>
              <a:spcAft>
                <a:spcPts val="600"/>
              </a:spcAft>
            </a:pPr>
            <a:r>
              <a:rPr lang="en-US"/>
              <a:t>Name Surname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8E04541C-CC5D-4455-8271-73223AE0A88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451378" y="5818717"/>
            <a:ext cx="5289245" cy="316838"/>
          </a:xfrm>
        </p:spPr>
        <p:txBody>
          <a:bodyPr vert="horz" lIns="0" tIns="0" rIns="0" bIns="0" rtlCol="0" anchor="t" anchorCtr="0">
            <a:noAutofit/>
          </a:bodyPr>
          <a:lstStyle>
            <a:lvl1pPr marL="0" indent="0" algn="ctr">
              <a:buNone/>
              <a:defRPr lang="en-US" sz="1598" dirty="0" smtClean="0">
                <a:solidFill>
                  <a:srgbClr val="2E2E38"/>
                </a:solidFill>
                <a:latin typeface="+mn-lt"/>
              </a:defRPr>
            </a:lvl1pPr>
          </a:lstStyle>
          <a:p>
            <a:pPr marL="356260" lvl="0" indent="-356260" algn="ctr">
              <a:spcBef>
                <a:spcPts val="0"/>
              </a:spcBef>
              <a:spcAft>
                <a:spcPts val="600"/>
              </a:spcAft>
            </a:pPr>
            <a:r>
              <a:rPr lang="en-US"/>
              <a:t>Job Title</a:t>
            </a:r>
          </a:p>
        </p:txBody>
      </p:sp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FBD672D3-B116-471A-8511-D80D5D920D93}"/>
              </a:ext>
            </a:extLst>
          </p:cNvPr>
          <p:cNvSpPr txBox="1">
            <a:spLocks/>
          </p:cNvSpPr>
          <p:nvPr userDrawn="1"/>
        </p:nvSpPr>
        <p:spPr>
          <a:xfrm>
            <a:off x="4927415" y="979790"/>
            <a:ext cx="2337171" cy="8826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GB" sz="11188" dirty="0">
                <a:solidFill>
                  <a:schemeClr val="tx2"/>
                </a:solidFill>
                <a:latin typeface="Georgia" panose="02040502050405020303" pitchFamily="18" charset="0"/>
              </a:rPr>
              <a:t>“ </a:t>
            </a:r>
          </a:p>
        </p:txBody>
      </p:sp>
    </p:spTree>
    <p:extLst>
      <p:ext uri="{BB962C8B-B14F-4D97-AF65-F5344CB8AC3E}">
        <p14:creationId xmlns:p14="http://schemas.microsoft.com/office/powerpoint/2010/main" val="1598154596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84923155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ivi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2D9F631-BCA2-47E9-B382-A1254CE498E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6D9080-1DFC-4303-893C-6B8A3FEC05E8}" type="datetime3">
              <a:rPr lang="en-US" smtClean="0"/>
              <a:t>5 August 2022</a:t>
            </a:fld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C1D1872-1F65-44DE-8D43-3328C27B587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 dirty="0"/>
              <a:t>Presentation tit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06C50CF-7368-4D25-B2B5-360BA59E76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5840721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7.xml"/><Relationship Id="rId13" Type="http://schemas.openxmlformats.org/officeDocument/2006/relationships/slideLayout" Target="../slideLayouts/slideLayout42.xml"/><Relationship Id="rId18" Type="http://schemas.openxmlformats.org/officeDocument/2006/relationships/slideLayout" Target="../slideLayouts/slideLayout47.xml"/><Relationship Id="rId26" Type="http://schemas.openxmlformats.org/officeDocument/2006/relationships/slideLayout" Target="../slideLayouts/slideLayout55.xml"/><Relationship Id="rId3" Type="http://schemas.openxmlformats.org/officeDocument/2006/relationships/slideLayout" Target="../slideLayouts/slideLayout32.xml"/><Relationship Id="rId21" Type="http://schemas.openxmlformats.org/officeDocument/2006/relationships/slideLayout" Target="../slideLayouts/slideLayout50.xml"/><Relationship Id="rId7" Type="http://schemas.openxmlformats.org/officeDocument/2006/relationships/slideLayout" Target="../slideLayouts/slideLayout36.xml"/><Relationship Id="rId12" Type="http://schemas.openxmlformats.org/officeDocument/2006/relationships/slideLayout" Target="../slideLayouts/slideLayout41.xml"/><Relationship Id="rId17" Type="http://schemas.openxmlformats.org/officeDocument/2006/relationships/slideLayout" Target="../slideLayouts/slideLayout46.xml"/><Relationship Id="rId25" Type="http://schemas.openxmlformats.org/officeDocument/2006/relationships/slideLayout" Target="../slideLayouts/slideLayout54.xml"/><Relationship Id="rId33" Type="http://schemas.openxmlformats.org/officeDocument/2006/relationships/theme" Target="../theme/theme2.xml"/><Relationship Id="rId2" Type="http://schemas.openxmlformats.org/officeDocument/2006/relationships/slideLayout" Target="../slideLayouts/slideLayout31.xml"/><Relationship Id="rId16" Type="http://schemas.openxmlformats.org/officeDocument/2006/relationships/slideLayout" Target="../slideLayouts/slideLayout45.xml"/><Relationship Id="rId20" Type="http://schemas.openxmlformats.org/officeDocument/2006/relationships/slideLayout" Target="../slideLayouts/slideLayout49.xml"/><Relationship Id="rId29" Type="http://schemas.openxmlformats.org/officeDocument/2006/relationships/slideLayout" Target="../slideLayouts/slideLayout58.xml"/><Relationship Id="rId1" Type="http://schemas.openxmlformats.org/officeDocument/2006/relationships/slideLayout" Target="../slideLayouts/slideLayout30.xml"/><Relationship Id="rId6" Type="http://schemas.openxmlformats.org/officeDocument/2006/relationships/slideLayout" Target="../slideLayouts/slideLayout35.xml"/><Relationship Id="rId11" Type="http://schemas.openxmlformats.org/officeDocument/2006/relationships/slideLayout" Target="../slideLayouts/slideLayout40.xml"/><Relationship Id="rId24" Type="http://schemas.openxmlformats.org/officeDocument/2006/relationships/slideLayout" Target="../slideLayouts/slideLayout53.xml"/><Relationship Id="rId32" Type="http://schemas.openxmlformats.org/officeDocument/2006/relationships/slideLayout" Target="../slideLayouts/slideLayout61.xml"/><Relationship Id="rId5" Type="http://schemas.openxmlformats.org/officeDocument/2006/relationships/slideLayout" Target="../slideLayouts/slideLayout34.xml"/><Relationship Id="rId15" Type="http://schemas.openxmlformats.org/officeDocument/2006/relationships/slideLayout" Target="../slideLayouts/slideLayout44.xml"/><Relationship Id="rId23" Type="http://schemas.openxmlformats.org/officeDocument/2006/relationships/slideLayout" Target="../slideLayouts/slideLayout52.xml"/><Relationship Id="rId28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39.xml"/><Relationship Id="rId19" Type="http://schemas.openxmlformats.org/officeDocument/2006/relationships/slideLayout" Target="../slideLayouts/slideLayout48.xml"/><Relationship Id="rId31" Type="http://schemas.openxmlformats.org/officeDocument/2006/relationships/slideLayout" Target="../slideLayouts/slideLayout60.xml"/><Relationship Id="rId4" Type="http://schemas.openxmlformats.org/officeDocument/2006/relationships/slideLayout" Target="../slideLayouts/slideLayout33.xml"/><Relationship Id="rId9" Type="http://schemas.openxmlformats.org/officeDocument/2006/relationships/slideLayout" Target="../slideLayouts/slideLayout38.xml"/><Relationship Id="rId14" Type="http://schemas.openxmlformats.org/officeDocument/2006/relationships/slideLayout" Target="../slideLayouts/slideLayout43.xml"/><Relationship Id="rId22" Type="http://schemas.openxmlformats.org/officeDocument/2006/relationships/slideLayout" Target="../slideLayouts/slideLayout51.xml"/><Relationship Id="rId27" Type="http://schemas.openxmlformats.org/officeDocument/2006/relationships/slideLayout" Target="../slideLayouts/slideLayout56.xml"/><Relationship Id="rId30" Type="http://schemas.openxmlformats.org/officeDocument/2006/relationships/slideLayout" Target="../slideLayouts/slideLayout59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74.xml"/><Relationship Id="rId18" Type="http://schemas.openxmlformats.org/officeDocument/2006/relationships/slideLayout" Target="../slideLayouts/slideLayout79.xml"/><Relationship Id="rId26" Type="http://schemas.openxmlformats.org/officeDocument/2006/relationships/slideLayout" Target="../slideLayouts/slideLayout87.xml"/><Relationship Id="rId39" Type="http://schemas.openxmlformats.org/officeDocument/2006/relationships/slideLayout" Target="../slideLayouts/slideLayout100.xml"/><Relationship Id="rId3" Type="http://schemas.openxmlformats.org/officeDocument/2006/relationships/slideLayout" Target="../slideLayouts/slideLayout64.xml"/><Relationship Id="rId21" Type="http://schemas.openxmlformats.org/officeDocument/2006/relationships/slideLayout" Target="../slideLayouts/slideLayout82.xml"/><Relationship Id="rId34" Type="http://schemas.openxmlformats.org/officeDocument/2006/relationships/slideLayout" Target="../slideLayouts/slideLayout95.xml"/><Relationship Id="rId42" Type="http://schemas.openxmlformats.org/officeDocument/2006/relationships/slideLayout" Target="../slideLayouts/slideLayout103.xml"/><Relationship Id="rId47" Type="http://schemas.openxmlformats.org/officeDocument/2006/relationships/slideLayout" Target="../slideLayouts/slideLayout108.xml"/><Relationship Id="rId50" Type="http://schemas.openxmlformats.org/officeDocument/2006/relationships/tags" Target="../tags/tag2.xml"/><Relationship Id="rId7" Type="http://schemas.openxmlformats.org/officeDocument/2006/relationships/slideLayout" Target="../slideLayouts/slideLayout68.xml"/><Relationship Id="rId12" Type="http://schemas.openxmlformats.org/officeDocument/2006/relationships/slideLayout" Target="../slideLayouts/slideLayout73.xml"/><Relationship Id="rId17" Type="http://schemas.openxmlformats.org/officeDocument/2006/relationships/slideLayout" Target="../slideLayouts/slideLayout78.xml"/><Relationship Id="rId25" Type="http://schemas.openxmlformats.org/officeDocument/2006/relationships/slideLayout" Target="../slideLayouts/slideLayout86.xml"/><Relationship Id="rId33" Type="http://schemas.openxmlformats.org/officeDocument/2006/relationships/slideLayout" Target="../slideLayouts/slideLayout94.xml"/><Relationship Id="rId38" Type="http://schemas.openxmlformats.org/officeDocument/2006/relationships/slideLayout" Target="../slideLayouts/slideLayout99.xml"/><Relationship Id="rId46" Type="http://schemas.openxmlformats.org/officeDocument/2006/relationships/slideLayout" Target="../slideLayouts/slideLayout107.xml"/><Relationship Id="rId2" Type="http://schemas.openxmlformats.org/officeDocument/2006/relationships/slideLayout" Target="../slideLayouts/slideLayout63.xml"/><Relationship Id="rId16" Type="http://schemas.openxmlformats.org/officeDocument/2006/relationships/slideLayout" Target="../slideLayouts/slideLayout77.xml"/><Relationship Id="rId20" Type="http://schemas.openxmlformats.org/officeDocument/2006/relationships/slideLayout" Target="../slideLayouts/slideLayout81.xml"/><Relationship Id="rId29" Type="http://schemas.openxmlformats.org/officeDocument/2006/relationships/slideLayout" Target="../slideLayouts/slideLayout90.xml"/><Relationship Id="rId41" Type="http://schemas.openxmlformats.org/officeDocument/2006/relationships/slideLayout" Target="../slideLayouts/slideLayout102.xml"/><Relationship Id="rId1" Type="http://schemas.openxmlformats.org/officeDocument/2006/relationships/slideLayout" Target="../slideLayouts/slideLayout62.xml"/><Relationship Id="rId6" Type="http://schemas.openxmlformats.org/officeDocument/2006/relationships/slideLayout" Target="../slideLayouts/slideLayout67.xml"/><Relationship Id="rId11" Type="http://schemas.openxmlformats.org/officeDocument/2006/relationships/slideLayout" Target="../slideLayouts/slideLayout72.xml"/><Relationship Id="rId24" Type="http://schemas.openxmlformats.org/officeDocument/2006/relationships/slideLayout" Target="../slideLayouts/slideLayout85.xml"/><Relationship Id="rId32" Type="http://schemas.openxmlformats.org/officeDocument/2006/relationships/slideLayout" Target="../slideLayouts/slideLayout93.xml"/><Relationship Id="rId37" Type="http://schemas.openxmlformats.org/officeDocument/2006/relationships/slideLayout" Target="../slideLayouts/slideLayout98.xml"/><Relationship Id="rId40" Type="http://schemas.openxmlformats.org/officeDocument/2006/relationships/slideLayout" Target="../slideLayouts/slideLayout101.xml"/><Relationship Id="rId45" Type="http://schemas.openxmlformats.org/officeDocument/2006/relationships/slideLayout" Target="../slideLayouts/slideLayout106.xml"/><Relationship Id="rId5" Type="http://schemas.openxmlformats.org/officeDocument/2006/relationships/slideLayout" Target="../slideLayouts/slideLayout66.xml"/><Relationship Id="rId15" Type="http://schemas.openxmlformats.org/officeDocument/2006/relationships/slideLayout" Target="../slideLayouts/slideLayout76.xml"/><Relationship Id="rId23" Type="http://schemas.openxmlformats.org/officeDocument/2006/relationships/slideLayout" Target="../slideLayouts/slideLayout84.xml"/><Relationship Id="rId28" Type="http://schemas.openxmlformats.org/officeDocument/2006/relationships/slideLayout" Target="../slideLayouts/slideLayout89.xml"/><Relationship Id="rId36" Type="http://schemas.openxmlformats.org/officeDocument/2006/relationships/slideLayout" Target="../slideLayouts/slideLayout97.xml"/><Relationship Id="rId49" Type="http://schemas.openxmlformats.org/officeDocument/2006/relationships/tags" Target="../tags/tag1.xml"/><Relationship Id="rId10" Type="http://schemas.openxmlformats.org/officeDocument/2006/relationships/slideLayout" Target="../slideLayouts/slideLayout71.xml"/><Relationship Id="rId19" Type="http://schemas.openxmlformats.org/officeDocument/2006/relationships/slideLayout" Target="../slideLayouts/slideLayout80.xml"/><Relationship Id="rId31" Type="http://schemas.openxmlformats.org/officeDocument/2006/relationships/slideLayout" Target="../slideLayouts/slideLayout92.xml"/><Relationship Id="rId44" Type="http://schemas.openxmlformats.org/officeDocument/2006/relationships/slideLayout" Target="../slideLayouts/slideLayout105.xml"/><Relationship Id="rId52" Type="http://schemas.openxmlformats.org/officeDocument/2006/relationships/image" Target="../media/image8.emf"/><Relationship Id="rId4" Type="http://schemas.openxmlformats.org/officeDocument/2006/relationships/slideLayout" Target="../slideLayouts/slideLayout65.xml"/><Relationship Id="rId9" Type="http://schemas.openxmlformats.org/officeDocument/2006/relationships/slideLayout" Target="../slideLayouts/slideLayout70.xml"/><Relationship Id="rId14" Type="http://schemas.openxmlformats.org/officeDocument/2006/relationships/slideLayout" Target="../slideLayouts/slideLayout75.xml"/><Relationship Id="rId22" Type="http://schemas.openxmlformats.org/officeDocument/2006/relationships/slideLayout" Target="../slideLayouts/slideLayout83.xml"/><Relationship Id="rId27" Type="http://schemas.openxmlformats.org/officeDocument/2006/relationships/slideLayout" Target="../slideLayouts/slideLayout88.xml"/><Relationship Id="rId30" Type="http://schemas.openxmlformats.org/officeDocument/2006/relationships/slideLayout" Target="../slideLayouts/slideLayout91.xml"/><Relationship Id="rId35" Type="http://schemas.openxmlformats.org/officeDocument/2006/relationships/slideLayout" Target="../slideLayouts/slideLayout96.xml"/><Relationship Id="rId43" Type="http://schemas.openxmlformats.org/officeDocument/2006/relationships/slideLayout" Target="../slideLayouts/slideLayout104.xml"/><Relationship Id="rId48" Type="http://schemas.openxmlformats.org/officeDocument/2006/relationships/theme" Target="../theme/theme3.xml"/><Relationship Id="rId8" Type="http://schemas.openxmlformats.org/officeDocument/2006/relationships/slideLayout" Target="../slideLayouts/slideLayout69.xml"/><Relationship Id="rId51" Type="http://schemas.openxmlformats.org/officeDocument/2006/relationships/oleObject" Target="../embeddings/oleObject1.bin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21.xml"/><Relationship Id="rId18" Type="http://schemas.openxmlformats.org/officeDocument/2006/relationships/slideLayout" Target="../slideLayouts/slideLayout126.xml"/><Relationship Id="rId26" Type="http://schemas.openxmlformats.org/officeDocument/2006/relationships/slideLayout" Target="../slideLayouts/slideLayout134.xml"/><Relationship Id="rId39" Type="http://schemas.openxmlformats.org/officeDocument/2006/relationships/slideLayout" Target="../slideLayouts/slideLayout147.xml"/><Relationship Id="rId3" Type="http://schemas.openxmlformats.org/officeDocument/2006/relationships/slideLayout" Target="../slideLayouts/slideLayout111.xml"/><Relationship Id="rId21" Type="http://schemas.openxmlformats.org/officeDocument/2006/relationships/slideLayout" Target="../slideLayouts/slideLayout129.xml"/><Relationship Id="rId34" Type="http://schemas.openxmlformats.org/officeDocument/2006/relationships/slideLayout" Target="../slideLayouts/slideLayout142.xml"/><Relationship Id="rId42" Type="http://schemas.openxmlformats.org/officeDocument/2006/relationships/slideLayout" Target="../slideLayouts/slideLayout150.xml"/><Relationship Id="rId47" Type="http://schemas.openxmlformats.org/officeDocument/2006/relationships/slideLayout" Target="../slideLayouts/slideLayout155.xml"/><Relationship Id="rId50" Type="http://schemas.openxmlformats.org/officeDocument/2006/relationships/tags" Target="../tags/tag4.xml"/><Relationship Id="rId7" Type="http://schemas.openxmlformats.org/officeDocument/2006/relationships/slideLayout" Target="../slideLayouts/slideLayout115.xml"/><Relationship Id="rId12" Type="http://schemas.openxmlformats.org/officeDocument/2006/relationships/slideLayout" Target="../slideLayouts/slideLayout120.xml"/><Relationship Id="rId17" Type="http://schemas.openxmlformats.org/officeDocument/2006/relationships/slideLayout" Target="../slideLayouts/slideLayout125.xml"/><Relationship Id="rId25" Type="http://schemas.openxmlformats.org/officeDocument/2006/relationships/slideLayout" Target="../slideLayouts/slideLayout133.xml"/><Relationship Id="rId33" Type="http://schemas.openxmlformats.org/officeDocument/2006/relationships/slideLayout" Target="../slideLayouts/slideLayout141.xml"/><Relationship Id="rId38" Type="http://schemas.openxmlformats.org/officeDocument/2006/relationships/slideLayout" Target="../slideLayouts/slideLayout146.xml"/><Relationship Id="rId46" Type="http://schemas.openxmlformats.org/officeDocument/2006/relationships/slideLayout" Target="../slideLayouts/slideLayout154.xml"/><Relationship Id="rId2" Type="http://schemas.openxmlformats.org/officeDocument/2006/relationships/slideLayout" Target="../slideLayouts/slideLayout110.xml"/><Relationship Id="rId16" Type="http://schemas.openxmlformats.org/officeDocument/2006/relationships/slideLayout" Target="../slideLayouts/slideLayout124.xml"/><Relationship Id="rId20" Type="http://schemas.openxmlformats.org/officeDocument/2006/relationships/slideLayout" Target="../slideLayouts/slideLayout128.xml"/><Relationship Id="rId29" Type="http://schemas.openxmlformats.org/officeDocument/2006/relationships/slideLayout" Target="../slideLayouts/slideLayout137.xml"/><Relationship Id="rId41" Type="http://schemas.openxmlformats.org/officeDocument/2006/relationships/slideLayout" Target="../slideLayouts/slideLayout149.xml"/><Relationship Id="rId1" Type="http://schemas.openxmlformats.org/officeDocument/2006/relationships/slideLayout" Target="../slideLayouts/slideLayout109.xml"/><Relationship Id="rId6" Type="http://schemas.openxmlformats.org/officeDocument/2006/relationships/slideLayout" Target="../slideLayouts/slideLayout114.xml"/><Relationship Id="rId11" Type="http://schemas.openxmlformats.org/officeDocument/2006/relationships/slideLayout" Target="../slideLayouts/slideLayout119.xml"/><Relationship Id="rId24" Type="http://schemas.openxmlformats.org/officeDocument/2006/relationships/slideLayout" Target="../slideLayouts/slideLayout132.xml"/><Relationship Id="rId32" Type="http://schemas.openxmlformats.org/officeDocument/2006/relationships/slideLayout" Target="../slideLayouts/slideLayout140.xml"/><Relationship Id="rId37" Type="http://schemas.openxmlformats.org/officeDocument/2006/relationships/slideLayout" Target="../slideLayouts/slideLayout145.xml"/><Relationship Id="rId40" Type="http://schemas.openxmlformats.org/officeDocument/2006/relationships/slideLayout" Target="../slideLayouts/slideLayout148.xml"/><Relationship Id="rId45" Type="http://schemas.openxmlformats.org/officeDocument/2006/relationships/slideLayout" Target="../slideLayouts/slideLayout153.xml"/><Relationship Id="rId5" Type="http://schemas.openxmlformats.org/officeDocument/2006/relationships/slideLayout" Target="../slideLayouts/slideLayout113.xml"/><Relationship Id="rId15" Type="http://schemas.openxmlformats.org/officeDocument/2006/relationships/slideLayout" Target="../slideLayouts/slideLayout123.xml"/><Relationship Id="rId23" Type="http://schemas.openxmlformats.org/officeDocument/2006/relationships/slideLayout" Target="../slideLayouts/slideLayout131.xml"/><Relationship Id="rId28" Type="http://schemas.openxmlformats.org/officeDocument/2006/relationships/slideLayout" Target="../slideLayouts/slideLayout136.xml"/><Relationship Id="rId36" Type="http://schemas.openxmlformats.org/officeDocument/2006/relationships/slideLayout" Target="../slideLayouts/slideLayout144.xml"/><Relationship Id="rId49" Type="http://schemas.openxmlformats.org/officeDocument/2006/relationships/tags" Target="../tags/tag3.xml"/><Relationship Id="rId10" Type="http://schemas.openxmlformats.org/officeDocument/2006/relationships/slideLayout" Target="../slideLayouts/slideLayout118.xml"/><Relationship Id="rId19" Type="http://schemas.openxmlformats.org/officeDocument/2006/relationships/slideLayout" Target="../slideLayouts/slideLayout127.xml"/><Relationship Id="rId31" Type="http://schemas.openxmlformats.org/officeDocument/2006/relationships/slideLayout" Target="../slideLayouts/slideLayout139.xml"/><Relationship Id="rId44" Type="http://schemas.openxmlformats.org/officeDocument/2006/relationships/slideLayout" Target="../slideLayouts/slideLayout152.xml"/><Relationship Id="rId52" Type="http://schemas.openxmlformats.org/officeDocument/2006/relationships/image" Target="../media/image8.emf"/><Relationship Id="rId4" Type="http://schemas.openxmlformats.org/officeDocument/2006/relationships/slideLayout" Target="../slideLayouts/slideLayout112.xml"/><Relationship Id="rId9" Type="http://schemas.openxmlformats.org/officeDocument/2006/relationships/slideLayout" Target="../slideLayouts/slideLayout117.xml"/><Relationship Id="rId14" Type="http://schemas.openxmlformats.org/officeDocument/2006/relationships/slideLayout" Target="../slideLayouts/slideLayout122.xml"/><Relationship Id="rId22" Type="http://schemas.openxmlformats.org/officeDocument/2006/relationships/slideLayout" Target="../slideLayouts/slideLayout130.xml"/><Relationship Id="rId27" Type="http://schemas.openxmlformats.org/officeDocument/2006/relationships/slideLayout" Target="../slideLayouts/slideLayout135.xml"/><Relationship Id="rId30" Type="http://schemas.openxmlformats.org/officeDocument/2006/relationships/slideLayout" Target="../slideLayouts/slideLayout138.xml"/><Relationship Id="rId35" Type="http://schemas.openxmlformats.org/officeDocument/2006/relationships/slideLayout" Target="../slideLayouts/slideLayout143.xml"/><Relationship Id="rId43" Type="http://schemas.openxmlformats.org/officeDocument/2006/relationships/slideLayout" Target="../slideLayouts/slideLayout151.xml"/><Relationship Id="rId48" Type="http://schemas.openxmlformats.org/officeDocument/2006/relationships/theme" Target="../theme/theme4.xml"/><Relationship Id="rId8" Type="http://schemas.openxmlformats.org/officeDocument/2006/relationships/slideLayout" Target="../slideLayouts/slideLayout116.xml"/><Relationship Id="rId51" Type="http://schemas.openxmlformats.org/officeDocument/2006/relationships/oleObject" Target="../embeddings/oleObject2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1" y="294200"/>
            <a:ext cx="10972800" cy="59088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1" y="1137920"/>
            <a:ext cx="10972800" cy="49479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grpSp>
        <p:nvGrpSpPr>
          <p:cNvPr id="14" name="Group 4">
            <a:extLst>
              <a:ext uri="{FF2B5EF4-FFF2-40B4-BE49-F238E27FC236}">
                <a16:creationId xmlns:a16="http://schemas.microsoft.com/office/drawing/2014/main" id="{7E89FB01-0304-4B7A-83F4-087FD710583C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281250" y="6356350"/>
            <a:ext cx="303055" cy="311150"/>
            <a:chOff x="7110" y="4004"/>
            <a:chExt cx="191" cy="196"/>
          </a:xfrm>
        </p:grpSpPr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4DE1CE93-8A80-4A24-92CA-71C05E45371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16" name="Freeform 6">
              <a:extLst>
                <a:ext uri="{FF2B5EF4-FFF2-40B4-BE49-F238E27FC236}">
                  <a16:creationId xmlns:a16="http://schemas.microsoft.com/office/drawing/2014/main" id="{769AC85D-6BA0-4E5B-A206-FB7E85E0DDB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17" name="Freeform 7">
              <a:extLst>
                <a:ext uri="{FF2B5EF4-FFF2-40B4-BE49-F238E27FC236}">
                  <a16:creationId xmlns:a16="http://schemas.microsoft.com/office/drawing/2014/main" id="{5A99D1FF-A731-4C56-AEC5-4C61FAC7487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</p:grpSp>
      <p:sp>
        <p:nvSpPr>
          <p:cNvPr id="20" name="Date Placeholder 3">
            <a:extLst>
              <a:ext uri="{FF2B5EF4-FFF2-40B4-BE49-F238E27FC236}">
                <a16:creationId xmlns:a16="http://schemas.microsoft.com/office/drawing/2014/main" id="{7FA7D49F-D989-4CDB-9335-913430F7425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428184" y="6471244"/>
            <a:ext cx="1190638" cy="180000"/>
          </a:xfrm>
          <a:prstGeom prst="rect">
            <a:avLst/>
          </a:prstGeom>
        </p:spPr>
        <p:txBody>
          <a:bodyPr/>
          <a:lstStyle>
            <a:lvl1pPr marL="0" algn="l" defTabSz="913943" rtl="0" eaLnBrk="1" latinLnBrk="0" hangingPunct="1">
              <a:defRPr lang="en-US" sz="800" kern="1200" smtClean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</a:lstStyle>
          <a:p>
            <a:fld id="{A7100257-1BC6-4873-8F55-DA97C4F73818}" type="datetime3">
              <a:rPr lang="en-US" smtClean="0"/>
              <a:t>5 August 2022</a:t>
            </a:fld>
            <a:endParaRPr lang="en-IN" dirty="0"/>
          </a:p>
        </p:txBody>
      </p:sp>
      <p:sp>
        <p:nvSpPr>
          <p:cNvPr id="21" name="Footer Placeholder 4">
            <a:extLst>
              <a:ext uri="{FF2B5EF4-FFF2-40B4-BE49-F238E27FC236}">
                <a16:creationId xmlns:a16="http://schemas.microsoft.com/office/drawing/2014/main" id="{26944631-E8AF-4601-B721-3347E3AFB2F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37502" y="6471244"/>
            <a:ext cx="3084493" cy="180000"/>
          </a:xfrm>
          <a:prstGeom prst="rect">
            <a:avLst/>
          </a:prstGeom>
        </p:spPr>
        <p:txBody>
          <a:bodyPr/>
          <a:lstStyle>
            <a:lvl1pPr marL="0" algn="l" defTabSz="913943" rtl="0" eaLnBrk="1" latinLnBrk="0" hangingPunct="1">
              <a:defRPr lang="en-US" sz="800" kern="1200" smtClean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</a:lstStyle>
          <a:p>
            <a:r>
              <a:rPr lang="en-IN"/>
              <a:t>Presentation title</a:t>
            </a:r>
            <a:endParaRPr lang="en-IN" dirty="0"/>
          </a:p>
        </p:txBody>
      </p:sp>
      <p:sp>
        <p:nvSpPr>
          <p:cNvPr id="22" name="Slide Number Placeholder 5">
            <a:extLst>
              <a:ext uri="{FF2B5EF4-FFF2-40B4-BE49-F238E27FC236}">
                <a16:creationId xmlns:a16="http://schemas.microsoft.com/office/drawing/2014/main" id="{1E733AAD-1BCD-417D-A2A4-521F133E28C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16900" y="6471244"/>
            <a:ext cx="662721" cy="180000"/>
          </a:xfrm>
          <a:prstGeom prst="rect">
            <a:avLst/>
          </a:prstGeom>
        </p:spPr>
        <p:txBody>
          <a:bodyPr/>
          <a:lstStyle>
            <a:lvl1pPr marL="0" algn="l" defTabSz="913943" rtl="0" eaLnBrk="1" latinLnBrk="0" hangingPunct="1">
              <a:defRPr lang="en-GB" sz="800" kern="1200" smtClean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</a:lstStyle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7921745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90" r:id="rId28"/>
    <p:sldLayoutId id="2147483691" r:id="rId29"/>
  </p:sldLayoutIdLst>
  <p:hf hdr="0"/>
  <p:txStyles>
    <p:titleStyle>
      <a:lvl1pPr algn="l" defTabSz="913943" rtl="0" eaLnBrk="1" latinLnBrk="0" hangingPunct="1">
        <a:lnSpc>
          <a:spcPct val="85000"/>
        </a:lnSpc>
        <a:spcBef>
          <a:spcPct val="0"/>
        </a:spcBef>
        <a:buNone/>
        <a:defRPr sz="2399" b="0" kern="1200">
          <a:solidFill>
            <a:schemeClr val="bg1"/>
          </a:solidFill>
          <a:latin typeface="EYInterstate Light" panose="02000506000000020004" pitchFamily="2" charset="0"/>
          <a:ea typeface="+mj-ea"/>
          <a:cs typeface="Arial" pitchFamily="34" charset="0"/>
        </a:defRPr>
      </a:lvl1pPr>
    </p:titleStyle>
    <p:bodyStyle>
      <a:lvl1pPr marL="356438" indent="-356438" algn="l" defTabSz="913943" rtl="0" eaLnBrk="1" latinLnBrk="0" hangingPunct="1">
        <a:spcBef>
          <a:spcPct val="20000"/>
        </a:spcBef>
        <a:buClr>
          <a:schemeClr val="tx2"/>
        </a:buClr>
        <a:buSzPct val="70000"/>
        <a:buFont typeface="Arial" pitchFamily="34" charset="0"/>
        <a:buChar char="►"/>
        <a:defRPr sz="19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1pPr>
      <a:lvl2pPr marL="712875" indent="-356438" algn="l" defTabSz="913943" rtl="0" eaLnBrk="1" latinLnBrk="0" hangingPunct="1">
        <a:spcBef>
          <a:spcPct val="20000"/>
        </a:spcBef>
        <a:buClr>
          <a:schemeClr val="tx2"/>
        </a:buClr>
        <a:buSzPct val="70000"/>
        <a:buFont typeface="Arial" pitchFamily="34" charset="0"/>
        <a:buChar char="►"/>
        <a:defRPr sz="17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2pPr>
      <a:lvl3pPr marL="1069313" indent="-356438" algn="l" defTabSz="913943" rtl="0" eaLnBrk="1" latinLnBrk="0" hangingPunct="1">
        <a:spcBef>
          <a:spcPct val="20000"/>
        </a:spcBef>
        <a:buClr>
          <a:schemeClr val="tx2"/>
        </a:buClr>
        <a:buSzPct val="70000"/>
        <a:buFont typeface="Arial" pitchFamily="34" charset="0"/>
        <a:buChar char="►"/>
        <a:defRPr sz="15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3pPr>
      <a:lvl4pPr marL="1425751" indent="-356438" algn="l" defTabSz="913943" rtl="0" eaLnBrk="1" latinLnBrk="0" hangingPunct="1">
        <a:spcBef>
          <a:spcPct val="20000"/>
        </a:spcBef>
        <a:buClr>
          <a:schemeClr val="tx2"/>
        </a:buClr>
        <a:buSzPct val="70000"/>
        <a:buFont typeface="Arial" pitchFamily="34" charset="0"/>
        <a:buChar char="►"/>
        <a:defRPr sz="13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4pPr>
      <a:lvl5pPr marL="1782188" indent="-356438" algn="l" defTabSz="913943" rtl="0" eaLnBrk="1" latinLnBrk="0" hangingPunct="1">
        <a:spcBef>
          <a:spcPct val="20000"/>
        </a:spcBef>
        <a:buClr>
          <a:schemeClr val="tx2"/>
        </a:buClr>
        <a:buSzPct val="70000"/>
        <a:buFont typeface="Arial" pitchFamily="34" charset="0"/>
        <a:buChar char="►"/>
        <a:defRPr sz="11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5pPr>
      <a:lvl6pPr marL="2513343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6pPr>
      <a:lvl7pPr marL="2970314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7pPr>
      <a:lvl8pPr marL="3427286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8pPr>
      <a:lvl9pPr marL="3884257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6971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3943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0914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7886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4857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1828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8800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5771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1" y="294200"/>
            <a:ext cx="10972800" cy="59088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1" y="1137920"/>
            <a:ext cx="10972800" cy="49479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grpSp>
        <p:nvGrpSpPr>
          <p:cNvPr id="14" name="Group 4">
            <a:extLst>
              <a:ext uri="{FF2B5EF4-FFF2-40B4-BE49-F238E27FC236}">
                <a16:creationId xmlns:a16="http://schemas.microsoft.com/office/drawing/2014/main" id="{7E89FB01-0304-4B7A-83F4-087FD710583C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281250" y="6356350"/>
            <a:ext cx="303055" cy="311150"/>
            <a:chOff x="7110" y="4004"/>
            <a:chExt cx="191" cy="196"/>
          </a:xfrm>
        </p:grpSpPr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4DE1CE93-8A80-4A24-92CA-71C05E45371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/>
            </a:p>
          </p:txBody>
        </p:sp>
        <p:sp>
          <p:nvSpPr>
            <p:cNvPr id="16" name="Freeform 6">
              <a:extLst>
                <a:ext uri="{FF2B5EF4-FFF2-40B4-BE49-F238E27FC236}">
                  <a16:creationId xmlns:a16="http://schemas.microsoft.com/office/drawing/2014/main" id="{769AC85D-6BA0-4E5B-A206-FB7E85E0DDB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/>
            </a:p>
          </p:txBody>
        </p:sp>
        <p:sp>
          <p:nvSpPr>
            <p:cNvPr id="17" name="Freeform 7">
              <a:extLst>
                <a:ext uri="{FF2B5EF4-FFF2-40B4-BE49-F238E27FC236}">
                  <a16:creationId xmlns:a16="http://schemas.microsoft.com/office/drawing/2014/main" id="{5A99D1FF-A731-4C56-AEC5-4C61FAC7487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/>
            </a:p>
          </p:txBody>
        </p:sp>
      </p:grpSp>
      <p:sp>
        <p:nvSpPr>
          <p:cNvPr id="20" name="Date Placeholder 3">
            <a:extLst>
              <a:ext uri="{FF2B5EF4-FFF2-40B4-BE49-F238E27FC236}">
                <a16:creationId xmlns:a16="http://schemas.microsoft.com/office/drawing/2014/main" id="{7FA7D49F-D989-4CDB-9335-913430F7425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428184" y="6471244"/>
            <a:ext cx="1190638" cy="180000"/>
          </a:xfrm>
          <a:prstGeom prst="rect">
            <a:avLst/>
          </a:prstGeom>
        </p:spPr>
        <p:txBody>
          <a:bodyPr/>
          <a:lstStyle>
            <a:lvl1pPr marL="0" algn="l" defTabSz="913943" rtl="0" eaLnBrk="1" latinLnBrk="0" hangingPunct="1">
              <a:defRPr lang="en-US" sz="800" kern="1200" smtClean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</a:lstStyle>
          <a:p>
            <a:fld id="{A7100257-1BC6-4873-8F55-DA97C4F73818}" type="datetime3">
              <a:rPr lang="en-US" smtClean="0"/>
              <a:t>5 August 2022</a:t>
            </a:fld>
            <a:endParaRPr lang="en-IN" dirty="0"/>
          </a:p>
        </p:txBody>
      </p:sp>
      <p:sp>
        <p:nvSpPr>
          <p:cNvPr id="21" name="Footer Placeholder 4">
            <a:extLst>
              <a:ext uri="{FF2B5EF4-FFF2-40B4-BE49-F238E27FC236}">
                <a16:creationId xmlns:a16="http://schemas.microsoft.com/office/drawing/2014/main" id="{26944631-E8AF-4601-B721-3347E3AFB2F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37502" y="6471244"/>
            <a:ext cx="3084493" cy="180000"/>
          </a:xfrm>
          <a:prstGeom prst="rect">
            <a:avLst/>
          </a:prstGeom>
        </p:spPr>
        <p:txBody>
          <a:bodyPr/>
          <a:lstStyle>
            <a:lvl1pPr marL="0" algn="l" defTabSz="913943" rtl="0" eaLnBrk="1" latinLnBrk="0" hangingPunct="1">
              <a:defRPr lang="en-US" sz="800" kern="1200" smtClean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</a:lstStyle>
          <a:p>
            <a:r>
              <a:rPr lang="en-IN" dirty="0"/>
              <a:t>Presentation title</a:t>
            </a:r>
          </a:p>
        </p:txBody>
      </p:sp>
      <p:sp>
        <p:nvSpPr>
          <p:cNvPr id="22" name="Slide Number Placeholder 5">
            <a:extLst>
              <a:ext uri="{FF2B5EF4-FFF2-40B4-BE49-F238E27FC236}">
                <a16:creationId xmlns:a16="http://schemas.microsoft.com/office/drawing/2014/main" id="{1E733AAD-1BCD-417D-A2A4-521F133E28C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16900" y="6471244"/>
            <a:ext cx="662721" cy="180000"/>
          </a:xfrm>
          <a:prstGeom prst="rect">
            <a:avLst/>
          </a:prstGeom>
        </p:spPr>
        <p:txBody>
          <a:bodyPr/>
          <a:lstStyle>
            <a:lvl1pPr marL="0" algn="l" defTabSz="913943" rtl="0" eaLnBrk="1" latinLnBrk="0" hangingPunct="1">
              <a:defRPr lang="en-GB" sz="800" kern="1200" smtClean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</a:lstStyle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8659058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3" r:id="rId1"/>
    <p:sldLayoutId id="2147483694" r:id="rId2"/>
    <p:sldLayoutId id="2147483695" r:id="rId3"/>
    <p:sldLayoutId id="2147483696" r:id="rId4"/>
    <p:sldLayoutId id="2147483697" r:id="rId5"/>
    <p:sldLayoutId id="2147483698" r:id="rId6"/>
    <p:sldLayoutId id="2147483699" r:id="rId7"/>
    <p:sldLayoutId id="2147483700" r:id="rId8"/>
    <p:sldLayoutId id="2147483701" r:id="rId9"/>
    <p:sldLayoutId id="2147483702" r:id="rId10"/>
    <p:sldLayoutId id="2147483703" r:id="rId11"/>
    <p:sldLayoutId id="2147483704" r:id="rId12"/>
    <p:sldLayoutId id="2147483705" r:id="rId13"/>
    <p:sldLayoutId id="2147483706" r:id="rId14"/>
    <p:sldLayoutId id="2147483707" r:id="rId15"/>
    <p:sldLayoutId id="2147483708" r:id="rId16"/>
    <p:sldLayoutId id="2147483709" r:id="rId17"/>
    <p:sldLayoutId id="2147483710" r:id="rId18"/>
    <p:sldLayoutId id="2147483711" r:id="rId19"/>
    <p:sldLayoutId id="2147483712" r:id="rId20"/>
    <p:sldLayoutId id="2147483713" r:id="rId21"/>
    <p:sldLayoutId id="2147483714" r:id="rId22"/>
    <p:sldLayoutId id="2147483715" r:id="rId23"/>
    <p:sldLayoutId id="2147483716" r:id="rId24"/>
    <p:sldLayoutId id="2147483717" r:id="rId25"/>
    <p:sldLayoutId id="2147483718" r:id="rId26"/>
    <p:sldLayoutId id="2147483719" r:id="rId27"/>
    <p:sldLayoutId id="2147483720" r:id="rId28"/>
    <p:sldLayoutId id="2147483721" r:id="rId29"/>
    <p:sldLayoutId id="2147483722" r:id="rId30"/>
    <p:sldLayoutId id="2147483723" r:id="rId31"/>
    <p:sldLayoutId id="2147483725" r:id="rId32"/>
  </p:sldLayoutIdLst>
  <p:hf hdr="0"/>
  <p:txStyles>
    <p:titleStyle>
      <a:lvl1pPr algn="l" defTabSz="913943" rtl="0" eaLnBrk="1" latinLnBrk="0" hangingPunct="1">
        <a:lnSpc>
          <a:spcPct val="85000"/>
        </a:lnSpc>
        <a:spcBef>
          <a:spcPct val="0"/>
        </a:spcBef>
        <a:buNone/>
        <a:defRPr sz="2399" b="0" kern="1200">
          <a:solidFill>
            <a:schemeClr val="bg1"/>
          </a:solidFill>
          <a:latin typeface="EYInterstate Light" panose="02000506000000020004" pitchFamily="2" charset="0"/>
          <a:ea typeface="+mj-ea"/>
          <a:cs typeface="Arial" pitchFamily="34" charset="0"/>
        </a:defRPr>
      </a:lvl1pPr>
    </p:titleStyle>
    <p:bodyStyle>
      <a:lvl1pPr marL="356438" indent="-356438" algn="l" defTabSz="913943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9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1pPr>
      <a:lvl2pPr marL="712875" indent="-356438" algn="l" defTabSz="913943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7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2pPr>
      <a:lvl3pPr marL="1069313" indent="-356438" algn="l" defTabSz="913943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5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3pPr>
      <a:lvl4pPr marL="1425751" indent="-356438" algn="l" defTabSz="913943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3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4pPr>
      <a:lvl5pPr marL="1782188" indent="-356438" algn="l" defTabSz="913943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1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5pPr>
      <a:lvl6pPr marL="2513343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6pPr>
      <a:lvl7pPr marL="2970314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7pPr>
      <a:lvl8pPr marL="3427286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8pPr>
      <a:lvl9pPr marL="3884257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6971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3943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0914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7886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4857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1828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8800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5771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7E7FD6F-8D46-48A5-9FEE-3B30974E959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9"/>
            </p:custDataLst>
            <p:extLst>
              <p:ext uri="{D42A27DB-BD31-4B8C-83A1-F6EECF244321}">
                <p14:modId xmlns:p14="http://schemas.microsoft.com/office/powerpoint/2010/main" val="4013586752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1" imgW="395" imgH="394" progId="TCLayout.ActiveDocument.1">
                  <p:embed/>
                </p:oleObj>
              </mc:Choice>
              <mc:Fallback>
                <p:oleObj name="think-cell Slide" r:id="rId51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7E7FD6F-8D46-48A5-9FEE-3B30974E95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2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43978F87-F3CD-4F96-8672-B71BB18F4768}"/>
              </a:ext>
            </a:extLst>
          </p:cNvPr>
          <p:cNvSpPr/>
          <p:nvPr userDrawn="1">
            <p:custDataLst>
              <p:tags r:id="rId50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ctr"/>
            <a:endParaRPr lang="en-US" sz="2398" b="0" i="0" baseline="0" dirty="0">
              <a:solidFill>
                <a:schemeClr val="tx1"/>
              </a:solidFill>
              <a:latin typeface="EYInterstate Light" panose="02000506000000020004" pitchFamily="2" charset="0"/>
              <a:ea typeface="+mj-ea"/>
              <a:cs typeface="Arial" panose="020B0604020202020204" pitchFamily="34" charset="0"/>
              <a:sym typeface="EYInterstate Light" panose="02000506000000020004" pitchFamily="2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2" y="294200"/>
            <a:ext cx="10972800" cy="59088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2" y="1137920"/>
            <a:ext cx="10972800" cy="49479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grpSp>
        <p:nvGrpSpPr>
          <p:cNvPr id="9" name="Group 4">
            <a:extLst>
              <a:ext uri="{FF2B5EF4-FFF2-40B4-BE49-F238E27FC236}">
                <a16:creationId xmlns:a16="http://schemas.microsoft.com/office/drawing/2014/main" id="{ABA621AC-91DA-4716-A450-56540FA39C36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281251" y="6356350"/>
            <a:ext cx="303055" cy="311150"/>
            <a:chOff x="7110" y="4004"/>
            <a:chExt cx="191" cy="196"/>
          </a:xfrm>
        </p:grpSpPr>
        <p:sp>
          <p:nvSpPr>
            <p:cNvPr id="11" name="Freeform 5">
              <a:extLst>
                <a:ext uri="{FF2B5EF4-FFF2-40B4-BE49-F238E27FC236}">
                  <a16:creationId xmlns:a16="http://schemas.microsoft.com/office/drawing/2014/main" id="{76E3EDA9-8EAC-419E-8C11-4E1E158AF76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/>
            </a:p>
          </p:txBody>
        </p:sp>
        <p:sp>
          <p:nvSpPr>
            <p:cNvPr id="12" name="Freeform 6">
              <a:extLst>
                <a:ext uri="{FF2B5EF4-FFF2-40B4-BE49-F238E27FC236}">
                  <a16:creationId xmlns:a16="http://schemas.microsoft.com/office/drawing/2014/main" id="{ABC9458B-8C2C-486A-8ADE-F22CCDC7E2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/>
            </a:p>
          </p:txBody>
        </p:sp>
        <p:sp>
          <p:nvSpPr>
            <p:cNvPr id="14" name="Freeform 7">
              <a:extLst>
                <a:ext uri="{FF2B5EF4-FFF2-40B4-BE49-F238E27FC236}">
                  <a16:creationId xmlns:a16="http://schemas.microsoft.com/office/drawing/2014/main" id="{0A4C4046-69B4-41DA-AA2E-E892AEC9AA9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/>
            </a:p>
          </p:txBody>
        </p:sp>
      </p:grpSp>
      <p:sp>
        <p:nvSpPr>
          <p:cNvPr id="19" name="Date Placeholder 3">
            <a:extLst>
              <a:ext uri="{FF2B5EF4-FFF2-40B4-BE49-F238E27FC236}">
                <a16:creationId xmlns:a16="http://schemas.microsoft.com/office/drawing/2014/main" id="{600772EA-C6B0-4F5D-AA59-01C0858EFAD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428184" y="6471244"/>
            <a:ext cx="1190638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l" defTabSz="913486" rtl="0" eaLnBrk="1" latinLnBrk="0" hangingPunct="1">
              <a:defRPr lang="en-IN" sz="800" kern="1200" smtClean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</a:lstStyle>
          <a:p>
            <a:fld id="{CD05BAC6-7084-4B5E-A926-4CA635F89C64}" type="datetime3">
              <a:rPr lang="en-US" smtClean="0"/>
              <a:t>5 August 2022</a:t>
            </a:fld>
            <a:endParaRPr lang="en-IN" dirty="0"/>
          </a:p>
        </p:txBody>
      </p:sp>
      <p:sp>
        <p:nvSpPr>
          <p:cNvPr id="20" name="Footer Placeholder 4">
            <a:extLst>
              <a:ext uri="{FF2B5EF4-FFF2-40B4-BE49-F238E27FC236}">
                <a16:creationId xmlns:a16="http://schemas.microsoft.com/office/drawing/2014/main" id="{AC28FA70-87E4-49F4-AFDE-345AA28E0BE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37502" y="6471244"/>
            <a:ext cx="3084493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l" defTabSz="913486" rtl="0" eaLnBrk="1" latinLnBrk="0" hangingPunct="1">
              <a:defRPr lang="en-IN" sz="800" kern="1200" dirty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21" name="Slide Number Placeholder 5">
            <a:extLst>
              <a:ext uri="{FF2B5EF4-FFF2-40B4-BE49-F238E27FC236}">
                <a16:creationId xmlns:a16="http://schemas.microsoft.com/office/drawing/2014/main" id="{3B540F9A-D485-4BD0-B905-41F8A52593F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16901" y="6471244"/>
            <a:ext cx="662721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l" defTabSz="913486" rtl="0" eaLnBrk="1" latinLnBrk="0" hangingPunct="1">
              <a:defRPr lang="en-IN" sz="800" kern="1200" smtClean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</a:lstStyle>
          <a:p>
            <a:r>
              <a:rPr lang="en-GB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277949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7" r:id="rId1"/>
    <p:sldLayoutId id="2147483728" r:id="rId2"/>
    <p:sldLayoutId id="2147483729" r:id="rId3"/>
    <p:sldLayoutId id="2147483730" r:id="rId4"/>
    <p:sldLayoutId id="2147483731" r:id="rId5"/>
    <p:sldLayoutId id="2147483732" r:id="rId6"/>
    <p:sldLayoutId id="2147483733" r:id="rId7"/>
    <p:sldLayoutId id="2147483734" r:id="rId8"/>
    <p:sldLayoutId id="2147483735" r:id="rId9"/>
    <p:sldLayoutId id="2147483736" r:id="rId10"/>
    <p:sldLayoutId id="2147483737" r:id="rId11"/>
    <p:sldLayoutId id="2147483738" r:id="rId12"/>
    <p:sldLayoutId id="2147483739" r:id="rId13"/>
    <p:sldLayoutId id="2147483740" r:id="rId14"/>
    <p:sldLayoutId id="2147483741" r:id="rId15"/>
    <p:sldLayoutId id="2147483742" r:id="rId16"/>
    <p:sldLayoutId id="2147483743" r:id="rId17"/>
    <p:sldLayoutId id="2147483744" r:id="rId18"/>
    <p:sldLayoutId id="2147483745" r:id="rId19"/>
    <p:sldLayoutId id="2147483746" r:id="rId20"/>
    <p:sldLayoutId id="2147483747" r:id="rId21"/>
    <p:sldLayoutId id="2147483748" r:id="rId22"/>
    <p:sldLayoutId id="2147483749" r:id="rId23"/>
    <p:sldLayoutId id="2147483750" r:id="rId24"/>
    <p:sldLayoutId id="2147483751" r:id="rId25"/>
    <p:sldLayoutId id="2147483752" r:id="rId26"/>
    <p:sldLayoutId id="2147483753" r:id="rId27"/>
    <p:sldLayoutId id="2147483754" r:id="rId28"/>
    <p:sldLayoutId id="2147483755" r:id="rId29"/>
    <p:sldLayoutId id="2147483756" r:id="rId30"/>
    <p:sldLayoutId id="2147483757" r:id="rId31"/>
    <p:sldLayoutId id="2147483758" r:id="rId32"/>
    <p:sldLayoutId id="2147483759" r:id="rId33"/>
    <p:sldLayoutId id="2147483760" r:id="rId34"/>
    <p:sldLayoutId id="2147483761" r:id="rId35"/>
    <p:sldLayoutId id="2147483762" r:id="rId36"/>
    <p:sldLayoutId id="2147483763" r:id="rId37"/>
    <p:sldLayoutId id="2147483764" r:id="rId38"/>
    <p:sldLayoutId id="2147483765" r:id="rId39"/>
    <p:sldLayoutId id="2147483766" r:id="rId40"/>
    <p:sldLayoutId id="2147483767" r:id="rId41"/>
    <p:sldLayoutId id="2147483768" r:id="rId42"/>
    <p:sldLayoutId id="2147483769" r:id="rId43"/>
    <p:sldLayoutId id="2147483770" r:id="rId44"/>
    <p:sldLayoutId id="2147483771" r:id="rId45"/>
    <p:sldLayoutId id="2147483772" r:id="rId46"/>
    <p:sldLayoutId id="2147483773" r:id="rId47"/>
  </p:sldLayoutIdLst>
  <p:hf hdr="0"/>
  <p:txStyles>
    <p:titleStyle>
      <a:lvl1pPr algn="l" defTabSz="913486" rtl="0" eaLnBrk="1" latinLnBrk="0" hangingPunct="1">
        <a:lnSpc>
          <a:spcPct val="85000"/>
        </a:lnSpc>
        <a:spcBef>
          <a:spcPct val="0"/>
        </a:spcBef>
        <a:buNone/>
        <a:defRPr sz="2398" b="0" kern="1200">
          <a:solidFill>
            <a:schemeClr val="bg1"/>
          </a:solidFill>
          <a:latin typeface="EYInterstate Light" panose="02000506000000020004" pitchFamily="2" charset="0"/>
          <a:ea typeface="+mj-ea"/>
          <a:cs typeface="Arial" pitchFamily="34" charset="0"/>
        </a:defRPr>
      </a:lvl1pPr>
    </p:titleStyle>
    <p:bodyStyle>
      <a:lvl1pPr marL="356260" indent="-356260" algn="l" defTabSz="913486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998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1pPr>
      <a:lvl2pPr marL="712519" indent="-356260" algn="l" defTabSz="913486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798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2pPr>
      <a:lvl3pPr marL="1068778" indent="-356260" algn="l" defTabSz="913486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598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3pPr>
      <a:lvl4pPr marL="1425038" indent="-356260" algn="l" defTabSz="913486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398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4pPr>
      <a:lvl5pPr marL="1781297" indent="-356260" algn="l" defTabSz="913486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198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5pPr>
      <a:lvl6pPr marL="2512086" indent="-228372" algn="l" defTabSz="913486" rtl="0" eaLnBrk="1" latinLnBrk="0" hangingPunct="1">
        <a:spcBef>
          <a:spcPct val="20000"/>
        </a:spcBef>
        <a:buFont typeface="Arial" pitchFamily="34" charset="0"/>
        <a:buChar char="•"/>
        <a:defRPr sz="1998" kern="1200">
          <a:solidFill>
            <a:schemeClr val="tx1"/>
          </a:solidFill>
          <a:latin typeface="+mn-lt"/>
          <a:ea typeface="+mn-ea"/>
          <a:cs typeface="+mn-cs"/>
        </a:defRPr>
      </a:lvl6pPr>
      <a:lvl7pPr marL="2968829" indent="-228372" algn="l" defTabSz="913486" rtl="0" eaLnBrk="1" latinLnBrk="0" hangingPunct="1">
        <a:spcBef>
          <a:spcPct val="20000"/>
        </a:spcBef>
        <a:buFont typeface="Arial" pitchFamily="34" charset="0"/>
        <a:buChar char="•"/>
        <a:defRPr sz="1998" kern="1200">
          <a:solidFill>
            <a:schemeClr val="tx1"/>
          </a:solidFill>
          <a:latin typeface="+mn-lt"/>
          <a:ea typeface="+mn-ea"/>
          <a:cs typeface="+mn-cs"/>
        </a:defRPr>
      </a:lvl7pPr>
      <a:lvl8pPr marL="3425572" indent="-228372" algn="l" defTabSz="913486" rtl="0" eaLnBrk="1" latinLnBrk="0" hangingPunct="1">
        <a:spcBef>
          <a:spcPct val="20000"/>
        </a:spcBef>
        <a:buFont typeface="Arial" pitchFamily="34" charset="0"/>
        <a:buChar char="•"/>
        <a:defRPr sz="1998" kern="1200">
          <a:solidFill>
            <a:schemeClr val="tx1"/>
          </a:solidFill>
          <a:latin typeface="+mn-lt"/>
          <a:ea typeface="+mn-ea"/>
          <a:cs typeface="+mn-cs"/>
        </a:defRPr>
      </a:lvl8pPr>
      <a:lvl9pPr marL="3882315" indent="-228372" algn="l" defTabSz="913486" rtl="0" eaLnBrk="1" latinLnBrk="0" hangingPunct="1">
        <a:spcBef>
          <a:spcPct val="20000"/>
        </a:spcBef>
        <a:buFont typeface="Arial" pitchFamily="34" charset="0"/>
        <a:buChar char="•"/>
        <a:defRPr sz="199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48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1pPr>
      <a:lvl2pPr marL="456743" algn="l" defTabSz="91348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2pPr>
      <a:lvl3pPr marL="913486" algn="l" defTabSz="91348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3pPr>
      <a:lvl4pPr marL="1370229" algn="l" defTabSz="91348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4pPr>
      <a:lvl5pPr marL="1826972" algn="l" defTabSz="91348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5pPr>
      <a:lvl6pPr marL="2283715" algn="l" defTabSz="91348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6pPr>
      <a:lvl7pPr marL="2740457" algn="l" defTabSz="91348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7pPr>
      <a:lvl8pPr marL="3197201" algn="l" defTabSz="91348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8pPr>
      <a:lvl9pPr marL="3653943" algn="l" defTabSz="91348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7E7FD6F-8D46-48A5-9FEE-3B30974E959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9"/>
            </p:custDataLst>
            <p:extLst>
              <p:ext uri="{D42A27DB-BD31-4B8C-83A1-F6EECF244321}">
                <p14:modId xmlns:p14="http://schemas.microsoft.com/office/powerpoint/2010/main" val="2226361522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1" imgW="395" imgH="394" progId="TCLayout.ActiveDocument.1">
                  <p:embed/>
                </p:oleObj>
              </mc:Choice>
              <mc:Fallback>
                <p:oleObj name="think-cell Slide" r:id="rId51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7E7FD6F-8D46-48A5-9FEE-3B30974E95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2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43978F87-F3CD-4F96-8672-B71BB18F4768}"/>
              </a:ext>
            </a:extLst>
          </p:cNvPr>
          <p:cNvSpPr/>
          <p:nvPr userDrawn="1">
            <p:custDataLst>
              <p:tags r:id="rId50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ctr"/>
            <a:endParaRPr lang="en-US" sz="2398" b="0" i="0" baseline="0" dirty="0">
              <a:solidFill>
                <a:schemeClr val="tx1"/>
              </a:solidFill>
              <a:latin typeface="EYInterstate Light" panose="02000506000000020004" pitchFamily="2" charset="0"/>
              <a:ea typeface="+mj-ea"/>
              <a:cs typeface="Arial" panose="020B0604020202020204" pitchFamily="34" charset="0"/>
              <a:sym typeface="EYInterstate Light" panose="02000506000000020004" pitchFamily="2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2" y="294200"/>
            <a:ext cx="10972800" cy="59088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2" y="1137920"/>
            <a:ext cx="10972800" cy="49479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grpSp>
        <p:nvGrpSpPr>
          <p:cNvPr id="9" name="Group 4">
            <a:extLst>
              <a:ext uri="{FF2B5EF4-FFF2-40B4-BE49-F238E27FC236}">
                <a16:creationId xmlns:a16="http://schemas.microsoft.com/office/drawing/2014/main" id="{ABA621AC-91DA-4716-A450-56540FA39C36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281251" y="6356350"/>
            <a:ext cx="303055" cy="311150"/>
            <a:chOff x="7110" y="4004"/>
            <a:chExt cx="191" cy="196"/>
          </a:xfrm>
        </p:grpSpPr>
        <p:sp>
          <p:nvSpPr>
            <p:cNvPr id="11" name="Freeform 5">
              <a:extLst>
                <a:ext uri="{FF2B5EF4-FFF2-40B4-BE49-F238E27FC236}">
                  <a16:creationId xmlns:a16="http://schemas.microsoft.com/office/drawing/2014/main" id="{76E3EDA9-8EAC-419E-8C11-4E1E158AF76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/>
            </a:p>
          </p:txBody>
        </p:sp>
        <p:sp>
          <p:nvSpPr>
            <p:cNvPr id="12" name="Freeform 6">
              <a:extLst>
                <a:ext uri="{FF2B5EF4-FFF2-40B4-BE49-F238E27FC236}">
                  <a16:creationId xmlns:a16="http://schemas.microsoft.com/office/drawing/2014/main" id="{ABC9458B-8C2C-486A-8ADE-F22CCDC7E2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/>
            </a:p>
          </p:txBody>
        </p:sp>
        <p:sp>
          <p:nvSpPr>
            <p:cNvPr id="14" name="Freeform 7">
              <a:extLst>
                <a:ext uri="{FF2B5EF4-FFF2-40B4-BE49-F238E27FC236}">
                  <a16:creationId xmlns:a16="http://schemas.microsoft.com/office/drawing/2014/main" id="{0A4C4046-69B4-41DA-AA2E-E892AEC9AA9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/>
            </a:p>
          </p:txBody>
        </p:sp>
      </p:grpSp>
      <p:sp>
        <p:nvSpPr>
          <p:cNvPr id="19" name="Date Placeholder 3">
            <a:extLst>
              <a:ext uri="{FF2B5EF4-FFF2-40B4-BE49-F238E27FC236}">
                <a16:creationId xmlns:a16="http://schemas.microsoft.com/office/drawing/2014/main" id="{600772EA-C6B0-4F5D-AA59-01C0858EFAD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428184" y="6471244"/>
            <a:ext cx="1190638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l" defTabSz="913486" rtl="0" eaLnBrk="1" latinLnBrk="0" hangingPunct="1">
              <a:defRPr lang="en-IN" sz="800" kern="1200" smtClean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</a:lstStyle>
          <a:p>
            <a:fld id="{CD05BAC6-7084-4B5E-A926-4CA635F89C64}" type="datetime3">
              <a:rPr lang="en-US" smtClean="0"/>
              <a:t>5 August 2022</a:t>
            </a:fld>
            <a:endParaRPr lang="en-IN" dirty="0"/>
          </a:p>
        </p:txBody>
      </p:sp>
      <p:sp>
        <p:nvSpPr>
          <p:cNvPr id="20" name="Footer Placeholder 4">
            <a:extLst>
              <a:ext uri="{FF2B5EF4-FFF2-40B4-BE49-F238E27FC236}">
                <a16:creationId xmlns:a16="http://schemas.microsoft.com/office/drawing/2014/main" id="{AC28FA70-87E4-49F4-AFDE-345AA28E0BE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37502" y="6471244"/>
            <a:ext cx="3084493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l" defTabSz="913486" rtl="0" eaLnBrk="1" latinLnBrk="0" hangingPunct="1">
              <a:defRPr lang="en-IN" sz="800" kern="1200" dirty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21" name="Slide Number Placeholder 5">
            <a:extLst>
              <a:ext uri="{FF2B5EF4-FFF2-40B4-BE49-F238E27FC236}">
                <a16:creationId xmlns:a16="http://schemas.microsoft.com/office/drawing/2014/main" id="{3B540F9A-D485-4BD0-B905-41F8A52593F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16901" y="6471244"/>
            <a:ext cx="662721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l" defTabSz="913486" rtl="0" eaLnBrk="1" latinLnBrk="0" hangingPunct="1">
              <a:defRPr lang="en-IN" sz="800" kern="1200" smtClean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</a:lstStyle>
          <a:p>
            <a:r>
              <a:rPr lang="en-GB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3812818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5" r:id="rId1"/>
    <p:sldLayoutId id="2147483776" r:id="rId2"/>
    <p:sldLayoutId id="2147483777" r:id="rId3"/>
    <p:sldLayoutId id="2147483778" r:id="rId4"/>
    <p:sldLayoutId id="2147483779" r:id="rId5"/>
    <p:sldLayoutId id="2147483780" r:id="rId6"/>
    <p:sldLayoutId id="2147483781" r:id="rId7"/>
    <p:sldLayoutId id="2147483782" r:id="rId8"/>
    <p:sldLayoutId id="2147483783" r:id="rId9"/>
    <p:sldLayoutId id="2147483784" r:id="rId10"/>
    <p:sldLayoutId id="2147483785" r:id="rId11"/>
    <p:sldLayoutId id="2147483786" r:id="rId12"/>
    <p:sldLayoutId id="2147483787" r:id="rId13"/>
    <p:sldLayoutId id="2147483788" r:id="rId14"/>
    <p:sldLayoutId id="2147483789" r:id="rId15"/>
    <p:sldLayoutId id="2147483790" r:id="rId16"/>
    <p:sldLayoutId id="2147483791" r:id="rId17"/>
    <p:sldLayoutId id="2147483792" r:id="rId18"/>
    <p:sldLayoutId id="2147483793" r:id="rId19"/>
    <p:sldLayoutId id="2147483794" r:id="rId20"/>
    <p:sldLayoutId id="2147483795" r:id="rId21"/>
    <p:sldLayoutId id="2147483796" r:id="rId22"/>
    <p:sldLayoutId id="2147483797" r:id="rId23"/>
    <p:sldLayoutId id="2147483798" r:id="rId24"/>
    <p:sldLayoutId id="2147483799" r:id="rId25"/>
    <p:sldLayoutId id="2147483800" r:id="rId26"/>
    <p:sldLayoutId id="2147483801" r:id="rId27"/>
    <p:sldLayoutId id="2147483802" r:id="rId28"/>
    <p:sldLayoutId id="2147483803" r:id="rId29"/>
    <p:sldLayoutId id="2147483804" r:id="rId30"/>
    <p:sldLayoutId id="2147483805" r:id="rId31"/>
    <p:sldLayoutId id="2147483806" r:id="rId32"/>
    <p:sldLayoutId id="2147483807" r:id="rId33"/>
    <p:sldLayoutId id="2147483808" r:id="rId34"/>
    <p:sldLayoutId id="2147483809" r:id="rId35"/>
    <p:sldLayoutId id="2147483810" r:id="rId36"/>
    <p:sldLayoutId id="2147483811" r:id="rId37"/>
    <p:sldLayoutId id="2147483812" r:id="rId38"/>
    <p:sldLayoutId id="2147483813" r:id="rId39"/>
    <p:sldLayoutId id="2147483814" r:id="rId40"/>
    <p:sldLayoutId id="2147483815" r:id="rId41"/>
    <p:sldLayoutId id="2147483816" r:id="rId42"/>
    <p:sldLayoutId id="2147483817" r:id="rId43"/>
    <p:sldLayoutId id="2147483818" r:id="rId44"/>
    <p:sldLayoutId id="2147483819" r:id="rId45"/>
    <p:sldLayoutId id="2147483820" r:id="rId46"/>
    <p:sldLayoutId id="2147483821" r:id="rId47"/>
  </p:sldLayoutIdLst>
  <p:hf hdr="0"/>
  <p:txStyles>
    <p:titleStyle>
      <a:lvl1pPr algn="l" defTabSz="913486" rtl="0" eaLnBrk="1" latinLnBrk="0" hangingPunct="1">
        <a:lnSpc>
          <a:spcPct val="85000"/>
        </a:lnSpc>
        <a:spcBef>
          <a:spcPct val="0"/>
        </a:spcBef>
        <a:buNone/>
        <a:defRPr sz="2398" b="0" kern="1200">
          <a:solidFill>
            <a:schemeClr val="bg1"/>
          </a:solidFill>
          <a:latin typeface="EYInterstate Light" panose="02000506000000020004" pitchFamily="2" charset="0"/>
          <a:ea typeface="+mj-ea"/>
          <a:cs typeface="Arial" pitchFamily="34" charset="0"/>
        </a:defRPr>
      </a:lvl1pPr>
    </p:titleStyle>
    <p:bodyStyle>
      <a:lvl1pPr marL="356260" indent="-356260" algn="l" defTabSz="913486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998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1pPr>
      <a:lvl2pPr marL="712519" indent="-356260" algn="l" defTabSz="913486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798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2pPr>
      <a:lvl3pPr marL="1068778" indent="-356260" algn="l" defTabSz="913486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598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3pPr>
      <a:lvl4pPr marL="1425038" indent="-356260" algn="l" defTabSz="913486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398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4pPr>
      <a:lvl5pPr marL="1781297" indent="-356260" algn="l" defTabSz="913486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198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5pPr>
      <a:lvl6pPr marL="2512086" indent="-228372" algn="l" defTabSz="913486" rtl="0" eaLnBrk="1" latinLnBrk="0" hangingPunct="1">
        <a:spcBef>
          <a:spcPct val="20000"/>
        </a:spcBef>
        <a:buFont typeface="Arial" pitchFamily="34" charset="0"/>
        <a:buChar char="•"/>
        <a:defRPr sz="1998" kern="1200">
          <a:solidFill>
            <a:schemeClr val="tx1"/>
          </a:solidFill>
          <a:latin typeface="+mn-lt"/>
          <a:ea typeface="+mn-ea"/>
          <a:cs typeface="+mn-cs"/>
        </a:defRPr>
      </a:lvl6pPr>
      <a:lvl7pPr marL="2968829" indent="-228372" algn="l" defTabSz="913486" rtl="0" eaLnBrk="1" latinLnBrk="0" hangingPunct="1">
        <a:spcBef>
          <a:spcPct val="20000"/>
        </a:spcBef>
        <a:buFont typeface="Arial" pitchFamily="34" charset="0"/>
        <a:buChar char="•"/>
        <a:defRPr sz="1998" kern="1200">
          <a:solidFill>
            <a:schemeClr val="tx1"/>
          </a:solidFill>
          <a:latin typeface="+mn-lt"/>
          <a:ea typeface="+mn-ea"/>
          <a:cs typeface="+mn-cs"/>
        </a:defRPr>
      </a:lvl7pPr>
      <a:lvl8pPr marL="3425572" indent="-228372" algn="l" defTabSz="913486" rtl="0" eaLnBrk="1" latinLnBrk="0" hangingPunct="1">
        <a:spcBef>
          <a:spcPct val="20000"/>
        </a:spcBef>
        <a:buFont typeface="Arial" pitchFamily="34" charset="0"/>
        <a:buChar char="•"/>
        <a:defRPr sz="1998" kern="1200">
          <a:solidFill>
            <a:schemeClr val="tx1"/>
          </a:solidFill>
          <a:latin typeface="+mn-lt"/>
          <a:ea typeface="+mn-ea"/>
          <a:cs typeface="+mn-cs"/>
        </a:defRPr>
      </a:lvl8pPr>
      <a:lvl9pPr marL="3882315" indent="-228372" algn="l" defTabSz="913486" rtl="0" eaLnBrk="1" latinLnBrk="0" hangingPunct="1">
        <a:spcBef>
          <a:spcPct val="20000"/>
        </a:spcBef>
        <a:buFont typeface="Arial" pitchFamily="34" charset="0"/>
        <a:buChar char="•"/>
        <a:defRPr sz="199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48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1pPr>
      <a:lvl2pPr marL="456743" algn="l" defTabSz="91348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2pPr>
      <a:lvl3pPr marL="913486" algn="l" defTabSz="91348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3pPr>
      <a:lvl4pPr marL="1370229" algn="l" defTabSz="91348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4pPr>
      <a:lvl5pPr marL="1826972" algn="l" defTabSz="91348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5pPr>
      <a:lvl6pPr marL="2283715" algn="l" defTabSz="91348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6pPr>
      <a:lvl7pPr marL="2740457" algn="l" defTabSz="91348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7pPr>
      <a:lvl8pPr marL="3197201" algn="l" defTabSz="91348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8pPr>
      <a:lvl9pPr marL="3653943" algn="l" defTabSz="91348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3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38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38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38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38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38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38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38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8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8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3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38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38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8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3" Type="http://schemas.openxmlformats.org/officeDocument/2006/relationships/image" Target="../media/image27.png"/><Relationship Id="rId7" Type="http://schemas.openxmlformats.org/officeDocument/2006/relationships/image" Target="../media/image31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30.png"/><Relationship Id="rId5" Type="http://schemas.openxmlformats.org/officeDocument/2006/relationships/image" Target="../media/image29.png"/><Relationship Id="rId4" Type="http://schemas.openxmlformats.org/officeDocument/2006/relationships/image" Target="../media/image28.png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5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38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38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38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38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38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8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38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38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38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38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8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8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38.xml"/><Relationship Id="rId4" Type="http://schemas.openxmlformats.org/officeDocument/2006/relationships/image" Target="../media/image49.pn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38.xml"/><Relationship Id="rId5" Type="http://schemas.openxmlformats.org/officeDocument/2006/relationships/image" Target="../media/image53.png"/><Relationship Id="rId4" Type="http://schemas.openxmlformats.org/officeDocument/2006/relationships/image" Target="../media/image52.pn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49.xml"/><Relationship Id="rId4" Type="http://schemas.openxmlformats.org/officeDocument/2006/relationships/image" Target="../media/image56.png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0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38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8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38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g"/><Relationship Id="rId1" Type="http://schemas.openxmlformats.org/officeDocument/2006/relationships/slideLayout" Target="../slideLayouts/slideLayout38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38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3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3">
            <a:extLst>
              <a:ext uri="{FF2B5EF4-FFF2-40B4-BE49-F238E27FC236}">
                <a16:creationId xmlns:a16="http://schemas.microsoft.com/office/drawing/2014/main" id="{9E8B1236-ECD8-7049-8952-F2ADFDDE3AD2}"/>
              </a:ext>
            </a:extLst>
          </p:cNvPr>
          <p:cNvSpPr/>
          <p:nvPr/>
        </p:nvSpPr>
        <p:spPr>
          <a:xfrm>
            <a:off x="596521" y="1005247"/>
            <a:ext cx="4567241" cy="3624640"/>
          </a:xfrm>
          <a:custGeom>
            <a:avLst/>
            <a:gdLst>
              <a:gd name="connsiteX0" fmla="*/ 19456 w 4572000"/>
              <a:gd name="connsiteY0" fmla="*/ 797668 h 3628417"/>
              <a:gd name="connsiteX1" fmla="*/ 4572000 w 4572000"/>
              <a:gd name="connsiteY1" fmla="*/ 0 h 3628417"/>
              <a:gd name="connsiteX2" fmla="*/ 4572000 w 4572000"/>
              <a:gd name="connsiteY2" fmla="*/ 3628417 h 3628417"/>
              <a:gd name="connsiteX3" fmla="*/ 0 w 4572000"/>
              <a:gd name="connsiteY3" fmla="*/ 3628417 h 3628417"/>
              <a:gd name="connsiteX4" fmla="*/ 19456 w 4572000"/>
              <a:gd name="connsiteY4" fmla="*/ 797668 h 36284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572000" h="3628417">
                <a:moveTo>
                  <a:pt x="19456" y="797668"/>
                </a:moveTo>
                <a:lnTo>
                  <a:pt x="4572000" y="0"/>
                </a:lnTo>
                <a:lnTo>
                  <a:pt x="4572000" y="3628417"/>
                </a:lnTo>
                <a:lnTo>
                  <a:pt x="0" y="3628417"/>
                </a:lnTo>
                <a:lnTo>
                  <a:pt x="19456" y="797668"/>
                </a:lnTo>
                <a:close/>
              </a:path>
            </a:pathLst>
          </a:custGeom>
          <a:solidFill>
            <a:schemeClr val="bg2">
              <a:alpha val="56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0" marR="0" lvl="0" indent="0" algn="ctr" defTabSz="9134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98" b="0" i="0" u="none" strike="noStrike" kern="1200" cap="none" spc="0" normalizeH="0" baseline="0" noProof="0" dirty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Barlow"/>
              <a:ea typeface="+mn-ea"/>
              <a:cs typeface="+mn-cs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CDC2D592-36FC-4940-8477-A748027CCF7A}"/>
              </a:ext>
            </a:extLst>
          </p:cNvPr>
          <p:cNvSpPr txBox="1">
            <a:spLocks/>
          </p:cNvSpPr>
          <p:nvPr/>
        </p:nvSpPr>
        <p:spPr>
          <a:xfrm>
            <a:off x="183650" y="1977019"/>
            <a:ext cx="5093200" cy="213851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3943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2999" b="0" kern="1200">
                <a:solidFill>
                  <a:schemeClr val="bg1"/>
                </a:solidFill>
                <a:latin typeface="EYInterstate Light" panose="02000506000000020004" pitchFamily="2" charset="0"/>
                <a:ea typeface="+mj-ea"/>
                <a:cs typeface="Arial" pitchFamily="34" charset="0"/>
              </a:defRPr>
            </a:lvl1pPr>
          </a:lstStyle>
          <a:p>
            <a:pPr marL="0" marR="0" lvl="0" indent="0" algn="ctr" defTabSz="913943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Amasis MT Pro Black" panose="020B0604020202020204" pitchFamily="18" charset="0"/>
                <a:ea typeface="+mj-ea"/>
                <a:cs typeface="Arial" pitchFamily="34" charset="0"/>
              </a:rPr>
              <a:t>  </a:t>
            </a:r>
            <a:r>
              <a:rPr lang="en-US" sz="2800" dirty="0">
                <a:solidFill>
                  <a:srgbClr val="FFFF00"/>
                </a:solidFill>
                <a:latin typeface="Amasis MT Pro Black" panose="020B0604020202020204" pitchFamily="18" charset="0"/>
              </a:rPr>
              <a:t>Final</a:t>
            </a: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Amasis MT Pro Black" panose="020B0604020202020204" pitchFamily="18" charset="0"/>
                <a:ea typeface="+mj-ea"/>
                <a:cs typeface="Arial" pitchFamily="34" charset="0"/>
              </a:rPr>
              <a:t> Presentation</a:t>
            </a:r>
            <a:b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Amasis MT Pro Black" panose="020B0604020202020204" pitchFamily="18" charset="0"/>
                <a:ea typeface="+mj-ea"/>
                <a:cs typeface="Arial" pitchFamily="34" charset="0"/>
              </a:rPr>
            </a:b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Amasis MT Pro Black" panose="020B0604020202020204" pitchFamily="18" charset="0"/>
                <a:ea typeface="+mj-ea"/>
                <a:cs typeface="Arial" pitchFamily="34" charset="0"/>
              </a:rPr>
              <a:t>	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Amasis MT Pro Black" panose="020B0604020202020204" pitchFamily="18" charset="0"/>
                <a:ea typeface="+mj-ea"/>
                <a:cs typeface="Arial" pitchFamily="34" charset="0"/>
              </a:rPr>
              <a:t>- Ayush Bhupal</a:t>
            </a:r>
            <a:b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Amasis MT Pro Black" panose="020B0604020202020204" pitchFamily="18" charset="0"/>
                <a:ea typeface="+mj-ea"/>
                <a:cs typeface="Arial" pitchFamily="34" charset="0"/>
              </a:rPr>
            </a:br>
            <a:b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Amasis MT Pro Black" panose="020B0604020202020204" pitchFamily="18" charset="0"/>
                <a:ea typeface="+mj-ea"/>
                <a:cs typeface="Arial" pitchFamily="34" charset="0"/>
              </a:rPr>
            </a:b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Amasis MT Pro Black" panose="020B0604020202020204" pitchFamily="18" charset="0"/>
                <a:ea typeface="+mj-ea"/>
                <a:cs typeface="Arial" pitchFamily="34" charset="0"/>
              </a:rPr>
              <a:t>			</a:t>
            </a:r>
            <a:r>
              <a:rPr lang="en-US" sz="1600" dirty="0">
                <a:solidFill>
                  <a:prstClr val="white"/>
                </a:solidFill>
                <a:latin typeface="Amasis MT Pro Black" panose="020B0604020202020204" pitchFamily="18" charset="0"/>
              </a:rPr>
              <a:t>5th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asis MT Pro Black" panose="020B0604020202020204" pitchFamily="18" charset="0"/>
                <a:ea typeface="+mj-ea"/>
                <a:cs typeface="Arial" pitchFamily="34" charset="0"/>
              </a:rPr>
              <a:t> August, 2022</a:t>
            </a:r>
            <a:endParaRPr kumimoji="0" lang="en-IN" sz="1499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Barlow"/>
              <a:ea typeface="+mj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4188180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Title 1">
            <a:extLst>
              <a:ext uri="{FF2B5EF4-FFF2-40B4-BE49-F238E27FC236}">
                <a16:creationId xmlns:a16="http://schemas.microsoft.com/office/drawing/2014/main" id="{91886DCC-B99F-432E-9CE2-CA27AD5EC1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8929" y="629266"/>
            <a:ext cx="3505495" cy="1622321"/>
          </a:xfrm>
        </p:spPr>
        <p:txBody>
          <a:bodyPr>
            <a:normAutofit/>
          </a:bodyPr>
          <a:lstStyle/>
          <a:p>
            <a:endParaRPr lang="en-IN" dirty="0"/>
          </a:p>
        </p:txBody>
      </p:sp>
      <p:sp>
        <p:nvSpPr>
          <p:cNvPr id="40" name="Content Placeholder 8">
            <a:extLst>
              <a:ext uri="{FF2B5EF4-FFF2-40B4-BE49-F238E27FC236}">
                <a16:creationId xmlns:a16="http://schemas.microsoft.com/office/drawing/2014/main" id="{09F012CB-9405-C27A-3000-D47BCDD7AAE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8931" y="2438400"/>
            <a:ext cx="3505494" cy="3785419"/>
          </a:xfrm>
        </p:spPr>
        <p:txBody>
          <a:bodyPr>
            <a:normAutofit/>
          </a:bodyPr>
          <a:lstStyle/>
          <a:p>
            <a:pPr marL="342900" marR="0" lvl="0" indent="-342900" algn="ctr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E600"/>
              </a:buClr>
              <a:buSzPct val="11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IN" sz="2800" b="0" i="0" u="none" strike="noStrike" kern="120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Smile for a polynomial fit of the implied vols</a:t>
            </a:r>
          </a:p>
        </p:txBody>
      </p:sp>
      <p:pic>
        <p:nvPicPr>
          <p:cNvPr id="5" name="Content Placeholder 4" descr="Graphical user interface, histogram&#10;&#10;Description automatically generated">
            <a:extLst>
              <a:ext uri="{FF2B5EF4-FFF2-40B4-BE49-F238E27FC236}">
                <a16:creationId xmlns:a16="http://schemas.microsoft.com/office/drawing/2014/main" id="{E1ED2988-3E75-4A3A-9A87-0FD974B41B6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05862" y="1189178"/>
            <a:ext cx="6019331" cy="4514498"/>
          </a:xfrm>
          <a:prstGeom prst="rect">
            <a:avLst/>
          </a:prstGeom>
          <a:effectLst/>
        </p:spPr>
      </p:pic>
    </p:spTree>
    <p:extLst>
      <p:ext uri="{BB962C8B-B14F-4D97-AF65-F5344CB8AC3E}">
        <p14:creationId xmlns:p14="http://schemas.microsoft.com/office/powerpoint/2010/main" val="17174016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A9A3B0-2336-448E-B78B-18E1755547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sz="3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Checking the fit around ATM</a:t>
            </a:r>
            <a:br>
              <a:rPr lang="en-IN" sz="3200" dirty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endParaRPr lang="en-IN" sz="3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7" name="Content Placeholder 6" descr="Chart, line chart&#10;&#10;Description automatically generated">
            <a:extLst>
              <a:ext uri="{FF2B5EF4-FFF2-40B4-BE49-F238E27FC236}">
                <a16:creationId xmlns:a16="http://schemas.microsoft.com/office/drawing/2014/main" id="{C36CFEA2-A6A4-42DC-9902-30471DC168BD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00250" y="953575"/>
            <a:ext cx="8191500" cy="5743575"/>
          </a:xfrm>
        </p:spPr>
      </p:pic>
    </p:spTree>
    <p:extLst>
      <p:ext uri="{BB962C8B-B14F-4D97-AF65-F5344CB8AC3E}">
        <p14:creationId xmlns:p14="http://schemas.microsoft.com/office/powerpoint/2010/main" val="368981680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Content Placeholder 4" descr="Chart, line chart&#10;&#10;Description automatically generated">
            <a:extLst>
              <a:ext uri="{FF2B5EF4-FFF2-40B4-BE49-F238E27FC236}">
                <a16:creationId xmlns:a16="http://schemas.microsoft.com/office/drawing/2014/main" id="{C1C8C599-3FBF-49E1-A8FA-D5891703542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54424" y="952499"/>
            <a:ext cx="7388645" cy="5705476"/>
          </a:xfrm>
          <a:prstGeom prst="rect">
            <a:avLst/>
          </a:prstGeom>
          <a:effectLst/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635DB3D5-9492-416A-A7FE-96CE81E53B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8929" y="629266"/>
            <a:ext cx="3505495" cy="1622321"/>
          </a:xfrm>
        </p:spPr>
        <p:txBody>
          <a:bodyPr>
            <a:normAutofit/>
          </a:bodyPr>
          <a:lstStyle/>
          <a:p>
            <a:endParaRPr lang="en-IN" dirty="0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186B9809-82E1-04DA-FD32-6A2348087C9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8931" y="2438400"/>
            <a:ext cx="3505494" cy="3785419"/>
          </a:xfrm>
        </p:spPr>
        <p:txBody>
          <a:bodyPr>
            <a:norm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IN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Best results are obtained with a 2nd degree spline with zero smoothing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IN" sz="2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IN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The plots are for Volatility vs Strikes (Moneyness) for different maturities</a:t>
            </a:r>
            <a:endParaRPr lang="en-US" sz="2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9916188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id="{8DC6F627-4B4E-4B84-9186-6BC85B9B34A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84204573"/>
              </p:ext>
            </p:extLst>
          </p:nvPr>
        </p:nvGraphicFramePr>
        <p:xfrm>
          <a:off x="95250" y="1549400"/>
          <a:ext cx="6000750" cy="35464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09D64045-D3D4-4A61-ABA1-983FAB3D7EB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67967473"/>
              </p:ext>
            </p:extLst>
          </p:nvPr>
        </p:nvGraphicFramePr>
        <p:xfrm>
          <a:off x="6096001" y="1549399"/>
          <a:ext cx="6000749" cy="35464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149534239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7866C0E-BC2F-4EA7-B048-4CBD243D92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0080" y="2074363"/>
            <a:ext cx="2752354" cy="2709275"/>
          </a:xfrm>
          <a:prstGeom prst="ellipse">
            <a:avLst/>
          </a:prstGeom>
          <a:solidFill>
            <a:srgbClr val="262626"/>
          </a:solidFill>
          <a:ln w="174625" cmpd="thinThick">
            <a:solidFill>
              <a:srgbClr val="262626"/>
            </a:solidFill>
          </a:ln>
        </p:spPr>
        <p:txBody>
          <a:bodyPr vert="horz" lIns="91440" tIns="45720" rIns="91440" bIns="45720" rtlCol="0" anchor="ctr">
            <a:normAutofit fontScale="90000"/>
          </a:bodyPr>
          <a:lstStyle/>
          <a:p>
            <a:pPr algn="ctr"/>
            <a:r>
              <a:rPr lang="en-US" sz="2600" kern="1200" dirty="0">
                <a:solidFill>
                  <a:srgbClr val="FFFFFF"/>
                </a:solidFill>
                <a:latin typeface="+mj-lt"/>
                <a:ea typeface="+mj-ea"/>
                <a:cs typeface="+mj-cs"/>
              </a:rPr>
              <a:t>Implied Volatility Mesh vs</a:t>
            </a:r>
            <a:br>
              <a:rPr lang="en-US" sz="2600" kern="1200" dirty="0">
                <a:solidFill>
                  <a:srgbClr val="FFFFFF"/>
                </a:solidFill>
                <a:latin typeface="+mj-lt"/>
                <a:ea typeface="+mj-ea"/>
                <a:cs typeface="+mj-cs"/>
              </a:rPr>
            </a:br>
            <a:r>
              <a:rPr lang="en-US" sz="2600" kern="1200" dirty="0">
                <a:solidFill>
                  <a:srgbClr val="FFFFFF"/>
                </a:solidFill>
                <a:latin typeface="+mj-lt"/>
                <a:ea typeface="+mj-ea"/>
                <a:cs typeface="+mj-cs"/>
              </a:rPr>
              <a:t> Local Volatility Markers</a:t>
            </a:r>
          </a:p>
        </p:txBody>
      </p:sp>
      <p:pic>
        <p:nvPicPr>
          <p:cNvPr id="9" name="Picture 8" descr="Chart, surface chart&#10;&#10;Description automatically generated">
            <a:extLst>
              <a:ext uri="{FF2B5EF4-FFF2-40B4-BE49-F238E27FC236}">
                <a16:creationId xmlns:a16="http://schemas.microsoft.com/office/drawing/2014/main" id="{2E8DB55C-1251-4129-908C-64B224400FD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0951" y="981075"/>
            <a:ext cx="8401050" cy="5372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281448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>
            <a:extLst>
              <a:ext uri="{FF2B5EF4-FFF2-40B4-BE49-F238E27FC236}">
                <a16:creationId xmlns:a16="http://schemas.microsoft.com/office/drawing/2014/main" id="{8FE4D22F-088B-499E-94DC-9F270AFFFE9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38362" y="1137920"/>
            <a:ext cx="7915275" cy="50914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7804558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2" name="Picture 4">
            <a:extLst>
              <a:ext uri="{FF2B5EF4-FFF2-40B4-BE49-F238E27FC236}">
                <a16:creationId xmlns:a16="http://schemas.microsoft.com/office/drawing/2014/main" id="{989C38C5-199D-4F1E-953D-91989B3FAF1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14562" y="1057274"/>
            <a:ext cx="7762875" cy="5229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3101885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6A396A5-981C-4663-A5E9-3530961A9A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Key Learning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1BDFEC4-4BE2-438F-B4B4-11AB0BC1CD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1" y="1137920"/>
            <a:ext cx="10972800" cy="4834800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IN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Direct extension of BSM – Sensitive to changes in Implied Volatility - Assumes markets are complet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IN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Simple and exact calibration since there is an analytical formula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IN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Price paths during Monte Carlo Simulation can be used for pricing exotic option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IN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Constant Vols towards extreme strikes, since there are no liquid instrument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IN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Assumes forward skews to be flat – Overestimates actual prices – Should only be used for hedging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IN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Difficult to incorporate future dynamics of the volatility smile</a:t>
            </a:r>
          </a:p>
        </p:txBody>
      </p:sp>
    </p:spTree>
    <p:extLst>
      <p:ext uri="{BB962C8B-B14F-4D97-AF65-F5344CB8AC3E}">
        <p14:creationId xmlns:p14="http://schemas.microsoft.com/office/powerpoint/2010/main" val="459852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8FBA963-295E-4DE8-AB74-AB24E0C1AC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132137"/>
            <a:ext cx="10515600" cy="1325563"/>
          </a:xfrm>
        </p:spPr>
        <p:txBody>
          <a:bodyPr/>
          <a:lstStyle/>
          <a:p>
            <a:pPr algn="ctr"/>
            <a:r>
              <a:rPr lang="en-IN" sz="3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Heston Implementation</a:t>
            </a:r>
          </a:p>
        </p:txBody>
      </p:sp>
    </p:spTree>
    <p:extLst>
      <p:ext uri="{BB962C8B-B14F-4D97-AF65-F5344CB8AC3E}">
        <p14:creationId xmlns:p14="http://schemas.microsoft.com/office/powerpoint/2010/main" val="125299076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95832"/>
            <a:ext cx="10972800" cy="590093"/>
          </a:xfrm>
        </p:spPr>
        <p:txBody>
          <a:bodyPr/>
          <a:lstStyle/>
          <a:p>
            <a:pPr algn="ctr"/>
            <a:r>
              <a:rPr lang="en-US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Heston model</a:t>
            </a: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4" name="TextBox 3">
                <a:extLst>
                  <a:ext uri="{FF2B5EF4-FFF2-40B4-BE49-F238E27FC236}">
                    <a16:creationId xmlns:a16="http://schemas.microsoft.com/office/drawing/2014/main" id="{B3A0E789-3887-48C4-BE5A-509C8F3D0A1C}"/>
                  </a:ext>
                </a:extLst>
              </p:cNvPr>
              <p:cNvSpPr txBox="1"/>
              <p:nvPr/>
            </p:nvSpPr>
            <p:spPr>
              <a:xfrm>
                <a:off x="523920" y="1020430"/>
                <a:ext cx="11150371" cy="2228220"/>
              </a:xfrm>
              <a:prstGeom prst="rect">
                <a:avLst/>
              </a:prstGeom>
              <a:noFill/>
            </p:spPr>
            <p:txBody>
              <a:bodyPr wrap="square" lIns="0" tIns="36557" rIns="0" bIns="0" rtlCol="0">
                <a:spAutoFit/>
              </a:bodyPr>
              <a:lstStyle/>
              <a:p>
                <a:pPr defTabSz="913943">
                  <a:lnSpc>
                    <a:spcPct val="85000"/>
                  </a:lnSpc>
                  <a:spcBef>
                    <a:spcPct val="20000"/>
                  </a:spcBef>
                  <a:spcAft>
                    <a:spcPts val="600"/>
                  </a:spcAft>
                  <a:buClr>
                    <a:srgbClr val="FFE600"/>
                  </a:buClr>
                  <a:buSzPct val="70000"/>
                </a:pPr>
                <a:r>
                  <a:rPr lang="en-IN" sz="1599" dirty="0">
                    <a:solidFill>
                      <a:srgbClr val="2E2E38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Heston</a:t>
                </a:r>
                <a:r>
                  <a:rPr lang="en-IN" sz="1599" dirty="0">
                    <a:solidFill>
                      <a:srgbClr val="FFFFFF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</a:t>
                </a:r>
                <a:r>
                  <a:rPr lang="en-IN" sz="1599" dirty="0">
                    <a:solidFill>
                      <a:srgbClr val="2E2E38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model assumes that S</a:t>
                </a:r>
                <a:r>
                  <a:rPr lang="en-IN" sz="1599" baseline="-25000" dirty="0">
                    <a:solidFill>
                      <a:srgbClr val="2E2E38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t</a:t>
                </a:r>
                <a:r>
                  <a:rPr lang="en-IN" sz="1599" dirty="0">
                    <a:solidFill>
                      <a:srgbClr val="2E2E38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, the price of the asset, is determined by below stochastic process,</a:t>
                </a:r>
              </a:p>
              <a:p>
                <a:pPr defTabSz="913943">
                  <a:lnSpc>
                    <a:spcPct val="85000"/>
                  </a:lnSpc>
                  <a:spcBef>
                    <a:spcPct val="20000"/>
                  </a:spcBef>
                  <a:spcAft>
                    <a:spcPts val="600"/>
                  </a:spcAft>
                  <a:buClr>
                    <a:srgbClr val="FFE600"/>
                  </a:buClr>
                  <a:buSzPct val="70000"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kumimoji="0" lang="en-IN" sz="2000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3A3A3A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m:t>𝑑</m:t>
                      </m:r>
                      <m:sSub>
                        <m:sSubPr>
                          <m:ctrlPr>
                            <a:rPr kumimoji="0" lang="en-IN" sz="2000" b="0" i="1" u="none" strike="noStrike" kern="1200" cap="none" spc="0" normalizeH="0" baseline="0" noProof="0">
                              <a:ln>
                                <a:noFill/>
                              </a:ln>
                              <a:solidFill>
                                <a:srgbClr val="3A3A3A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Arial" panose="020B0604020202020204" pitchFamily="34" charset="0"/>
                            </a:rPr>
                          </m:ctrlPr>
                        </m:sSubPr>
                        <m:e>
                          <m:r>
                            <a:rPr kumimoji="0" lang="en-IN" sz="2000" b="0" i="1" u="none" strike="noStrike" kern="1200" cap="none" spc="0" normalizeH="0" baseline="0" noProof="0">
                              <a:ln>
                                <a:noFill/>
                              </a:ln>
                              <a:solidFill>
                                <a:srgbClr val="3A3A3A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Arial" panose="020B0604020202020204" pitchFamily="34" charset="0"/>
                            </a:rPr>
                            <m:t>𝑆</m:t>
                          </m:r>
                        </m:e>
                        <m:sub>
                          <m:r>
                            <a:rPr kumimoji="0" lang="en-IN" sz="2000" b="0" i="1" u="none" strike="noStrike" kern="1200" cap="none" spc="0" normalizeH="0" baseline="0" noProof="0">
                              <a:ln>
                                <a:noFill/>
                              </a:ln>
                              <a:solidFill>
                                <a:srgbClr val="3A3A3A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Arial" panose="020B0604020202020204" pitchFamily="34" charset="0"/>
                            </a:rPr>
                            <m:t>𝑡</m:t>
                          </m:r>
                        </m:sub>
                      </m:sSub>
                      <m:r>
                        <a:rPr kumimoji="0" lang="en-IN" sz="20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A3A3A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m:t>=</m:t>
                      </m:r>
                      <m:r>
                        <a:rPr kumimoji="0" lang="en-IN" sz="20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A3A3A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m:t>𝜇</m:t>
                      </m:r>
                      <m:sSub>
                        <m:sSubPr>
                          <m:ctrlPr>
                            <a:rPr kumimoji="0" lang="en-IN" sz="2000" b="0" i="1" u="none" strike="noStrike" kern="1200" cap="none" spc="0" normalizeH="0" baseline="0" noProof="0">
                              <a:ln>
                                <a:noFill/>
                              </a:ln>
                              <a:solidFill>
                                <a:srgbClr val="3A3A3A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Arial" panose="020B0604020202020204" pitchFamily="34" charset="0"/>
                            </a:rPr>
                          </m:ctrlPr>
                        </m:sSubPr>
                        <m:e>
                          <m:r>
                            <a:rPr kumimoji="0" lang="en-IN" sz="2000" b="0" i="1" u="none" strike="noStrike" kern="1200" cap="none" spc="0" normalizeH="0" baseline="0" noProof="0">
                              <a:ln>
                                <a:noFill/>
                              </a:ln>
                              <a:solidFill>
                                <a:srgbClr val="3A3A3A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Arial" panose="020B0604020202020204" pitchFamily="34" charset="0"/>
                            </a:rPr>
                            <m:t>𝑆</m:t>
                          </m:r>
                        </m:e>
                        <m:sub>
                          <m:r>
                            <a:rPr kumimoji="0" lang="en-IN" sz="2000" b="0" i="1" u="none" strike="noStrike" kern="1200" cap="none" spc="0" normalizeH="0" baseline="0" noProof="0">
                              <a:ln>
                                <a:noFill/>
                              </a:ln>
                              <a:solidFill>
                                <a:srgbClr val="3A3A3A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Arial" panose="020B0604020202020204" pitchFamily="34" charset="0"/>
                            </a:rPr>
                            <m:t>𝑡</m:t>
                          </m:r>
                        </m:sub>
                      </m:sSub>
                      <m:r>
                        <a:rPr kumimoji="0" lang="en-IN" sz="20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A3A3A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m:t>𝑑𝑡</m:t>
                      </m:r>
                      <m:r>
                        <a:rPr kumimoji="0" lang="en-IN" sz="20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A3A3A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m:t>+</m:t>
                      </m:r>
                      <m:rad>
                        <m:radPr>
                          <m:degHide m:val="on"/>
                          <m:ctrlPr>
                            <a:rPr kumimoji="0" lang="en-IN" sz="2000" b="0" i="1" u="none" strike="noStrike" kern="1200" cap="none" spc="0" normalizeH="0" baseline="0" noProof="0">
                              <a:ln>
                                <a:noFill/>
                              </a:ln>
                              <a:solidFill>
                                <a:srgbClr val="3A3A3A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Arial" panose="020B0604020202020204" pitchFamily="34" charset="0"/>
                            </a:rPr>
                          </m:ctrlPr>
                        </m:radPr>
                        <m:deg/>
                        <m:e>
                          <m:d>
                            <m:dPr>
                              <m:ctrlPr>
                                <a:rPr kumimoji="0" lang="en-IN" sz="2000" b="0" i="1" u="none" strike="noStrike" kern="1200" cap="none" spc="0" normalizeH="0" baseline="0" noProof="0">
                                  <a:ln>
                                    <a:noFill/>
                                  </a:ln>
                                  <a:solidFill>
                                    <a:srgbClr val="3A3A3A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Calibri" panose="020F0502020204030204" pitchFamily="34" charset="0"/>
                                  <a:cs typeface="Arial" panose="020B0604020202020204" pitchFamily="34" charset="0"/>
                                </a:rPr>
                              </m:ctrlPr>
                            </m:dPr>
                            <m:e>
                              <m:sSub>
                                <m:sSubPr>
                                  <m:ctrlPr>
                                    <a:rPr kumimoji="0" lang="en-IN" sz="2000" b="0" i="1" u="none" strike="noStrike" kern="1200" cap="none" spc="0" normalizeH="0" baseline="0" noProof="0">
                                      <a:ln>
                                        <a:noFill/>
                                      </a:ln>
                                      <a:solidFill>
                                        <a:srgbClr val="3A3A3A"/>
                                      </a:solidFill>
                                      <a:effectLst/>
                                      <a:uLnTx/>
                                      <a:uFillTx/>
                                      <a:latin typeface="Cambria Math" panose="02040503050406030204" pitchFamily="18" charset="0"/>
                                      <a:ea typeface="Calibri" panose="020F0502020204030204" pitchFamily="34" charset="0"/>
                                      <a:cs typeface="Arial" panose="020B0604020202020204" pitchFamily="34" charset="0"/>
                                    </a:rPr>
                                  </m:ctrlPr>
                                </m:sSubPr>
                                <m:e>
                                  <m:r>
                                    <a:rPr kumimoji="0" lang="en-IN" sz="2000" b="0" i="1" u="none" strike="noStrike" kern="1200" cap="none" spc="0" normalizeH="0" baseline="0" noProof="0">
                                      <a:ln>
                                        <a:noFill/>
                                      </a:ln>
                                      <a:solidFill>
                                        <a:srgbClr val="3A3A3A"/>
                                      </a:solidFill>
                                      <a:effectLst/>
                                      <a:uLnTx/>
                                      <a:uFillTx/>
                                      <a:latin typeface="Cambria Math" panose="02040503050406030204" pitchFamily="18" charset="0"/>
                                      <a:ea typeface="Calibri" panose="020F0502020204030204" pitchFamily="34" charset="0"/>
                                      <a:cs typeface="Arial" panose="020B0604020202020204" pitchFamily="34" charset="0"/>
                                    </a:rPr>
                                    <m:t>𝑣</m:t>
                                  </m:r>
                                </m:e>
                                <m:sub>
                                  <m:r>
                                    <a:rPr kumimoji="0" lang="en-IN" sz="2000" b="0" i="1" u="none" strike="noStrike" kern="1200" cap="none" spc="0" normalizeH="0" baseline="0" noProof="0">
                                      <a:ln>
                                        <a:noFill/>
                                      </a:ln>
                                      <a:solidFill>
                                        <a:srgbClr val="3A3A3A"/>
                                      </a:solidFill>
                                      <a:effectLst/>
                                      <a:uLnTx/>
                                      <a:uFillTx/>
                                      <a:latin typeface="Cambria Math" panose="02040503050406030204" pitchFamily="18" charset="0"/>
                                      <a:ea typeface="Calibri" panose="020F0502020204030204" pitchFamily="34" charset="0"/>
                                      <a:cs typeface="Arial" panose="020B0604020202020204" pitchFamily="34" charset="0"/>
                                    </a:rPr>
                                    <m:t>𝑡</m:t>
                                  </m:r>
                                </m:sub>
                              </m:sSub>
                            </m:e>
                          </m:d>
                        </m:e>
                      </m:rad>
                      <m:sSub>
                        <m:sSubPr>
                          <m:ctrlPr>
                            <a:rPr kumimoji="0" lang="en-IN" sz="2000" b="0" i="1" u="none" strike="noStrike" kern="1200" cap="none" spc="0" normalizeH="0" baseline="0" noProof="0">
                              <a:ln>
                                <a:noFill/>
                              </a:ln>
                              <a:solidFill>
                                <a:srgbClr val="3A3A3A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Arial" panose="020B0604020202020204" pitchFamily="34" charset="0"/>
                            </a:rPr>
                          </m:ctrlPr>
                        </m:sSubPr>
                        <m:e>
                          <m:r>
                            <a:rPr kumimoji="0" lang="en-IN" sz="2000" b="0" i="1" u="none" strike="noStrike" kern="1200" cap="none" spc="0" normalizeH="0" baseline="0" noProof="0">
                              <a:ln>
                                <a:noFill/>
                              </a:ln>
                              <a:solidFill>
                                <a:srgbClr val="3A3A3A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Arial" panose="020B0604020202020204" pitchFamily="34" charset="0"/>
                            </a:rPr>
                            <m:t>𝑆</m:t>
                          </m:r>
                        </m:e>
                        <m:sub>
                          <m:r>
                            <a:rPr kumimoji="0" lang="en-IN" sz="2000" b="0" i="1" u="none" strike="noStrike" kern="1200" cap="none" spc="0" normalizeH="0" baseline="0" noProof="0">
                              <a:ln>
                                <a:noFill/>
                              </a:ln>
                              <a:solidFill>
                                <a:srgbClr val="3A3A3A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Arial" panose="020B0604020202020204" pitchFamily="34" charset="0"/>
                            </a:rPr>
                            <m:t>𝑡</m:t>
                          </m:r>
                        </m:sub>
                      </m:sSub>
                      <m:r>
                        <a:rPr kumimoji="0" lang="en-IN" sz="20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A3A3A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m:t>𝑑</m:t>
                      </m:r>
                      <m:sSubSup>
                        <m:sSubSupPr>
                          <m:ctrlPr>
                            <a:rPr kumimoji="0" lang="en-IN" sz="2000" b="0" i="1" u="none" strike="noStrike" kern="1200" cap="none" spc="0" normalizeH="0" baseline="0" noProof="0">
                              <a:ln>
                                <a:noFill/>
                              </a:ln>
                              <a:solidFill>
                                <a:srgbClr val="3A3A3A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Arial" panose="020B0604020202020204" pitchFamily="34" charset="0"/>
                            </a:rPr>
                          </m:ctrlPr>
                        </m:sSubSupPr>
                        <m:e>
                          <m:r>
                            <a:rPr kumimoji="0" lang="en-IN" sz="2000" b="0" i="1" u="none" strike="noStrike" kern="1200" cap="none" spc="0" normalizeH="0" baseline="0" noProof="0">
                              <a:ln>
                                <a:noFill/>
                              </a:ln>
                              <a:solidFill>
                                <a:srgbClr val="3A3A3A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Arial" panose="020B0604020202020204" pitchFamily="34" charset="0"/>
                            </a:rPr>
                            <m:t>𝑊</m:t>
                          </m:r>
                        </m:e>
                        <m:sub>
                          <m:r>
                            <a:rPr kumimoji="0" lang="en-IN" sz="2000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3A3A3A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Arial" panose="020B0604020202020204" pitchFamily="34" charset="0"/>
                            </a:rPr>
                            <m:t>1,</m:t>
                          </m:r>
                          <m:r>
                            <a:rPr kumimoji="0" lang="en-IN" sz="2000" b="0" i="1" u="none" strike="noStrike" kern="1200" cap="none" spc="0" normalizeH="0" baseline="0" noProof="0">
                              <a:ln>
                                <a:noFill/>
                              </a:ln>
                              <a:solidFill>
                                <a:srgbClr val="3A3A3A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Arial" panose="020B0604020202020204" pitchFamily="34" charset="0"/>
                            </a:rPr>
                            <m:t>𝑡</m:t>
                          </m:r>
                        </m:sub>
                        <m:sup>
                          <m:r>
                            <a:rPr kumimoji="0" lang="en-IN" sz="2000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3A3A3A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Arial" panose="020B0604020202020204" pitchFamily="34" charset="0"/>
                            </a:rPr>
                            <m:t>𝑃</m:t>
                          </m:r>
                        </m:sup>
                      </m:sSubSup>
                    </m:oMath>
                  </m:oMathPara>
                </a14:m>
                <a:br>
                  <a:rPr kumimoji="0" lang="en-IN" sz="2000" b="0" i="1" u="none" strike="noStrike" kern="1200" cap="none" spc="0" normalizeH="0" baseline="0" noProof="0" dirty="0">
                    <a:ln>
                      <a:noFill/>
                    </a:ln>
                    <a:solidFill>
                      <a:srgbClr val="3A3A3A"/>
                    </a:solidFill>
                    <a:effectLst/>
                    <a:uLnTx/>
                    <a:uFillTx/>
                    <a:latin typeface="Cambria Math" panose="02040503050406030204" pitchFamily="18" charset="0"/>
                    <a:ea typeface="Calibri" panose="020F0502020204030204" pitchFamily="34" charset="0"/>
                    <a:cs typeface="Arial" panose="020B0604020202020204" pitchFamily="34" charset="0"/>
                  </a:rPr>
                </a:br>
                <a:endParaRPr lang="en-IN" sz="1599" dirty="0">
                  <a:solidFill>
                    <a:srgbClr val="2E2E38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pPr defTabSz="913943">
                  <a:lnSpc>
                    <a:spcPct val="85000"/>
                  </a:lnSpc>
                  <a:spcBef>
                    <a:spcPct val="20000"/>
                  </a:spcBef>
                  <a:spcAft>
                    <a:spcPts val="600"/>
                  </a:spcAft>
                  <a:buClr>
                    <a:srgbClr val="FFE600"/>
                  </a:buClr>
                  <a:buSzPct val="70000"/>
                </a:pPr>
                <a:r>
                  <a:rPr lang="en-IN" sz="1599" dirty="0">
                    <a:solidFill>
                      <a:srgbClr val="2E2E38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Where V</a:t>
                </a:r>
                <a:r>
                  <a:rPr lang="en-IN" sz="1599" baseline="-25000" dirty="0">
                    <a:solidFill>
                      <a:srgbClr val="2E2E38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t</a:t>
                </a:r>
                <a:r>
                  <a:rPr lang="en-IN" sz="1599" dirty="0">
                    <a:solidFill>
                      <a:srgbClr val="2E2E38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, the instantaneous variance, is given by another stochastic process (</a:t>
                </a:r>
                <a:r>
                  <a:rPr lang="en-IN" sz="1599" b="1" dirty="0">
                    <a:solidFill>
                      <a:srgbClr val="2E2E38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CIR process</a:t>
                </a:r>
                <a:r>
                  <a:rPr lang="en-IN" sz="1599" dirty="0">
                    <a:solidFill>
                      <a:srgbClr val="2E2E38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),</a:t>
                </a:r>
              </a:p>
              <a:p>
                <a:pPr defTabSz="913943">
                  <a:lnSpc>
                    <a:spcPct val="85000"/>
                  </a:lnSpc>
                  <a:spcBef>
                    <a:spcPct val="20000"/>
                  </a:spcBef>
                  <a:spcAft>
                    <a:spcPts val="600"/>
                  </a:spcAft>
                  <a:buClr>
                    <a:srgbClr val="FFE600"/>
                  </a:buClr>
                  <a:buSzPct val="70000"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kumimoji="0" lang="en-IN" sz="2000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3A3A3A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m:t>𝑑</m:t>
                      </m:r>
                      <m:sSub>
                        <m:sSubPr>
                          <m:ctrlPr>
                            <a:rPr kumimoji="0" lang="en-IN" sz="2000" b="0" i="1" u="none" strike="noStrike" kern="1200" cap="none" spc="0" normalizeH="0" baseline="0" noProof="0">
                              <a:ln>
                                <a:noFill/>
                              </a:ln>
                              <a:solidFill>
                                <a:srgbClr val="3A3A3A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Arial" panose="020B0604020202020204" pitchFamily="34" charset="0"/>
                            </a:rPr>
                          </m:ctrlPr>
                        </m:sSubPr>
                        <m:e>
                          <m:r>
                            <a:rPr kumimoji="0" lang="en-IN" sz="2000" b="0" i="1" u="none" strike="noStrike" kern="1200" cap="none" spc="0" normalizeH="0" baseline="0" noProof="0">
                              <a:ln>
                                <a:noFill/>
                              </a:ln>
                              <a:solidFill>
                                <a:srgbClr val="3A3A3A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Arial" panose="020B0604020202020204" pitchFamily="34" charset="0"/>
                            </a:rPr>
                            <m:t>𝑣</m:t>
                          </m:r>
                        </m:e>
                        <m:sub>
                          <m:r>
                            <a:rPr kumimoji="0" lang="en-IN" sz="2000" b="0" i="1" u="none" strike="noStrike" kern="1200" cap="none" spc="0" normalizeH="0" baseline="0" noProof="0">
                              <a:ln>
                                <a:noFill/>
                              </a:ln>
                              <a:solidFill>
                                <a:srgbClr val="3A3A3A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Arial" panose="020B0604020202020204" pitchFamily="34" charset="0"/>
                            </a:rPr>
                            <m:t>𝑡</m:t>
                          </m:r>
                        </m:sub>
                      </m:sSub>
                      <m:r>
                        <a:rPr kumimoji="0" lang="en-IN" sz="20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A3A3A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m:t>=</m:t>
                      </m:r>
                      <m:r>
                        <a:rPr kumimoji="0" lang="en-IN" sz="20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A3A3A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m:t>𝜅</m:t>
                      </m:r>
                      <m:r>
                        <a:rPr kumimoji="0" lang="en-IN" sz="20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A3A3A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m:t>(</m:t>
                      </m:r>
                      <m:r>
                        <a:rPr kumimoji="0" lang="en-IN" sz="20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A3A3A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m:t>𝜃</m:t>
                      </m:r>
                      <m:r>
                        <a:rPr kumimoji="0" lang="en-IN" sz="20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A3A3A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m:t>–</m:t>
                      </m:r>
                      <m:sSub>
                        <m:sSubPr>
                          <m:ctrlPr>
                            <a:rPr kumimoji="0" lang="en-IN" sz="2000" b="0" i="1" u="none" strike="noStrike" kern="1200" cap="none" spc="0" normalizeH="0" baseline="0" noProof="0">
                              <a:ln>
                                <a:noFill/>
                              </a:ln>
                              <a:solidFill>
                                <a:srgbClr val="3A3A3A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Arial" panose="020B0604020202020204" pitchFamily="34" charset="0"/>
                            </a:rPr>
                          </m:ctrlPr>
                        </m:sSubPr>
                        <m:e>
                          <m:r>
                            <a:rPr kumimoji="0" lang="en-IN" sz="2000" b="0" i="1" u="none" strike="noStrike" kern="1200" cap="none" spc="0" normalizeH="0" baseline="0" noProof="0">
                              <a:ln>
                                <a:noFill/>
                              </a:ln>
                              <a:solidFill>
                                <a:srgbClr val="3A3A3A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Arial" panose="020B0604020202020204" pitchFamily="34" charset="0"/>
                            </a:rPr>
                            <m:t>𝑣</m:t>
                          </m:r>
                        </m:e>
                        <m:sub>
                          <m:r>
                            <a:rPr kumimoji="0" lang="en-IN" sz="2000" b="0" i="1" u="none" strike="noStrike" kern="1200" cap="none" spc="0" normalizeH="0" baseline="0" noProof="0">
                              <a:ln>
                                <a:noFill/>
                              </a:ln>
                              <a:solidFill>
                                <a:srgbClr val="3A3A3A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Arial" panose="020B0604020202020204" pitchFamily="34" charset="0"/>
                            </a:rPr>
                            <m:t>𝑡</m:t>
                          </m:r>
                        </m:sub>
                      </m:sSub>
                      <m:r>
                        <a:rPr kumimoji="0" lang="en-IN" sz="20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A3A3A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m:t>)</m:t>
                      </m:r>
                      <m:r>
                        <a:rPr kumimoji="0" lang="en-IN" sz="20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A3A3A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m:t>𝑑𝑡</m:t>
                      </m:r>
                      <m:r>
                        <a:rPr kumimoji="0" lang="en-IN" sz="20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A3A3A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m:t>+</m:t>
                      </m:r>
                      <m:r>
                        <a:rPr kumimoji="0" lang="en-IN" sz="20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A3A3A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m:t>𝜎</m:t>
                      </m:r>
                      <m:rad>
                        <m:radPr>
                          <m:degHide m:val="on"/>
                          <m:ctrlPr>
                            <a:rPr kumimoji="0" lang="en-IN" sz="2000" b="0" i="1" u="none" strike="noStrike" kern="1200" cap="none" spc="0" normalizeH="0" baseline="0" noProof="0">
                              <a:ln>
                                <a:noFill/>
                              </a:ln>
                              <a:solidFill>
                                <a:srgbClr val="3A3A3A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Arial" panose="020B0604020202020204" pitchFamily="34" charset="0"/>
                            </a:rPr>
                          </m:ctrlPr>
                        </m:radPr>
                        <m:deg/>
                        <m:e>
                          <m:sSub>
                            <m:sSubPr>
                              <m:ctrlPr>
                                <a:rPr kumimoji="0" lang="en-IN" sz="2000" b="0" i="1" u="none" strike="noStrike" kern="1200" cap="none" spc="0" normalizeH="0" baseline="0" noProof="0">
                                  <a:ln>
                                    <a:noFill/>
                                  </a:ln>
                                  <a:solidFill>
                                    <a:srgbClr val="3A3A3A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Calibri" panose="020F0502020204030204" pitchFamily="34" charset="0"/>
                                  <a:cs typeface="Arial" panose="020B0604020202020204" pitchFamily="34" charset="0"/>
                                </a:rPr>
                              </m:ctrlPr>
                            </m:sSubPr>
                            <m:e>
                              <m:r>
                                <a:rPr kumimoji="0" lang="en-IN" sz="2000" b="0" i="1" u="none" strike="noStrike" kern="1200" cap="none" spc="0" normalizeH="0" baseline="0" noProof="0">
                                  <a:ln>
                                    <a:noFill/>
                                  </a:ln>
                                  <a:solidFill>
                                    <a:srgbClr val="3A3A3A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Calibri" panose="020F0502020204030204" pitchFamily="34" charset="0"/>
                                  <a:cs typeface="Arial" panose="020B0604020202020204" pitchFamily="34" charset="0"/>
                                </a:rPr>
                                <m:t>𝑣</m:t>
                              </m:r>
                            </m:e>
                            <m:sub>
                              <m:r>
                                <a:rPr kumimoji="0" lang="en-IN" sz="2000" b="0" i="1" u="none" strike="noStrike" kern="1200" cap="none" spc="0" normalizeH="0" baseline="0" noProof="0">
                                  <a:ln>
                                    <a:noFill/>
                                  </a:ln>
                                  <a:solidFill>
                                    <a:srgbClr val="3A3A3A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Calibri" panose="020F0502020204030204" pitchFamily="34" charset="0"/>
                                  <a:cs typeface="Arial" panose="020B0604020202020204" pitchFamily="34" charset="0"/>
                                </a:rPr>
                                <m:t>𝑡</m:t>
                              </m:r>
                            </m:sub>
                          </m:sSub>
                        </m:e>
                      </m:rad>
                      <m:r>
                        <a:rPr kumimoji="0" lang="en-IN" sz="20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A3A3A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m:t>𝑑</m:t>
                      </m:r>
                      <m:sSubSup>
                        <m:sSubSupPr>
                          <m:ctrlPr>
                            <a:rPr kumimoji="0" lang="en-IN" sz="2000" b="0" i="1" u="none" strike="noStrike" kern="1200" cap="none" spc="0" normalizeH="0" baseline="0" noProof="0">
                              <a:ln>
                                <a:noFill/>
                              </a:ln>
                              <a:solidFill>
                                <a:srgbClr val="3A3A3A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Arial" panose="020B0604020202020204" pitchFamily="34" charset="0"/>
                            </a:rPr>
                          </m:ctrlPr>
                        </m:sSubSupPr>
                        <m:e>
                          <m:r>
                            <a:rPr kumimoji="0" lang="en-IN" sz="2000" b="0" i="1" u="none" strike="noStrike" kern="1200" cap="none" spc="0" normalizeH="0" baseline="0" noProof="0">
                              <a:ln>
                                <a:noFill/>
                              </a:ln>
                              <a:solidFill>
                                <a:srgbClr val="3A3A3A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Arial" panose="020B0604020202020204" pitchFamily="34" charset="0"/>
                            </a:rPr>
                            <m:t>𝑊</m:t>
                          </m:r>
                        </m:e>
                        <m:sub>
                          <m:r>
                            <a:rPr kumimoji="0" lang="en-IN" sz="2000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3A3A3A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Arial" panose="020B0604020202020204" pitchFamily="34" charset="0"/>
                            </a:rPr>
                            <m:t>2,</m:t>
                          </m:r>
                          <m:r>
                            <a:rPr kumimoji="0" lang="en-IN" sz="2000" b="0" i="1" u="none" strike="noStrike" kern="1200" cap="none" spc="0" normalizeH="0" baseline="0" noProof="0">
                              <a:ln>
                                <a:noFill/>
                              </a:ln>
                              <a:solidFill>
                                <a:srgbClr val="3A3A3A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Arial" panose="020B0604020202020204" pitchFamily="34" charset="0"/>
                            </a:rPr>
                            <m:t>𝑡</m:t>
                          </m:r>
                        </m:sub>
                        <m:sup>
                          <m:r>
                            <a:rPr kumimoji="0" lang="en-IN" sz="2000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3A3A3A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Arial" panose="020B0604020202020204" pitchFamily="34" charset="0"/>
                            </a:rPr>
                            <m:t>𝑃</m:t>
                          </m:r>
                        </m:sup>
                      </m:sSubSup>
                    </m:oMath>
                  </m:oMathPara>
                </a14:m>
                <a:endParaRPr lang="en-IN" sz="1599" dirty="0">
                  <a:solidFill>
                    <a:srgbClr val="2E2E38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pPr defTabSz="913943">
                  <a:lnSpc>
                    <a:spcPct val="85000"/>
                  </a:lnSpc>
                  <a:spcBef>
                    <a:spcPct val="20000"/>
                  </a:spcBef>
                  <a:spcAft>
                    <a:spcPts val="600"/>
                  </a:spcAft>
                  <a:buClr>
                    <a:srgbClr val="FFE600"/>
                  </a:buClr>
                  <a:buSzPct val="70000"/>
                </a:pPr>
                <a:r>
                  <a:rPr lang="en-IN" sz="1599" b="1" dirty="0">
                    <a:solidFill>
                      <a:srgbClr val="2E2E38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Initial conditions: </a:t>
                </a:r>
                <a:r>
                  <a:rPr lang="en-IN" sz="1599" dirty="0">
                    <a:solidFill>
                      <a:srgbClr val="2E2E38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 </a:t>
                </a:r>
                <a:r>
                  <a:rPr lang="en-IN" sz="1599" b="1" dirty="0">
                    <a:solidFill>
                      <a:srgbClr val="2E2E38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S (0) = S</a:t>
                </a:r>
                <a:r>
                  <a:rPr lang="en-IN" sz="1599" b="1" baseline="-25000" dirty="0">
                    <a:solidFill>
                      <a:srgbClr val="2E2E38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0 </a:t>
                </a:r>
                <a:r>
                  <a:rPr lang="en-IN" sz="1599" b="1" dirty="0">
                    <a:solidFill>
                      <a:srgbClr val="2E2E38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</a:t>
                </a:r>
                <a14:m>
                  <m:oMath xmlns:m="http://schemas.openxmlformats.org/officeDocument/2006/math">
                    <m:r>
                      <a:rPr lang="en-IN" sz="1599" b="1" i="1">
                        <a:solidFill>
                          <a:srgbClr val="2E2E38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≥</m:t>
                    </m:r>
                  </m:oMath>
                </a14:m>
                <a:r>
                  <a:rPr lang="en-IN" sz="1599" b="1" dirty="0">
                    <a:solidFill>
                      <a:srgbClr val="2E2E38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0 </a:t>
                </a:r>
                <a:r>
                  <a:rPr lang="en-IN" sz="1599" dirty="0">
                    <a:solidFill>
                      <a:srgbClr val="2E2E38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&amp; </a:t>
                </a:r>
                <a:r>
                  <a:rPr lang="en-IN" sz="1599" b="1" dirty="0">
                    <a:solidFill>
                      <a:srgbClr val="2E2E38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V(0) = V</a:t>
                </a:r>
                <a:r>
                  <a:rPr lang="en-IN" sz="1599" b="1" baseline="-25000" dirty="0">
                    <a:solidFill>
                      <a:srgbClr val="2E2E38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0 </a:t>
                </a:r>
                <a:r>
                  <a:rPr lang="en-IN" sz="1599" b="1" dirty="0">
                    <a:solidFill>
                      <a:srgbClr val="2E2E38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</a:t>
                </a:r>
                <a14:m>
                  <m:oMath xmlns:m="http://schemas.openxmlformats.org/officeDocument/2006/math">
                    <m:r>
                      <a:rPr lang="en-IN" sz="1599" b="1" i="1">
                        <a:solidFill>
                          <a:srgbClr val="2E2E38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≥</m:t>
                    </m:r>
                  </m:oMath>
                </a14:m>
                <a:r>
                  <a:rPr lang="en-IN" sz="1599" b="1" dirty="0">
                    <a:solidFill>
                      <a:srgbClr val="2E2E38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0 </a:t>
                </a:r>
              </a:p>
              <a:p>
                <a:pPr defTabSz="913943">
                  <a:lnSpc>
                    <a:spcPct val="85000"/>
                  </a:lnSpc>
                  <a:spcBef>
                    <a:spcPct val="20000"/>
                  </a:spcBef>
                  <a:spcAft>
                    <a:spcPts val="600"/>
                  </a:spcAft>
                  <a:buClr>
                    <a:srgbClr val="FFE600"/>
                  </a:buClr>
                  <a:buSzPct val="70000"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kumimoji="0" lang="en-IN" sz="2000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3A3A3A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m:t>𝜌</m:t>
                      </m:r>
                      <m:r>
                        <a:rPr kumimoji="0" lang="en-IN" sz="2000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3A3A3A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m:t>𝑑𝑡</m:t>
                      </m:r>
                      <m:r>
                        <a:rPr kumimoji="0" lang="en-IN" sz="2000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3A3A3A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m:t>=</m:t>
                      </m:r>
                      <m:r>
                        <a:rPr kumimoji="0" lang="en-IN" sz="2000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3A3A3A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m:t>𝑑</m:t>
                      </m:r>
                      <m:sSubSup>
                        <m:sSubSupPr>
                          <m:ctrlPr>
                            <a:rPr kumimoji="0" lang="en-IN" sz="2000" b="0" i="1" u="none" strike="noStrike" kern="1200" cap="none" spc="0" normalizeH="0" baseline="0" noProof="0">
                              <a:ln>
                                <a:noFill/>
                              </a:ln>
                              <a:solidFill>
                                <a:srgbClr val="3A3A3A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Arial" panose="020B0604020202020204" pitchFamily="34" charset="0"/>
                            </a:rPr>
                          </m:ctrlPr>
                        </m:sSubSupPr>
                        <m:e>
                          <m:r>
                            <a:rPr kumimoji="0" lang="en-IN" sz="2000" b="0" i="1" u="none" strike="noStrike" kern="1200" cap="none" spc="0" normalizeH="0" baseline="0" noProof="0">
                              <a:ln>
                                <a:noFill/>
                              </a:ln>
                              <a:solidFill>
                                <a:srgbClr val="3A3A3A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Arial" panose="020B0604020202020204" pitchFamily="34" charset="0"/>
                            </a:rPr>
                            <m:t>𝑊</m:t>
                          </m:r>
                        </m:e>
                        <m:sub>
                          <m:r>
                            <a:rPr kumimoji="0" lang="en-IN" sz="2000" b="0" i="1" u="none" strike="noStrike" kern="1200" cap="none" spc="0" normalizeH="0" baseline="0" noProof="0">
                              <a:ln>
                                <a:noFill/>
                              </a:ln>
                              <a:solidFill>
                                <a:srgbClr val="3A3A3A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Arial" panose="020B0604020202020204" pitchFamily="34" charset="0"/>
                            </a:rPr>
                            <m:t>𝑡</m:t>
                          </m:r>
                        </m:sub>
                        <m:sup>
                          <m:r>
                            <a:rPr kumimoji="0" lang="en-IN" sz="2000" b="0" i="1" u="none" strike="noStrike" kern="1200" cap="none" spc="0" normalizeH="0" baseline="0" noProof="0">
                              <a:ln>
                                <a:noFill/>
                              </a:ln>
                              <a:solidFill>
                                <a:srgbClr val="3A3A3A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Arial" panose="020B0604020202020204" pitchFamily="34" charset="0"/>
                            </a:rPr>
                            <m:t>𝑠</m:t>
                          </m:r>
                        </m:sup>
                      </m:sSubSup>
                      <m:r>
                        <a:rPr kumimoji="0" lang="en-IN" sz="20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A3A3A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m:t>𝑑</m:t>
                      </m:r>
                      <m:sSubSup>
                        <m:sSubSupPr>
                          <m:ctrlPr>
                            <a:rPr kumimoji="0" lang="en-IN" sz="2000" b="0" i="1" u="none" strike="noStrike" kern="1200" cap="none" spc="0" normalizeH="0" baseline="0" noProof="0">
                              <a:ln>
                                <a:noFill/>
                              </a:ln>
                              <a:solidFill>
                                <a:srgbClr val="3A3A3A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Arial" panose="020B0604020202020204" pitchFamily="34" charset="0"/>
                            </a:rPr>
                          </m:ctrlPr>
                        </m:sSubSupPr>
                        <m:e>
                          <m:r>
                            <a:rPr kumimoji="0" lang="en-IN" sz="2000" b="0" i="1" u="none" strike="noStrike" kern="1200" cap="none" spc="0" normalizeH="0" baseline="0" noProof="0">
                              <a:ln>
                                <a:noFill/>
                              </a:ln>
                              <a:solidFill>
                                <a:srgbClr val="3A3A3A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Arial" panose="020B0604020202020204" pitchFamily="34" charset="0"/>
                            </a:rPr>
                            <m:t>𝑊</m:t>
                          </m:r>
                        </m:e>
                        <m:sub>
                          <m:r>
                            <a:rPr kumimoji="0" lang="en-IN" sz="2000" b="0" i="1" u="none" strike="noStrike" kern="1200" cap="none" spc="0" normalizeH="0" baseline="0" noProof="0">
                              <a:ln>
                                <a:noFill/>
                              </a:ln>
                              <a:solidFill>
                                <a:srgbClr val="3A3A3A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Arial" panose="020B0604020202020204" pitchFamily="34" charset="0"/>
                            </a:rPr>
                            <m:t>𝑡</m:t>
                          </m:r>
                        </m:sub>
                        <m:sup>
                          <m:r>
                            <a:rPr kumimoji="0" lang="en-IN" sz="2000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3A3A3A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Arial" panose="020B0604020202020204" pitchFamily="34" charset="0"/>
                            </a:rPr>
                            <m:t>𝑣</m:t>
                          </m:r>
                        </m:sup>
                      </m:sSubSup>
                    </m:oMath>
                  </m:oMathPara>
                </a14:m>
                <a:endParaRPr lang="en-IN" sz="1599" dirty="0">
                  <a:solidFill>
                    <a:srgbClr val="2E2E38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pPr algn="just" defTabSz="913943">
                  <a:lnSpc>
                    <a:spcPct val="85000"/>
                  </a:lnSpc>
                  <a:spcAft>
                    <a:spcPts val="600"/>
                  </a:spcAft>
                  <a:buClr>
                    <a:srgbClr val="27ACAA"/>
                  </a:buClr>
                  <a:buSzPct val="70000"/>
                </a:pPr>
                <a:endParaRPr lang="en-IN" sz="1599" dirty="0">
                  <a:solidFill>
                    <a:srgbClr val="2E2E38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mc:Choice>
        <mc:Fallback>
          <p:sp>
            <p:nvSpPr>
              <p:cNvPr id="4" name="TextBox 3">
                <a:extLst>
                  <a:ext uri="{FF2B5EF4-FFF2-40B4-BE49-F238E27FC236}">
                    <a16:creationId xmlns:a16="http://schemas.microsoft.com/office/drawing/2014/main" id="{B3A0E789-3887-48C4-BE5A-509C8F3D0A1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23920" y="1020430"/>
                <a:ext cx="11150371" cy="2228220"/>
              </a:xfrm>
              <a:prstGeom prst="rect">
                <a:avLst/>
              </a:prstGeom>
              <a:blipFill>
                <a:blip r:embed="rId2"/>
                <a:stretch>
                  <a:fillRect l="-1148" t="-2732"/>
                </a:stretch>
              </a:blipFill>
            </p:spPr>
            <p:txBody>
              <a:bodyPr/>
              <a:lstStyle/>
              <a:p>
                <a:r>
                  <a:rPr lang="en-IN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9" name="TextBox 8">
                <a:extLst>
                  <a:ext uri="{FF2B5EF4-FFF2-40B4-BE49-F238E27FC236}">
                    <a16:creationId xmlns:a16="http://schemas.microsoft.com/office/drawing/2014/main" id="{D216F91E-408C-4B8F-9C2A-993175201E90}"/>
                  </a:ext>
                </a:extLst>
              </p:cNvPr>
              <p:cNvSpPr txBox="1"/>
              <p:nvPr/>
            </p:nvSpPr>
            <p:spPr>
              <a:xfrm>
                <a:off x="523921" y="3237876"/>
                <a:ext cx="11058480" cy="2266883"/>
              </a:xfrm>
              <a:prstGeom prst="rect">
                <a:avLst/>
              </a:prstGeom>
              <a:noFill/>
            </p:spPr>
            <p:txBody>
              <a:bodyPr wrap="square" lIns="0" tIns="36557" rIns="0" bIns="0" rtlCol="0">
                <a:spAutoFit/>
              </a:bodyPr>
              <a:lstStyle/>
              <a:p>
                <a:pPr defTabSz="913943">
                  <a:lnSpc>
                    <a:spcPct val="85000"/>
                  </a:lnSpc>
                  <a:spcAft>
                    <a:spcPts val="600"/>
                  </a:spcAft>
                  <a:buClr>
                    <a:srgbClr val="27ACAA"/>
                  </a:buClr>
                  <a:buSzPct val="70000"/>
                </a:pPr>
                <a:r>
                  <a:rPr lang="en-IN" sz="1599" b="1" dirty="0">
                    <a:solidFill>
                      <a:srgbClr val="2E2E38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Where:</a:t>
                </a:r>
                <a:endParaRPr lang="el-GR" sz="1599" b="1" dirty="0">
                  <a:solidFill>
                    <a:srgbClr val="2E2E38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pPr defTabSz="913943">
                  <a:lnSpc>
                    <a:spcPct val="85000"/>
                  </a:lnSpc>
                  <a:spcAft>
                    <a:spcPts val="600"/>
                  </a:spcAft>
                  <a:buClr>
                    <a:srgbClr val="27ACAA"/>
                  </a:buClr>
                  <a:buSzPct val="70000"/>
                </a:pPr>
                <a:r>
                  <a:rPr lang="en-IN" sz="1599" dirty="0">
                    <a:solidFill>
                      <a:srgbClr val="2E2E38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S</a:t>
                </a:r>
                <a:r>
                  <a:rPr lang="en-IN" sz="1599" baseline="-25000" dirty="0">
                    <a:solidFill>
                      <a:srgbClr val="2E2E38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t</a:t>
                </a:r>
                <a:r>
                  <a:rPr lang="en-IN" sz="1599" dirty="0">
                    <a:solidFill>
                      <a:srgbClr val="2E2E38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= asset price at time t			</a:t>
                </a:r>
                <a14:m>
                  <m:oMath xmlns:m="http://schemas.openxmlformats.org/officeDocument/2006/math">
                    <m:r>
                      <a:rPr lang="el-GR" sz="1599" i="1" dirty="0" smtClean="0">
                        <a:solidFill>
                          <a:srgbClr val="2E2E38"/>
                        </a:solidFill>
                        <a:latin typeface="Cambria Math" panose="02040503050406030204" pitchFamily="18" charset="0"/>
                        <a:cs typeface="Times New Roman" panose="02020603050405020304" pitchFamily="18" charset="0"/>
                      </a:rPr>
                      <m:t>𝜇</m:t>
                    </m:r>
                  </m:oMath>
                </a14:m>
                <a:r>
                  <a:rPr lang="en-IN" sz="1599" dirty="0">
                    <a:solidFill>
                      <a:srgbClr val="2E2E38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= instantaneous expected rate of return</a:t>
                </a:r>
              </a:p>
              <a:p>
                <a:pPr defTabSz="913943">
                  <a:lnSpc>
                    <a:spcPct val="85000"/>
                  </a:lnSpc>
                  <a:spcAft>
                    <a:spcPts val="600"/>
                  </a:spcAft>
                  <a:buClr>
                    <a:srgbClr val="27ACAA"/>
                  </a:buClr>
                  <a:buSzPct val="70000"/>
                </a:pPr>
                <a:r>
                  <a:rPr lang="en-IN" sz="1599" dirty="0">
                    <a:solidFill>
                      <a:srgbClr val="2E2E38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r = risk free interest rate </a:t>
                </a:r>
              </a:p>
              <a:p>
                <a:pPr defTabSz="913943">
                  <a:lnSpc>
                    <a:spcPct val="85000"/>
                  </a:lnSpc>
                  <a:spcAft>
                    <a:spcPts val="600"/>
                  </a:spcAft>
                  <a:buClr>
                    <a:srgbClr val="27ACAA"/>
                  </a:buClr>
                  <a:buSzPct val="70000"/>
                </a:pPr>
                <a14:m>
                  <m:oMath xmlns:m="http://schemas.openxmlformats.org/officeDocument/2006/math">
                    <m:rad>
                      <m:radPr>
                        <m:degHide m:val="on"/>
                        <m:ctrlPr>
                          <a:rPr lang="en-IN" sz="1599" i="1">
                            <a:solidFill>
                              <a:srgbClr val="2E2E38"/>
                            </a:solidFill>
                            <a:latin typeface="Cambria Math" panose="02040503050406030204" pitchFamily="18" charset="0"/>
                          </a:rPr>
                        </m:ctrlPr>
                      </m:radPr>
                      <m:deg/>
                      <m:e>
                        <m:r>
                          <m:rPr>
                            <m:nor/>
                          </m:rPr>
                          <a:rPr lang="en-IN" sz="1599" dirty="0">
                            <a:solidFill>
                              <a:srgbClr val="2E2E38"/>
                            </a:solidFill>
                            <a:latin typeface="Times New Roman" panose="02020603050405020304" pitchFamily="18" charset="0"/>
                            <a:cs typeface="Times New Roman" panose="02020603050405020304" pitchFamily="18" charset="0"/>
                          </a:rPr>
                          <m:t>V</m:t>
                        </m:r>
                        <m:r>
                          <m:rPr>
                            <m:nor/>
                          </m:rPr>
                          <a:rPr lang="en-IN" sz="1599" baseline="-25000" dirty="0">
                            <a:solidFill>
                              <a:srgbClr val="2E2E38"/>
                            </a:solidFill>
                            <a:latin typeface="Times New Roman" panose="02020603050405020304" pitchFamily="18" charset="0"/>
                            <a:cs typeface="Times New Roman" panose="02020603050405020304" pitchFamily="18" charset="0"/>
                          </a:rPr>
                          <m:t>t</m:t>
                        </m:r>
                      </m:e>
                    </m:rad>
                    <m:r>
                      <a:rPr lang="en-IN" sz="1599" i="1">
                        <a:solidFill>
                          <a:srgbClr val="2E2E38"/>
                        </a:solidFill>
                        <a:latin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lang="en-IN" sz="1599" dirty="0">
                    <a:solidFill>
                      <a:srgbClr val="2E2E38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= volatility of asset price 		                 </a:t>
                </a:r>
                <a:r>
                  <a:rPr lang="el-GR" sz="1599" dirty="0">
                    <a:solidFill>
                      <a:srgbClr val="2E2E38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σ</a:t>
                </a:r>
                <a:r>
                  <a:rPr lang="en-IN" sz="1599" dirty="0">
                    <a:solidFill>
                      <a:srgbClr val="2E2E38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= “volatility of variance of underlying”</a:t>
                </a:r>
              </a:p>
              <a:p>
                <a:pPr defTabSz="913943">
                  <a:lnSpc>
                    <a:spcPct val="85000"/>
                  </a:lnSpc>
                  <a:spcAft>
                    <a:spcPts val="600"/>
                  </a:spcAft>
                  <a:buClr>
                    <a:srgbClr val="27ACAA"/>
                  </a:buClr>
                  <a:buSzPct val="70000"/>
                </a:pPr>
                <a:r>
                  <a:rPr lang="el-GR" sz="1599" dirty="0">
                    <a:solidFill>
                      <a:srgbClr val="2E2E38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θ</a:t>
                </a:r>
                <a:r>
                  <a:rPr lang="en-IN" sz="1599" dirty="0">
                    <a:solidFill>
                      <a:srgbClr val="2E2E38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(theta) = long run variance of underlying             k (kappa) = rate of mean-reversion to </a:t>
                </a:r>
                <a:r>
                  <a:rPr lang="el-GR" sz="1599" dirty="0">
                    <a:solidFill>
                      <a:srgbClr val="2E2E38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θ</a:t>
                </a:r>
                <a:r>
                  <a:rPr lang="en-IN" sz="1599" dirty="0">
                    <a:solidFill>
                      <a:srgbClr val="2E2E38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</a:t>
                </a:r>
              </a:p>
              <a:p>
                <a:pPr defTabSz="913943">
                  <a:lnSpc>
                    <a:spcPct val="85000"/>
                  </a:lnSpc>
                  <a:spcAft>
                    <a:spcPts val="600"/>
                  </a:spcAft>
                  <a:buClr>
                    <a:srgbClr val="27ACAA"/>
                  </a:buClr>
                  <a:buSzPct val="70000"/>
                </a:pPr>
                <a:r>
                  <a:rPr lang="en-IN" sz="1599" dirty="0">
                    <a:solidFill>
                      <a:srgbClr val="2E2E38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dt = indefinitely small time increment</a:t>
                </a:r>
              </a:p>
              <a:p>
                <a:pPr defTabSz="913943">
                  <a:lnSpc>
                    <a:spcPct val="85000"/>
                  </a:lnSpc>
                  <a:spcAft>
                    <a:spcPts val="600"/>
                  </a:spcAft>
                  <a:buClr>
                    <a:srgbClr val="27ACAA"/>
                  </a:buClr>
                  <a:buSzPct val="70000"/>
                </a:pPr>
                <a:r>
                  <a:rPr lang="en-IN" sz="1599" dirty="0">
                    <a:solidFill>
                      <a:srgbClr val="2E2E38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</a:t>
                </a:r>
              </a:p>
              <a:p>
                <a:pPr defTabSz="913943">
                  <a:lnSpc>
                    <a:spcPct val="85000"/>
                  </a:lnSpc>
                  <a:spcAft>
                    <a:spcPts val="600"/>
                  </a:spcAft>
                  <a:buClr>
                    <a:srgbClr val="27ACAA"/>
                  </a:buClr>
                  <a:buSzPct val="70000"/>
                </a:pPr>
                <a:endParaRPr lang="en-IN" sz="1599" dirty="0">
                  <a:solidFill>
                    <a:srgbClr val="2E2E38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mc:Choice>
        <mc:Fallback>
          <p:sp>
            <p:nvSpPr>
              <p:cNvPr id="9" name="TextBox 8">
                <a:extLst>
                  <a:ext uri="{FF2B5EF4-FFF2-40B4-BE49-F238E27FC236}">
                    <a16:creationId xmlns:a16="http://schemas.microsoft.com/office/drawing/2014/main" id="{D216F91E-408C-4B8F-9C2A-993175201E9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23921" y="3237876"/>
                <a:ext cx="11058480" cy="2266883"/>
              </a:xfrm>
              <a:prstGeom prst="rect">
                <a:avLst/>
              </a:prstGeom>
              <a:blipFill>
                <a:blip r:embed="rId3"/>
                <a:stretch>
                  <a:fillRect l="-1158" t="-2688"/>
                </a:stretch>
              </a:blipFill>
            </p:spPr>
            <p:txBody>
              <a:bodyPr/>
              <a:lstStyle/>
              <a:p>
                <a:r>
                  <a:rPr lang="en-IN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" name="TextBox 2">
            <a:extLst>
              <a:ext uri="{FF2B5EF4-FFF2-40B4-BE49-F238E27FC236}">
                <a16:creationId xmlns:a16="http://schemas.microsoft.com/office/drawing/2014/main" id="{12FC7BF7-46CD-4685-A0E9-9ED1D63E2CDC}"/>
              </a:ext>
            </a:extLst>
          </p:cNvPr>
          <p:cNvSpPr txBox="1"/>
          <p:nvPr/>
        </p:nvSpPr>
        <p:spPr>
          <a:xfrm>
            <a:off x="523920" y="4897351"/>
            <a:ext cx="11465892" cy="1485900"/>
          </a:xfrm>
          <a:prstGeom prst="rect">
            <a:avLst/>
          </a:prstGeom>
          <a:noFill/>
        </p:spPr>
        <p:txBody>
          <a:bodyPr wrap="square" lIns="0" tIns="36557" rIns="0" bIns="0" rtlCol="0">
            <a:spAutoFit/>
          </a:bodyPr>
          <a:lstStyle/>
          <a:p>
            <a:pPr defTabSz="913943">
              <a:lnSpc>
                <a:spcPct val="85000"/>
              </a:lnSpc>
              <a:spcBef>
                <a:spcPct val="20000"/>
              </a:spcBef>
              <a:spcAft>
                <a:spcPts val="600"/>
              </a:spcAft>
              <a:buClr>
                <a:srgbClr val="FFE600"/>
              </a:buClr>
              <a:buSzPct val="70000"/>
            </a:pPr>
            <a:r>
              <a:rPr lang="en-IN" sz="1599" dirty="0">
                <a:solidFill>
                  <a:srgbClr val="2E2E38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Reasons for choosing </a:t>
            </a:r>
            <a:r>
              <a:rPr lang="en-IN" sz="1599" b="1" dirty="0">
                <a:solidFill>
                  <a:srgbClr val="2E2E38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Heston model </a:t>
            </a:r>
            <a:r>
              <a:rPr lang="en-IN" sz="1599" dirty="0">
                <a:solidFill>
                  <a:srgbClr val="2E2E38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n the class of stochastic volatility models are:</a:t>
            </a:r>
          </a:p>
          <a:p>
            <a:pPr marL="285607" indent="-285607" defTabSz="913943">
              <a:lnSpc>
                <a:spcPct val="85000"/>
              </a:lnSpc>
              <a:spcBef>
                <a:spcPct val="20000"/>
              </a:spcBef>
              <a:spcAft>
                <a:spcPts val="600"/>
              </a:spcAft>
              <a:buClr>
                <a:srgbClr val="FFE600"/>
              </a:buClr>
              <a:buSzPct val="100000"/>
              <a:buFont typeface="EYInterstate Light" panose="02000506000000020004" pitchFamily="2" charset="0"/>
              <a:buChar char="•"/>
            </a:pPr>
            <a:r>
              <a:rPr lang="en-IN" sz="1599" dirty="0">
                <a:solidFill>
                  <a:srgbClr val="2E2E38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gives </a:t>
            </a:r>
            <a:r>
              <a:rPr lang="en-IN" sz="1599" b="1" dirty="0">
                <a:solidFill>
                  <a:srgbClr val="2E2E38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losed form solution </a:t>
            </a:r>
            <a:r>
              <a:rPr lang="en-IN" sz="1599" dirty="0">
                <a:solidFill>
                  <a:srgbClr val="2E2E38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for pricing plain vanilla European options.</a:t>
            </a:r>
          </a:p>
          <a:p>
            <a:pPr marL="285750" indent="-285750" defTabSz="913943">
              <a:lnSpc>
                <a:spcPct val="85000"/>
              </a:lnSpc>
              <a:spcBef>
                <a:spcPct val="20000"/>
              </a:spcBef>
              <a:spcAft>
                <a:spcPts val="600"/>
              </a:spcAft>
              <a:buClr>
                <a:srgbClr val="FFE600"/>
              </a:buClr>
              <a:buSzPct val="100000"/>
              <a:buFont typeface="Arial" panose="020B0604020202020204" pitchFamily="34" charset="0"/>
              <a:buChar char="•"/>
            </a:pPr>
            <a:r>
              <a:rPr lang="en-IN" sz="1599" dirty="0">
                <a:solidFill>
                  <a:srgbClr val="2E2E38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onveys that the volatility is mean-reverting</a:t>
            </a:r>
          </a:p>
          <a:p>
            <a:pPr marL="285607" indent="-285607" defTabSz="913943">
              <a:lnSpc>
                <a:spcPct val="85000"/>
              </a:lnSpc>
              <a:spcBef>
                <a:spcPct val="20000"/>
              </a:spcBef>
              <a:spcAft>
                <a:spcPts val="600"/>
              </a:spcAft>
              <a:buClr>
                <a:srgbClr val="FFE600"/>
              </a:buClr>
              <a:buSzPct val="100000"/>
              <a:buFont typeface="EYInterstate Light" panose="02000506000000020004" pitchFamily="2" charset="0"/>
              <a:buChar char="•"/>
            </a:pPr>
            <a:r>
              <a:rPr lang="en-IN" sz="1599" dirty="0">
                <a:solidFill>
                  <a:srgbClr val="2E2E38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factors in a possible </a:t>
            </a:r>
            <a:r>
              <a:rPr lang="en-IN" sz="1599" b="1" dirty="0">
                <a:solidFill>
                  <a:srgbClr val="2E2E38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orrelation</a:t>
            </a:r>
            <a:r>
              <a:rPr lang="en-IN" sz="1599" dirty="0">
                <a:solidFill>
                  <a:srgbClr val="2E2E38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between a stock's price and its volatility.</a:t>
            </a:r>
          </a:p>
          <a:p>
            <a:pPr defTabSz="913943">
              <a:lnSpc>
                <a:spcPct val="85000"/>
              </a:lnSpc>
              <a:spcAft>
                <a:spcPts val="600"/>
              </a:spcAft>
              <a:buClr>
                <a:srgbClr val="27ACAA"/>
              </a:buClr>
              <a:buSzPct val="70000"/>
            </a:pPr>
            <a:endParaRPr lang="en-IN" sz="1199" dirty="0" err="1">
              <a:solidFill>
                <a:srgbClr val="2E2E38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0849300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3">
            <a:extLst>
              <a:ext uri="{FF2B5EF4-FFF2-40B4-BE49-F238E27FC236}">
                <a16:creationId xmlns:a16="http://schemas.microsoft.com/office/drawing/2014/main" id="{9E8B1236-ECD8-7049-8952-F2ADFDDE3AD2}"/>
              </a:ext>
            </a:extLst>
          </p:cNvPr>
          <p:cNvSpPr/>
          <p:nvPr/>
        </p:nvSpPr>
        <p:spPr>
          <a:xfrm>
            <a:off x="596521" y="1005247"/>
            <a:ext cx="4567241" cy="3624640"/>
          </a:xfrm>
          <a:custGeom>
            <a:avLst/>
            <a:gdLst>
              <a:gd name="connsiteX0" fmla="*/ 19456 w 4572000"/>
              <a:gd name="connsiteY0" fmla="*/ 797668 h 3628417"/>
              <a:gd name="connsiteX1" fmla="*/ 4572000 w 4572000"/>
              <a:gd name="connsiteY1" fmla="*/ 0 h 3628417"/>
              <a:gd name="connsiteX2" fmla="*/ 4572000 w 4572000"/>
              <a:gd name="connsiteY2" fmla="*/ 3628417 h 3628417"/>
              <a:gd name="connsiteX3" fmla="*/ 0 w 4572000"/>
              <a:gd name="connsiteY3" fmla="*/ 3628417 h 3628417"/>
              <a:gd name="connsiteX4" fmla="*/ 19456 w 4572000"/>
              <a:gd name="connsiteY4" fmla="*/ 797668 h 36284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572000" h="3628417">
                <a:moveTo>
                  <a:pt x="19456" y="797668"/>
                </a:moveTo>
                <a:lnTo>
                  <a:pt x="4572000" y="0"/>
                </a:lnTo>
                <a:lnTo>
                  <a:pt x="4572000" y="3628417"/>
                </a:lnTo>
                <a:lnTo>
                  <a:pt x="0" y="3628417"/>
                </a:lnTo>
                <a:lnTo>
                  <a:pt x="19456" y="797668"/>
                </a:lnTo>
                <a:close/>
              </a:path>
            </a:pathLst>
          </a:custGeom>
          <a:solidFill>
            <a:schemeClr val="bg2">
              <a:alpha val="56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 defTabSz="913486">
              <a:defRPr/>
            </a:pPr>
            <a:endParaRPr lang="en-US" sz="1198" dirty="0">
              <a:solidFill>
                <a:srgbClr val="2E2E38"/>
              </a:solidFill>
              <a:latin typeface="Barlow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CDC2D592-36FC-4940-8477-A748027CCF7A}"/>
              </a:ext>
            </a:extLst>
          </p:cNvPr>
          <p:cNvSpPr txBox="1">
            <a:spLocks/>
          </p:cNvSpPr>
          <p:nvPr/>
        </p:nvSpPr>
        <p:spPr>
          <a:xfrm>
            <a:off x="596521" y="1977019"/>
            <a:ext cx="4567241" cy="213851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3943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2999" b="0" kern="1200">
                <a:solidFill>
                  <a:schemeClr val="bg1"/>
                </a:solidFill>
                <a:latin typeface="EYInterstate Light" panose="02000506000000020004" pitchFamily="2" charset="0"/>
                <a:ea typeface="+mj-ea"/>
                <a:cs typeface="Arial" pitchFamily="34" charset="0"/>
              </a:defRPr>
            </a:lvl1pPr>
          </a:lstStyle>
          <a:p>
            <a:pPr algn="ctr"/>
            <a:r>
              <a:rPr lang="en-US" sz="2800" dirty="0">
                <a:solidFill>
                  <a:srgbClr val="FFFF00"/>
                </a:solidFill>
                <a:latin typeface="Amasis MT Pro Black" panose="020B0604020202020204" pitchFamily="18" charset="0"/>
              </a:rPr>
              <a:t>  Project Title:</a:t>
            </a:r>
          </a:p>
          <a:p>
            <a:pPr algn="ctr"/>
            <a:endParaRPr lang="en-US" sz="2800" dirty="0">
              <a:solidFill>
                <a:srgbClr val="FFFF00"/>
              </a:solidFill>
              <a:latin typeface="Amasis MT Pro Black" panose="020B0604020202020204" pitchFamily="18" charset="0"/>
            </a:endParaRPr>
          </a:p>
          <a:p>
            <a:pPr algn="ctr"/>
            <a:r>
              <a:rPr lang="en-IN" sz="1800" dirty="0">
                <a:latin typeface="Barlow"/>
                <a:ea typeface="+mn-ea"/>
              </a:rPr>
              <a:t>Pricing of Equity Options/Call Spreads/Options Strategies using Dupire/Heston models for volatility calibration</a:t>
            </a:r>
          </a:p>
        </p:txBody>
      </p:sp>
    </p:spTree>
    <p:extLst>
      <p:ext uri="{BB962C8B-B14F-4D97-AF65-F5344CB8AC3E}">
        <p14:creationId xmlns:p14="http://schemas.microsoft.com/office/powerpoint/2010/main" val="388369871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4FDD9BE-9457-4EF6-9A36-5F47461468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 algn="ctr"/>
            <a:r>
              <a:rPr lang="en-IN" sz="3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Solving by Characteristic Functions under risk neutral measure</a:t>
            </a:r>
            <a:endParaRPr lang="en-IN"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3" name="Content Placeholder 2">
                <a:extLst>
                  <a:ext uri="{FF2B5EF4-FFF2-40B4-BE49-F238E27FC236}">
                    <a16:creationId xmlns:a16="http://schemas.microsoft.com/office/drawing/2014/main" id="{C1461FED-501B-4700-BC35-309310C1AECE}"/>
                  </a:ext>
                </a:extLst>
              </p:cNvPr>
              <p:cNvSpPr>
                <a:spLocks noGrp="1"/>
              </p:cNvSpPr>
              <p:nvPr>
                <p:ph idx="1"/>
              </p:nvPr>
            </p:nvSpPr>
            <p:spPr>
              <a:xfrm>
                <a:off x="609601" y="1137920"/>
                <a:ext cx="10801349" cy="4834800"/>
              </a:xfrm>
            </p:spPr>
            <p:txBody>
              <a:bodyPr/>
              <a:lstStyle/>
              <a:p>
                <a:r>
                  <a:rPr lang="en-IN" sz="28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Heston’s Stochastic Volatility under risk-neutral measure</a:t>
                </a:r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p>
                        <m:sSupPr>
                          <m:ctrlPr>
                            <a:rPr lang="en-IN" sz="2400" b="0" i="1" smtClean="0">
                              <a:latin typeface="Cambria Math" panose="02040503050406030204" pitchFamily="18" charset="0"/>
                              <a:cs typeface="Times New Roman" panose="02020603050405020304" pitchFamily="18" charset="0"/>
                            </a:rPr>
                          </m:ctrlPr>
                        </m:sSupPr>
                        <m:e>
                          <m:sSub>
                            <m:sSubPr>
                              <m:ctrlPr>
                                <a:rPr lang="en-IN" sz="2400" i="1">
                                  <a:latin typeface="Cambria Math" panose="02040503050406030204" pitchFamily="18" charset="0"/>
                                  <a:cs typeface="Times New Roman" panose="02020603050405020304" pitchFamily="18" charset="0"/>
                                </a:rPr>
                              </m:ctrlPr>
                            </m:sSubPr>
                            <m:e>
                              <m:r>
                                <a:rPr lang="en-IN" sz="2400" i="1">
                                  <a:latin typeface="Cambria Math" panose="02040503050406030204" pitchFamily="18" charset="0"/>
                                  <a:cs typeface="Times New Roman" panose="02020603050405020304" pitchFamily="18" charset="0"/>
                                </a:rPr>
                                <m:t>𝑑𝑊</m:t>
                              </m:r>
                            </m:e>
                            <m:sub>
                              <m:r>
                                <a:rPr lang="en-IN" sz="2400" i="1">
                                  <a:latin typeface="Cambria Math" panose="02040503050406030204" pitchFamily="18" charset="0"/>
                                  <a:cs typeface="Times New Roman" panose="02020603050405020304" pitchFamily="18" charset="0"/>
                                </a:rPr>
                                <m:t>𝑆</m:t>
                              </m:r>
                              <m:r>
                                <a:rPr lang="en-IN" sz="2400" i="1">
                                  <a:latin typeface="Cambria Math" panose="02040503050406030204" pitchFamily="18" charset="0"/>
                                  <a:cs typeface="Times New Roman" panose="02020603050405020304" pitchFamily="18" charset="0"/>
                                </a:rPr>
                                <m:t>,</m:t>
                              </m:r>
                              <m:r>
                                <a:rPr lang="en-IN" sz="2400" i="1">
                                  <a:latin typeface="Cambria Math" panose="02040503050406030204" pitchFamily="18" charset="0"/>
                                  <a:cs typeface="Times New Roman" panose="02020603050405020304" pitchFamily="18" charset="0"/>
                                </a:rPr>
                                <m:t>𝑡</m:t>
                              </m:r>
                            </m:sub>
                          </m:sSub>
                        </m:e>
                        <m:sup>
                          <m:r>
                            <a:rPr lang="en-IN" sz="2400" b="0" i="1" smtClean="0">
                              <a:latin typeface="Cambria Math" panose="02040503050406030204" pitchFamily="18" charset="0"/>
                              <a:cs typeface="Times New Roman" panose="02020603050405020304" pitchFamily="18" charset="0"/>
                            </a:rPr>
                            <m:t>𝑄</m:t>
                          </m:r>
                        </m:sup>
                      </m:sSup>
                      <m:r>
                        <a:rPr lang="en-IN" sz="2400" b="0" i="1" smtClean="0">
                          <a:latin typeface="Cambria Math" panose="02040503050406030204" pitchFamily="18" charset="0"/>
                          <a:cs typeface="Times New Roman" panose="02020603050405020304" pitchFamily="18" charset="0"/>
                        </a:rPr>
                        <m:t>=</m:t>
                      </m:r>
                      <m:sSub>
                        <m:sSubPr>
                          <m:ctrlPr>
                            <a:rPr lang="en-IN" sz="2400" b="0" i="1" smtClean="0">
                              <a:latin typeface="Cambria Math" panose="02040503050406030204" pitchFamily="18" charset="0"/>
                              <a:cs typeface="Times New Roman" panose="02020603050405020304" pitchFamily="18" charset="0"/>
                            </a:rPr>
                          </m:ctrlPr>
                        </m:sSubPr>
                        <m:e>
                          <m:r>
                            <a:rPr lang="en-IN" sz="2400" b="0" i="1" smtClean="0">
                              <a:latin typeface="Cambria Math" panose="02040503050406030204" pitchFamily="18" charset="0"/>
                              <a:cs typeface="Times New Roman" panose="02020603050405020304" pitchFamily="18" charset="0"/>
                            </a:rPr>
                            <m:t>𝑑𝑊</m:t>
                          </m:r>
                        </m:e>
                        <m:sub>
                          <m:r>
                            <a:rPr lang="en-IN" sz="2400" b="0" i="1" smtClean="0">
                              <a:latin typeface="Cambria Math" panose="02040503050406030204" pitchFamily="18" charset="0"/>
                              <a:cs typeface="Times New Roman" panose="02020603050405020304" pitchFamily="18" charset="0"/>
                            </a:rPr>
                            <m:t>𝑆</m:t>
                          </m:r>
                          <m:r>
                            <a:rPr lang="en-IN" sz="2400" b="0" i="1" smtClean="0">
                              <a:latin typeface="Cambria Math" panose="02040503050406030204" pitchFamily="18" charset="0"/>
                              <a:cs typeface="Times New Roman" panose="02020603050405020304" pitchFamily="18" charset="0"/>
                            </a:rPr>
                            <m:t>,</m:t>
                          </m:r>
                          <m:r>
                            <a:rPr lang="en-IN" sz="2400" b="0" i="1" smtClean="0">
                              <a:latin typeface="Cambria Math" panose="02040503050406030204" pitchFamily="18" charset="0"/>
                              <a:cs typeface="Times New Roman" panose="02020603050405020304" pitchFamily="18" charset="0"/>
                            </a:rPr>
                            <m:t>𝑡</m:t>
                          </m:r>
                        </m:sub>
                      </m:sSub>
                      <m:r>
                        <a:rPr lang="en-IN" sz="2400" b="0" i="1" smtClean="0">
                          <a:latin typeface="Cambria Math" panose="02040503050406030204" pitchFamily="18" charset="0"/>
                          <a:cs typeface="Times New Roman" panose="02020603050405020304" pitchFamily="18" charset="0"/>
                        </a:rPr>
                        <m:t>+</m:t>
                      </m:r>
                      <m:sSub>
                        <m:sSubPr>
                          <m:ctrlPr>
                            <a:rPr lang="el-GR" sz="2400" b="0" i="1" smtClean="0">
                              <a:latin typeface="Cambria Math" panose="02040503050406030204" pitchFamily="18" charset="0"/>
                              <a:cs typeface="Times New Roman" panose="02020603050405020304" pitchFamily="18" charset="0"/>
                            </a:rPr>
                          </m:ctrlPr>
                        </m:sSubPr>
                        <m:e>
                          <m:r>
                            <m:rPr>
                              <m:sty m:val="p"/>
                            </m:rPr>
                            <a:rPr lang="el-GR" sz="2400" i="1">
                              <a:latin typeface="Cambria Math" panose="02040503050406030204" pitchFamily="18" charset="0"/>
                              <a:cs typeface="Times New Roman" panose="02020603050405020304" pitchFamily="18" charset="0"/>
                            </a:rPr>
                            <m:t>α</m:t>
                          </m:r>
                        </m:e>
                        <m:sub>
                          <m:r>
                            <a:rPr lang="en-IN" sz="2400" b="0" i="1" smtClean="0">
                              <a:latin typeface="Cambria Math" panose="02040503050406030204" pitchFamily="18" charset="0"/>
                              <a:cs typeface="Times New Roman" panose="02020603050405020304" pitchFamily="18" charset="0"/>
                            </a:rPr>
                            <m:t>𝑆</m:t>
                          </m:r>
                        </m:sub>
                      </m:sSub>
                      <m:r>
                        <a:rPr lang="en-IN" sz="2400" b="0" i="1" smtClean="0">
                          <a:latin typeface="Cambria Math" panose="02040503050406030204" pitchFamily="18" charset="0"/>
                          <a:cs typeface="Times New Roman" panose="02020603050405020304" pitchFamily="18" charset="0"/>
                        </a:rPr>
                        <m:t>𝑑𝑡</m:t>
                      </m:r>
                      <m:r>
                        <a:rPr lang="en-IN" sz="2400" b="0" i="1" smtClean="0">
                          <a:latin typeface="Cambria Math" panose="02040503050406030204" pitchFamily="18" charset="0"/>
                          <a:cs typeface="Times New Roman" panose="02020603050405020304" pitchFamily="18" charset="0"/>
                        </a:rPr>
                        <m:t>,</m:t>
                      </m:r>
                      <m:sSub>
                        <m:sSubPr>
                          <m:ctrlPr>
                            <a:rPr lang="el-GR" sz="2400" i="1">
                              <a:latin typeface="Cambria Math" panose="02040503050406030204" pitchFamily="18" charset="0"/>
                              <a:cs typeface="Times New Roman" panose="02020603050405020304" pitchFamily="18" charset="0"/>
                            </a:rPr>
                          </m:ctrlPr>
                        </m:sSubPr>
                        <m:e>
                          <m:r>
                            <a:rPr lang="en-IN" sz="2400" b="0" i="1" smtClean="0">
                              <a:latin typeface="Cambria Math" panose="02040503050406030204" pitchFamily="18" charset="0"/>
                              <a:cs typeface="Times New Roman" panose="02020603050405020304" pitchFamily="18" charset="0"/>
                            </a:rPr>
                            <m:t> </m:t>
                          </m:r>
                          <m:r>
                            <m:rPr>
                              <m:sty m:val="p"/>
                            </m:rPr>
                            <a:rPr lang="el-GR" sz="2400" i="1">
                              <a:latin typeface="Cambria Math" panose="02040503050406030204" pitchFamily="18" charset="0"/>
                              <a:cs typeface="Times New Roman" panose="02020603050405020304" pitchFamily="18" charset="0"/>
                            </a:rPr>
                            <m:t>α</m:t>
                          </m:r>
                        </m:e>
                        <m:sub>
                          <m:r>
                            <a:rPr lang="en-IN" sz="2400" i="1">
                              <a:latin typeface="Cambria Math" panose="02040503050406030204" pitchFamily="18" charset="0"/>
                              <a:cs typeface="Times New Roman" panose="02020603050405020304" pitchFamily="18" charset="0"/>
                            </a:rPr>
                            <m:t>𝑆</m:t>
                          </m:r>
                        </m:sub>
                      </m:sSub>
                      <m:r>
                        <a:rPr lang="en-IN" sz="2400" b="0" i="1" smtClean="0">
                          <a:latin typeface="Cambria Math" panose="02040503050406030204" pitchFamily="18" charset="0"/>
                          <a:cs typeface="Times New Roman" panose="02020603050405020304" pitchFamily="18" charset="0"/>
                        </a:rPr>
                        <m:t>=</m:t>
                      </m:r>
                      <m:f>
                        <m:fPr>
                          <m:ctrlPr>
                            <a:rPr lang="en-IN" sz="2400" b="0" i="1" smtClean="0">
                              <a:latin typeface="Cambria Math" panose="02040503050406030204" pitchFamily="18" charset="0"/>
                              <a:cs typeface="Times New Roman" panose="02020603050405020304" pitchFamily="18" charset="0"/>
                            </a:rPr>
                          </m:ctrlPr>
                        </m:fPr>
                        <m:num>
                          <m:d>
                            <m:dPr>
                              <m:ctrlPr>
                                <a:rPr lang="en-IN" sz="2400" b="0" i="1" smtClean="0">
                                  <a:latin typeface="Cambria Math" panose="02040503050406030204" pitchFamily="18" charset="0"/>
                                  <a:cs typeface="Times New Roman" panose="02020603050405020304" pitchFamily="18" charset="0"/>
                                </a:rPr>
                              </m:ctrlPr>
                            </m:dPr>
                            <m:e>
                              <m:r>
                                <m:rPr>
                                  <m:sty m:val="p"/>
                                </m:rPr>
                                <a:rPr lang="el-GR" sz="2400" b="0" i="1" smtClean="0">
                                  <a:latin typeface="Cambria Math" panose="02040503050406030204" pitchFamily="18" charset="0"/>
                                  <a:cs typeface="Times New Roman" panose="02020603050405020304" pitchFamily="18" charset="0"/>
                                </a:rPr>
                                <m:t>μ</m:t>
                              </m:r>
                              <m:r>
                                <a:rPr lang="en-IN" sz="2400" b="0" i="1" smtClean="0">
                                  <a:latin typeface="Cambria Math" panose="02040503050406030204" pitchFamily="18" charset="0"/>
                                  <a:cs typeface="Times New Roman" panose="02020603050405020304" pitchFamily="18" charset="0"/>
                                </a:rPr>
                                <m:t>−</m:t>
                              </m:r>
                              <m:r>
                                <a:rPr lang="en-IN" sz="2400" b="0" i="1" smtClean="0">
                                  <a:latin typeface="Cambria Math" panose="02040503050406030204" pitchFamily="18" charset="0"/>
                                  <a:cs typeface="Times New Roman" panose="02020603050405020304" pitchFamily="18" charset="0"/>
                                </a:rPr>
                                <m:t>𝑟</m:t>
                              </m:r>
                            </m:e>
                          </m:d>
                        </m:num>
                        <m:den>
                          <m:rad>
                            <m:radPr>
                              <m:degHide m:val="on"/>
                              <m:ctrlPr>
                                <a:rPr lang="en-IN" sz="2400" i="1">
                                  <a:solidFill>
                                    <a:srgbClr val="3A3A3A"/>
                                  </a:solidFill>
                                  <a:latin typeface="Cambria Math" panose="02040503050406030204" pitchFamily="18" charset="0"/>
                                  <a:ea typeface="Calibri" panose="020F0502020204030204" pitchFamily="34" charset="0"/>
                                  <a:cs typeface="Arial" panose="020B0604020202020204" pitchFamily="34" charset="0"/>
                                </a:rPr>
                              </m:ctrlPr>
                            </m:radPr>
                            <m:deg/>
                            <m:e>
                              <m:d>
                                <m:dPr>
                                  <m:ctrlPr>
                                    <a:rPr lang="en-IN" sz="2400" i="1">
                                      <a:solidFill>
                                        <a:srgbClr val="3A3A3A"/>
                                      </a:solidFill>
                                      <a:latin typeface="Cambria Math" panose="02040503050406030204" pitchFamily="18" charset="0"/>
                                      <a:ea typeface="Calibri" panose="020F0502020204030204" pitchFamily="34" charset="0"/>
                                      <a:cs typeface="Arial" panose="020B0604020202020204" pitchFamily="34" charset="0"/>
                                    </a:rPr>
                                  </m:ctrlPr>
                                </m:dPr>
                                <m:e>
                                  <m:sSub>
                                    <m:sSubPr>
                                      <m:ctrlPr>
                                        <a:rPr lang="en-IN" sz="2400" i="1">
                                          <a:solidFill>
                                            <a:srgbClr val="3A3A3A"/>
                                          </a:solidFill>
                                          <a:latin typeface="Cambria Math" panose="02040503050406030204" pitchFamily="18" charset="0"/>
                                          <a:ea typeface="Calibri" panose="020F0502020204030204" pitchFamily="34" charset="0"/>
                                          <a:cs typeface="Arial" panose="020B0604020202020204" pitchFamily="34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IN" sz="2400" i="1">
                                          <a:solidFill>
                                            <a:srgbClr val="3A3A3A"/>
                                          </a:solidFill>
                                          <a:latin typeface="Cambria Math" panose="02040503050406030204" pitchFamily="18" charset="0"/>
                                          <a:ea typeface="Calibri" panose="020F0502020204030204" pitchFamily="34" charset="0"/>
                                          <a:cs typeface="Arial" panose="020B0604020202020204" pitchFamily="34" charset="0"/>
                                        </a:rPr>
                                        <m:t>𝑣</m:t>
                                      </m:r>
                                    </m:e>
                                    <m:sub>
                                      <m:r>
                                        <a:rPr lang="en-IN" sz="2400" i="1">
                                          <a:solidFill>
                                            <a:srgbClr val="3A3A3A"/>
                                          </a:solidFill>
                                          <a:latin typeface="Cambria Math" panose="02040503050406030204" pitchFamily="18" charset="0"/>
                                          <a:ea typeface="Calibri" panose="020F0502020204030204" pitchFamily="34" charset="0"/>
                                          <a:cs typeface="Arial" panose="020B0604020202020204" pitchFamily="34" charset="0"/>
                                        </a:rPr>
                                        <m:t>𝑡</m:t>
                                      </m:r>
                                    </m:sub>
                                  </m:sSub>
                                </m:e>
                              </m:d>
                            </m:e>
                          </m:rad>
                        </m:den>
                      </m:f>
                    </m:oMath>
                  </m:oMathPara>
                </a14:m>
                <a:endParaRPr lang="en-IN" sz="2800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p>
                        <m:sSupPr>
                          <m:ctrlPr>
                            <a:rPr lang="en-IN" sz="2400" b="0" i="1" smtClean="0">
                              <a:latin typeface="Cambria Math" panose="02040503050406030204" pitchFamily="18" charset="0"/>
                              <a:cs typeface="Times New Roman" panose="02020603050405020304" pitchFamily="18" charset="0"/>
                            </a:rPr>
                          </m:ctrlPr>
                        </m:sSupPr>
                        <m:e>
                          <m:sSub>
                            <m:sSubPr>
                              <m:ctrlPr>
                                <a:rPr lang="en-IN" sz="2400" i="1">
                                  <a:latin typeface="Cambria Math" panose="02040503050406030204" pitchFamily="18" charset="0"/>
                                  <a:cs typeface="Times New Roman" panose="02020603050405020304" pitchFamily="18" charset="0"/>
                                </a:rPr>
                              </m:ctrlPr>
                            </m:sSubPr>
                            <m:e>
                              <m:r>
                                <a:rPr lang="en-IN" sz="2400" i="1">
                                  <a:latin typeface="Cambria Math" panose="02040503050406030204" pitchFamily="18" charset="0"/>
                                  <a:cs typeface="Times New Roman" panose="02020603050405020304" pitchFamily="18" charset="0"/>
                                </a:rPr>
                                <m:t>𝑑𝑊</m:t>
                              </m:r>
                            </m:e>
                            <m:sub>
                              <m:r>
                                <a:rPr lang="en-IN" sz="2400" b="0" i="1" smtClean="0">
                                  <a:latin typeface="Cambria Math" panose="02040503050406030204" pitchFamily="18" charset="0"/>
                                  <a:cs typeface="Times New Roman" panose="02020603050405020304" pitchFamily="18" charset="0"/>
                                </a:rPr>
                                <m:t>𝑣</m:t>
                              </m:r>
                              <m:r>
                                <a:rPr lang="en-IN" sz="2400" i="1">
                                  <a:latin typeface="Cambria Math" panose="02040503050406030204" pitchFamily="18" charset="0"/>
                                  <a:cs typeface="Times New Roman" panose="02020603050405020304" pitchFamily="18" charset="0"/>
                                </a:rPr>
                                <m:t>,</m:t>
                              </m:r>
                              <m:r>
                                <a:rPr lang="en-IN" sz="2400" i="1">
                                  <a:latin typeface="Cambria Math" panose="02040503050406030204" pitchFamily="18" charset="0"/>
                                  <a:cs typeface="Times New Roman" panose="02020603050405020304" pitchFamily="18" charset="0"/>
                                </a:rPr>
                                <m:t>𝑡</m:t>
                              </m:r>
                            </m:sub>
                          </m:sSub>
                        </m:e>
                        <m:sup>
                          <m:r>
                            <a:rPr lang="en-IN" sz="2400" b="0" i="1" smtClean="0">
                              <a:latin typeface="Cambria Math" panose="02040503050406030204" pitchFamily="18" charset="0"/>
                              <a:cs typeface="Times New Roman" panose="02020603050405020304" pitchFamily="18" charset="0"/>
                            </a:rPr>
                            <m:t>𝑄</m:t>
                          </m:r>
                        </m:sup>
                      </m:sSup>
                      <m:r>
                        <a:rPr lang="en-IN" sz="2400" b="0" i="1" smtClean="0">
                          <a:latin typeface="Cambria Math" panose="02040503050406030204" pitchFamily="18" charset="0"/>
                          <a:cs typeface="Times New Roman" panose="02020603050405020304" pitchFamily="18" charset="0"/>
                        </a:rPr>
                        <m:t>=</m:t>
                      </m:r>
                      <m:sSub>
                        <m:sSubPr>
                          <m:ctrlPr>
                            <a:rPr lang="en-IN" sz="2400" b="0" i="1" smtClean="0">
                              <a:latin typeface="Cambria Math" panose="02040503050406030204" pitchFamily="18" charset="0"/>
                              <a:cs typeface="Times New Roman" panose="02020603050405020304" pitchFamily="18" charset="0"/>
                            </a:rPr>
                          </m:ctrlPr>
                        </m:sSubPr>
                        <m:e>
                          <m:r>
                            <a:rPr lang="en-IN" sz="2400" b="0" i="1" smtClean="0">
                              <a:latin typeface="Cambria Math" panose="02040503050406030204" pitchFamily="18" charset="0"/>
                              <a:cs typeface="Times New Roman" panose="02020603050405020304" pitchFamily="18" charset="0"/>
                            </a:rPr>
                            <m:t>𝑑𝑊</m:t>
                          </m:r>
                        </m:e>
                        <m:sub>
                          <m:r>
                            <a:rPr lang="en-IN" sz="2400" b="0" i="1" smtClean="0">
                              <a:latin typeface="Cambria Math" panose="02040503050406030204" pitchFamily="18" charset="0"/>
                              <a:cs typeface="Times New Roman" panose="02020603050405020304" pitchFamily="18" charset="0"/>
                            </a:rPr>
                            <m:t>𝑣</m:t>
                          </m:r>
                          <m:r>
                            <a:rPr lang="en-IN" sz="2400" b="0" i="1" smtClean="0">
                              <a:latin typeface="Cambria Math" panose="02040503050406030204" pitchFamily="18" charset="0"/>
                              <a:cs typeface="Times New Roman" panose="02020603050405020304" pitchFamily="18" charset="0"/>
                            </a:rPr>
                            <m:t>,</m:t>
                          </m:r>
                          <m:r>
                            <a:rPr lang="en-IN" sz="2400" b="0" i="1" smtClean="0">
                              <a:latin typeface="Cambria Math" panose="02040503050406030204" pitchFamily="18" charset="0"/>
                              <a:cs typeface="Times New Roman" panose="02020603050405020304" pitchFamily="18" charset="0"/>
                            </a:rPr>
                            <m:t>𝑡</m:t>
                          </m:r>
                        </m:sub>
                      </m:sSub>
                      <m:r>
                        <a:rPr lang="en-IN" sz="2400" b="0" i="1" smtClean="0">
                          <a:latin typeface="Cambria Math" panose="02040503050406030204" pitchFamily="18" charset="0"/>
                          <a:cs typeface="Times New Roman" panose="02020603050405020304" pitchFamily="18" charset="0"/>
                        </a:rPr>
                        <m:t>+</m:t>
                      </m:r>
                      <m:sSub>
                        <m:sSubPr>
                          <m:ctrlPr>
                            <a:rPr lang="el-GR" sz="2400" b="0" i="1" smtClean="0">
                              <a:latin typeface="Cambria Math" panose="02040503050406030204" pitchFamily="18" charset="0"/>
                              <a:cs typeface="Times New Roman" panose="02020603050405020304" pitchFamily="18" charset="0"/>
                            </a:rPr>
                          </m:ctrlPr>
                        </m:sSubPr>
                        <m:e>
                          <m:r>
                            <m:rPr>
                              <m:sty m:val="p"/>
                            </m:rPr>
                            <a:rPr lang="el-GR" sz="2400" i="1">
                              <a:latin typeface="Cambria Math" panose="02040503050406030204" pitchFamily="18" charset="0"/>
                              <a:cs typeface="Times New Roman" panose="02020603050405020304" pitchFamily="18" charset="0"/>
                            </a:rPr>
                            <m:t>α</m:t>
                          </m:r>
                        </m:e>
                        <m:sub>
                          <m:r>
                            <a:rPr lang="en-IN" sz="2400" b="0" i="1" smtClean="0">
                              <a:latin typeface="Cambria Math" panose="02040503050406030204" pitchFamily="18" charset="0"/>
                              <a:cs typeface="Times New Roman" panose="02020603050405020304" pitchFamily="18" charset="0"/>
                            </a:rPr>
                            <m:t>𝑣</m:t>
                          </m:r>
                        </m:sub>
                      </m:sSub>
                      <m:r>
                        <a:rPr lang="en-IN" sz="2400" b="0" i="1" smtClean="0">
                          <a:latin typeface="Cambria Math" panose="02040503050406030204" pitchFamily="18" charset="0"/>
                          <a:cs typeface="Times New Roman" panose="02020603050405020304" pitchFamily="18" charset="0"/>
                        </a:rPr>
                        <m:t>𝑑𝑡</m:t>
                      </m:r>
                      <m:r>
                        <a:rPr lang="en-IN" sz="2400" b="0" i="1" smtClean="0">
                          <a:latin typeface="Cambria Math" panose="02040503050406030204" pitchFamily="18" charset="0"/>
                          <a:cs typeface="Times New Roman" panose="02020603050405020304" pitchFamily="18" charset="0"/>
                        </a:rPr>
                        <m:t>,</m:t>
                      </m:r>
                      <m:sSub>
                        <m:sSubPr>
                          <m:ctrlPr>
                            <a:rPr lang="el-GR" sz="2400" i="1">
                              <a:latin typeface="Cambria Math" panose="02040503050406030204" pitchFamily="18" charset="0"/>
                              <a:cs typeface="Times New Roman" panose="02020603050405020304" pitchFamily="18" charset="0"/>
                            </a:rPr>
                          </m:ctrlPr>
                        </m:sSubPr>
                        <m:e>
                          <m:r>
                            <a:rPr lang="en-IN" sz="2400" b="0" i="1" smtClean="0">
                              <a:latin typeface="Cambria Math" panose="02040503050406030204" pitchFamily="18" charset="0"/>
                              <a:cs typeface="Times New Roman" panose="02020603050405020304" pitchFamily="18" charset="0"/>
                            </a:rPr>
                            <m:t> </m:t>
                          </m:r>
                          <m:r>
                            <m:rPr>
                              <m:sty m:val="p"/>
                            </m:rPr>
                            <a:rPr lang="el-GR" sz="2400" i="1">
                              <a:latin typeface="Cambria Math" panose="02040503050406030204" pitchFamily="18" charset="0"/>
                              <a:cs typeface="Times New Roman" panose="02020603050405020304" pitchFamily="18" charset="0"/>
                            </a:rPr>
                            <m:t>α</m:t>
                          </m:r>
                        </m:e>
                        <m:sub>
                          <m:r>
                            <a:rPr lang="en-IN" sz="2400" b="0" i="1" smtClean="0">
                              <a:latin typeface="Cambria Math" panose="02040503050406030204" pitchFamily="18" charset="0"/>
                              <a:cs typeface="Times New Roman" panose="02020603050405020304" pitchFamily="18" charset="0"/>
                            </a:rPr>
                            <m:t>𝑣</m:t>
                          </m:r>
                        </m:sub>
                      </m:sSub>
                      <m:r>
                        <a:rPr lang="en-IN" sz="2400" b="0" i="1" smtClean="0">
                          <a:latin typeface="Cambria Math" panose="02040503050406030204" pitchFamily="18" charset="0"/>
                          <a:cs typeface="Times New Roman" panose="02020603050405020304" pitchFamily="18" charset="0"/>
                        </a:rPr>
                        <m:t>=</m:t>
                      </m:r>
                      <m:f>
                        <m:fPr>
                          <m:ctrlPr>
                            <a:rPr lang="en-IN" sz="2400" b="0" i="1" smtClean="0">
                              <a:latin typeface="Cambria Math" panose="02040503050406030204" pitchFamily="18" charset="0"/>
                              <a:cs typeface="Times New Roman" panose="02020603050405020304" pitchFamily="18" charset="0"/>
                            </a:rPr>
                          </m:ctrlPr>
                        </m:fPr>
                        <m:num>
                          <m:r>
                            <m:rPr>
                              <m:sty m:val="p"/>
                            </m:rPr>
                            <a:rPr lang="el-GR" sz="2400" b="0" i="1" smtClean="0">
                              <a:latin typeface="Cambria Math" panose="02040503050406030204" pitchFamily="18" charset="0"/>
                              <a:cs typeface="Times New Roman" panose="02020603050405020304" pitchFamily="18" charset="0"/>
                            </a:rPr>
                            <m:t>λ</m:t>
                          </m:r>
                        </m:num>
                        <m:den>
                          <m:r>
                            <m:rPr>
                              <m:sty m:val="p"/>
                            </m:rPr>
                            <a:rPr lang="el-GR" sz="2400" i="1">
                              <a:latin typeface="Cambria Math" panose="02040503050406030204" pitchFamily="18" charset="0"/>
                              <a:cs typeface="Times New Roman" panose="02020603050405020304" pitchFamily="18" charset="0"/>
                            </a:rPr>
                            <m:t>σ</m:t>
                          </m:r>
                        </m:den>
                      </m:f>
                      <m:rad>
                        <m:radPr>
                          <m:degHide m:val="on"/>
                          <m:ctrlPr>
                            <a:rPr lang="en-IN" sz="2400" i="1">
                              <a:solidFill>
                                <a:srgbClr val="3A3A3A"/>
                              </a:solidFill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Arial" panose="020B0604020202020204" pitchFamily="34" charset="0"/>
                            </a:rPr>
                          </m:ctrlPr>
                        </m:radPr>
                        <m:deg/>
                        <m:e>
                          <m:d>
                            <m:dPr>
                              <m:ctrlPr>
                                <a:rPr lang="en-IN" sz="2400" i="1">
                                  <a:solidFill>
                                    <a:srgbClr val="3A3A3A"/>
                                  </a:solidFill>
                                  <a:latin typeface="Cambria Math" panose="02040503050406030204" pitchFamily="18" charset="0"/>
                                  <a:ea typeface="Calibri" panose="020F0502020204030204" pitchFamily="34" charset="0"/>
                                  <a:cs typeface="Arial" panose="020B0604020202020204" pitchFamily="34" charset="0"/>
                                </a:rPr>
                              </m:ctrlPr>
                            </m:dPr>
                            <m:e>
                              <m:sSub>
                                <m:sSubPr>
                                  <m:ctrlPr>
                                    <a:rPr lang="en-IN" sz="2400" i="1">
                                      <a:solidFill>
                                        <a:srgbClr val="3A3A3A"/>
                                      </a:solidFill>
                                      <a:latin typeface="Cambria Math" panose="02040503050406030204" pitchFamily="18" charset="0"/>
                                      <a:ea typeface="Calibri" panose="020F0502020204030204" pitchFamily="34" charset="0"/>
                                      <a:cs typeface="Arial" panose="020B0604020202020204" pitchFamily="34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IN" sz="2400" i="1">
                                      <a:solidFill>
                                        <a:srgbClr val="3A3A3A"/>
                                      </a:solidFill>
                                      <a:latin typeface="Cambria Math" panose="02040503050406030204" pitchFamily="18" charset="0"/>
                                      <a:ea typeface="Calibri" panose="020F0502020204030204" pitchFamily="34" charset="0"/>
                                      <a:cs typeface="Arial" panose="020B0604020202020204" pitchFamily="34" charset="0"/>
                                    </a:rPr>
                                    <m:t>𝑣</m:t>
                                  </m:r>
                                </m:e>
                                <m:sub>
                                  <m:r>
                                    <a:rPr lang="en-IN" sz="2400" i="1">
                                      <a:solidFill>
                                        <a:srgbClr val="3A3A3A"/>
                                      </a:solidFill>
                                      <a:latin typeface="Cambria Math" panose="02040503050406030204" pitchFamily="18" charset="0"/>
                                      <a:ea typeface="Calibri" panose="020F0502020204030204" pitchFamily="34" charset="0"/>
                                      <a:cs typeface="Arial" panose="020B0604020202020204" pitchFamily="34" charset="0"/>
                                    </a:rPr>
                                    <m:t>𝑡</m:t>
                                  </m:r>
                                </m:sub>
                              </m:sSub>
                            </m:e>
                          </m:d>
                        </m:e>
                      </m:rad>
                    </m:oMath>
                  </m:oMathPara>
                </a14:m>
                <a:endParaRPr lang="en-IN" sz="2400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mc:Choice>
        <mc:Fallback>
          <p:sp>
            <p:nvSpPr>
              <p:cNvPr id="3" name="Content Placeholder 2">
                <a:extLst>
                  <a:ext uri="{FF2B5EF4-FFF2-40B4-BE49-F238E27FC236}">
                    <a16:creationId xmlns:a16="http://schemas.microsoft.com/office/drawing/2014/main" id="{C1461FED-501B-4700-BC35-309310C1AECE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xfrm>
                <a:off x="609601" y="1137920"/>
                <a:ext cx="10801349" cy="4834800"/>
              </a:xfrm>
              <a:blipFill>
                <a:blip r:embed="rId2"/>
                <a:stretch>
                  <a:fillRect l="-1975" t="-2270"/>
                </a:stretch>
              </a:blipFill>
            </p:spPr>
            <p:txBody>
              <a:bodyPr/>
              <a:lstStyle/>
              <a:p>
                <a:r>
                  <a:rPr lang="en-IN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7" name="Picture 6">
            <a:extLst>
              <a:ext uri="{FF2B5EF4-FFF2-40B4-BE49-F238E27FC236}">
                <a16:creationId xmlns:a16="http://schemas.microsoft.com/office/drawing/2014/main" id="{77DE4390-373E-4ABC-BA31-6E5A96E2E9D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81387" y="3279095"/>
            <a:ext cx="5591175" cy="2543175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A52F7E8C-200A-4CD0-8E8C-E6E66CC1131B}"/>
              </a:ext>
            </a:extLst>
          </p:cNvPr>
          <p:cNvSpPr txBox="1"/>
          <p:nvPr/>
        </p:nvSpPr>
        <p:spPr>
          <a:xfrm>
            <a:off x="8562975" y="3279095"/>
            <a:ext cx="2038350" cy="1055674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 marL="356616" indent="-356616"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  <a:buFont typeface="Arial" pitchFamily="34" charset="0"/>
              <a:buChar char="►"/>
            </a:pPr>
            <a:r>
              <a:rPr lang="en-IN" sz="2400" dirty="0">
                <a:solidFill>
                  <a:srgbClr val="2E2E38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r = risk free interest rate </a:t>
            </a:r>
          </a:p>
          <a:p>
            <a:pPr marL="356616" indent="-356616"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  <a:buFont typeface="Arial" pitchFamily="34" charset="0"/>
              <a:buChar char="►"/>
            </a:pPr>
            <a:endParaRPr lang="en-IN" sz="2400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9105798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AB6ABEC-53B1-479C-BCBE-716F91BD10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 algn="ctr"/>
            <a:r>
              <a:rPr lang="en-IN" sz="3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Solving by Characteristic Functions under risk neutral measure</a:t>
            </a:r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19C44352-1271-4A1B-B7D1-5B7F512C9336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609600" y="3172897"/>
            <a:ext cx="8234363" cy="764619"/>
          </a:xfr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7518671C-7A95-47E9-84BC-9DD6D657842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9734" y="1690688"/>
            <a:ext cx="10995991" cy="2790832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060FD871-DC23-4B8C-B59D-C8EEEF9AEE7E}"/>
              </a:ext>
            </a:extLst>
          </p:cNvPr>
          <p:cNvSpPr txBox="1"/>
          <p:nvPr/>
        </p:nvSpPr>
        <p:spPr>
          <a:xfrm>
            <a:off x="207479" y="4817432"/>
            <a:ext cx="362364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2400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Option Price - </a:t>
            </a:r>
          </a:p>
        </p:txBody>
      </p:sp>
      <p:pic>
        <p:nvPicPr>
          <p:cNvPr id="8" name="Content Placeholder 4">
            <a:extLst>
              <a:ext uri="{FF2B5EF4-FFF2-40B4-BE49-F238E27FC236}">
                <a16:creationId xmlns:a16="http://schemas.microsoft.com/office/drawing/2014/main" id="{BDD83D8C-8795-4D71-9085-C56F0925E55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28800" y="5279097"/>
            <a:ext cx="9334500" cy="8667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400669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427905A-B96E-4B4A-8096-5200FD1468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endParaRPr lang="en-IN" sz="280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EE88D93-5DD4-4E18-9778-04B97725911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1" y="2290445"/>
            <a:ext cx="10972800" cy="4834800"/>
          </a:xfrm>
        </p:spPr>
        <p:txBody>
          <a:bodyPr/>
          <a:lstStyle/>
          <a:p>
            <a:pPr algn="ctr"/>
            <a:r>
              <a:rPr lang="en-IN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Parameter values were not converging for different optimization techniques like SLSQP, L-BFGS-B and COBYLA</a:t>
            </a:r>
          </a:p>
        </p:txBody>
      </p:sp>
    </p:spTree>
    <p:extLst>
      <p:ext uri="{BB962C8B-B14F-4D97-AF65-F5344CB8AC3E}">
        <p14:creationId xmlns:p14="http://schemas.microsoft.com/office/powerpoint/2010/main" val="63449229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19">
            <a:extLst>
              <a:ext uri="{FF2B5EF4-FFF2-40B4-BE49-F238E27FC236}">
                <a16:creationId xmlns:a16="http://schemas.microsoft.com/office/drawing/2014/main" id="{4F7C1996-0D4C-499D-8861-8A9182C82F7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163826" y="2487021"/>
            <a:ext cx="3988897" cy="94248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55F4CAB4-4E8F-4388-B6A7-A41D41D363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IN" sz="3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Heston Pricing function – COS Method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2B83ACE-22E1-4DA4-B738-4B7CAD063935}"/>
              </a:ext>
            </a:extLst>
          </p:cNvPr>
          <p:cNvSpPr txBox="1"/>
          <p:nvPr/>
        </p:nvSpPr>
        <p:spPr>
          <a:xfrm>
            <a:off x="745781" y="1032067"/>
            <a:ext cx="11028337" cy="2718289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36557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356057" indent="-356057">
              <a:lnSpc>
                <a:spcPct val="85000"/>
              </a:lnSpc>
              <a:spcAft>
                <a:spcPts val="600"/>
              </a:spcAft>
              <a:buClr>
                <a:schemeClr val="tx2"/>
              </a:buClr>
              <a:buSzPct val="100000"/>
              <a:buFont typeface="EYInterstate Light" panose="02000506000000020004" pitchFamily="2" charset="0"/>
              <a:buChar char="•"/>
            </a:pPr>
            <a:r>
              <a:rPr lang="en-US" sz="16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he value of a plain vanilla option is given by: </a:t>
            </a:r>
            <a:endParaRPr lang="en-US" sz="1399" dirty="0">
              <a:solidFill>
                <a:srgbClr val="FFFFFF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85000"/>
              </a:lnSpc>
              <a:spcAft>
                <a:spcPts val="600"/>
              </a:spcAft>
            </a:pPr>
            <a:r>
              <a:rPr lang="en-US" sz="1599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           </a:t>
            </a:r>
            <a:endParaRPr lang="en-US" sz="1599" dirty="0">
              <a:solidFill>
                <a:srgbClr val="FFFFFF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85000"/>
              </a:lnSpc>
              <a:spcAft>
                <a:spcPts val="600"/>
              </a:spcAft>
            </a:pPr>
            <a:endParaRPr lang="en-US" sz="1599" dirty="0">
              <a:solidFill>
                <a:srgbClr val="FFFFFF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56057" indent="-356057">
              <a:lnSpc>
                <a:spcPct val="85000"/>
              </a:lnSpc>
              <a:spcAft>
                <a:spcPts val="600"/>
              </a:spcAft>
              <a:buClr>
                <a:schemeClr val="tx2"/>
              </a:buClr>
              <a:buSzPct val="100000"/>
              <a:buFont typeface="Cambria Math" panose="02040503050406030204" pitchFamily="18" charset="0"/>
              <a:buChar char="▸"/>
            </a:pPr>
            <a:endParaRPr lang="en-US" sz="1399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56057" indent="-356057">
              <a:lnSpc>
                <a:spcPct val="85000"/>
              </a:lnSpc>
              <a:spcAft>
                <a:spcPts val="600"/>
              </a:spcAft>
              <a:buClr>
                <a:schemeClr val="tx2"/>
              </a:buClr>
              <a:buSzPct val="100000"/>
              <a:buFont typeface="Cambria Math" panose="02040503050406030204" pitchFamily="18" charset="0"/>
              <a:buChar char="▸"/>
            </a:pPr>
            <a:r>
              <a:rPr lang="en-US" sz="16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ince probability density function, f</a:t>
            </a:r>
            <a:r>
              <a:rPr lang="en-US" sz="1600" baseline="-250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X</a:t>
            </a:r>
            <a:r>
              <a:rPr lang="en-US" sz="16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y) is not known whereas the characteristic function is, the density is approximated by its Fourier cosine expansion, in y</a:t>
            </a:r>
            <a:endParaRPr lang="en-US"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56057" indent="-356057">
              <a:lnSpc>
                <a:spcPct val="85000"/>
              </a:lnSpc>
              <a:spcAft>
                <a:spcPts val="600"/>
              </a:spcAft>
              <a:buClr>
                <a:srgbClr val="27ACAA"/>
              </a:buClr>
              <a:buSzPct val="70000"/>
              <a:buFont typeface="Arial" pitchFamily="34" charset="0"/>
              <a:buChar char="►"/>
            </a:pPr>
            <a:endParaRPr lang="en-US" sz="1599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56057" indent="-356057">
              <a:lnSpc>
                <a:spcPct val="85000"/>
              </a:lnSpc>
              <a:spcAft>
                <a:spcPts val="600"/>
              </a:spcAft>
              <a:buClr>
                <a:srgbClr val="27ACAA"/>
              </a:buClr>
              <a:buSzPct val="70000"/>
              <a:buFont typeface="Arial" pitchFamily="34" charset="0"/>
              <a:buChar char="►"/>
            </a:pPr>
            <a:endParaRPr lang="en-US" sz="1599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85000"/>
              </a:lnSpc>
              <a:spcAft>
                <a:spcPts val="600"/>
              </a:spcAft>
            </a:pPr>
            <a:endParaRPr lang="en-US" sz="1599" dirty="0">
              <a:solidFill>
                <a:srgbClr val="FFFFFF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85000"/>
              </a:lnSpc>
              <a:spcAft>
                <a:spcPts val="600"/>
              </a:spcAft>
            </a:pPr>
            <a:endParaRPr lang="en-US" sz="1599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3686CD17-880A-413C-9C72-6CEA6B8609B1}"/>
              </a:ext>
            </a:extLst>
          </p:cNvPr>
          <p:cNvSpPr txBox="1"/>
          <p:nvPr/>
        </p:nvSpPr>
        <p:spPr>
          <a:xfrm>
            <a:off x="745781" y="6053684"/>
            <a:ext cx="11028337" cy="2460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36557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356057" indent="-356057">
              <a:lnSpc>
                <a:spcPct val="85000"/>
              </a:lnSpc>
              <a:spcAft>
                <a:spcPts val="600"/>
              </a:spcAft>
              <a:buClr>
                <a:schemeClr val="tx2"/>
              </a:buClr>
              <a:buSzPct val="100000"/>
              <a:buFont typeface="EYInterstate Light" panose="02000506000000020004" pitchFamily="2" charset="0"/>
              <a:buChar char="•"/>
            </a:pPr>
            <a:r>
              <a:rPr lang="en-US" sz="1599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ransformed an integral of the product of two real functions into a product of their fourier cosine series coefficients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B0F9A776-9CC5-4B9E-AAC0-F6625544765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75740" y="1430983"/>
            <a:ext cx="4740981" cy="61986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90340E09-BF4E-4107-84DA-70F8A4D517E6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b="29729"/>
          <a:stretch/>
        </p:blipFill>
        <p:spPr>
          <a:xfrm>
            <a:off x="5362955" y="944209"/>
            <a:ext cx="3579536" cy="474978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571161CA-ED85-453C-9EB8-F71F28D0C932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26983" t="51868" r="9717"/>
          <a:stretch/>
        </p:blipFill>
        <p:spPr>
          <a:xfrm>
            <a:off x="3272704" y="3291979"/>
            <a:ext cx="4338845" cy="1030980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A4A4C1FB-092E-43CD-B121-E63D181DA3DD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15283" t="34782" r="2833" b="7957"/>
          <a:stretch/>
        </p:blipFill>
        <p:spPr>
          <a:xfrm>
            <a:off x="2248291" y="4201734"/>
            <a:ext cx="5776371" cy="828602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11A9CC33-5A89-4F5E-92A9-7D21288A9C9C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5120" r="5188"/>
          <a:stretch/>
        </p:blipFill>
        <p:spPr>
          <a:xfrm>
            <a:off x="3052675" y="5030336"/>
            <a:ext cx="3893697" cy="921329"/>
          </a:xfrm>
          <a:prstGeom prst="rect">
            <a:avLst/>
          </a:pr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AEBC76CA-3153-4EE7-AE00-6DBE1A27FCC0}"/>
              </a:ext>
            </a:extLst>
          </p:cNvPr>
          <p:cNvSpPr txBox="1"/>
          <p:nvPr/>
        </p:nvSpPr>
        <p:spPr>
          <a:xfrm>
            <a:off x="1839114" y="3673395"/>
            <a:ext cx="455061" cy="246074"/>
          </a:xfrm>
          <a:prstGeom prst="rect">
            <a:avLst/>
          </a:prstGeom>
          <a:noFill/>
        </p:spPr>
        <p:txBody>
          <a:bodyPr wrap="none" lIns="0" tIns="36557" rIns="0" bIns="0" rtlCol="0">
            <a:spAutoFit/>
          </a:bodyPr>
          <a:lstStyle/>
          <a:p>
            <a:pPr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en-IN" sz="1599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With,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3696E99F-2728-4D71-A21B-124B22CBA195}"/>
              </a:ext>
            </a:extLst>
          </p:cNvPr>
          <p:cNvSpPr txBox="1"/>
          <p:nvPr/>
        </p:nvSpPr>
        <p:spPr>
          <a:xfrm>
            <a:off x="1591161" y="4467842"/>
            <a:ext cx="628377" cy="246074"/>
          </a:xfrm>
          <a:prstGeom prst="rect">
            <a:avLst/>
          </a:prstGeom>
          <a:noFill/>
        </p:spPr>
        <p:txBody>
          <a:bodyPr wrap="none" lIns="0" tIns="36557" rIns="0" bIns="0" rtlCol="0">
            <a:spAutoFit/>
          </a:bodyPr>
          <a:lstStyle/>
          <a:p>
            <a:pPr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en-IN" sz="1599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o that,</a:t>
            </a:r>
          </a:p>
        </p:txBody>
      </p:sp>
      <p:pic>
        <p:nvPicPr>
          <p:cNvPr id="4" name="Picture 4" descr="Text&#10;&#10;Description automatically generated">
            <a:extLst>
              <a:ext uri="{FF2B5EF4-FFF2-40B4-BE49-F238E27FC236}">
                <a16:creationId xmlns:a16="http://schemas.microsoft.com/office/drawing/2014/main" id="{805D2CC3-9244-44F1-8E90-70A82BC9C382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142818" y="5128694"/>
            <a:ext cx="3420533" cy="821160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1F731647-AF9F-4484-9586-7A96A7401BC4}"/>
              </a:ext>
            </a:extLst>
          </p:cNvPr>
          <p:cNvSpPr txBox="1"/>
          <p:nvPr/>
        </p:nvSpPr>
        <p:spPr>
          <a:xfrm>
            <a:off x="7402697" y="5305506"/>
            <a:ext cx="621965" cy="272235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36557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en-US" sz="1799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where,</a:t>
            </a:r>
            <a:endParaRPr lang="en-US" sz="1799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2766306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sz="3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Steps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" name="TextBox 3">
                <a:extLst>
                  <a:ext uri="{FF2B5EF4-FFF2-40B4-BE49-F238E27FC236}">
                    <a16:creationId xmlns:a16="http://schemas.microsoft.com/office/drawing/2014/main" id="{CA45C4EC-A881-4999-8B27-73F99152842B}"/>
                  </a:ext>
                </a:extLst>
              </p:cNvPr>
              <p:cNvSpPr txBox="1"/>
              <p:nvPr/>
            </p:nvSpPr>
            <p:spPr>
              <a:xfrm>
                <a:off x="304800" y="1434015"/>
                <a:ext cx="11582400" cy="5038861"/>
              </a:xfrm>
              <a:prstGeom prst="rect">
                <a:avLst/>
              </a:prstGeom>
              <a:noFill/>
            </p:spPr>
            <p:txBody>
              <a:bodyPr wrap="square" lIns="0" tIns="36557" rIns="0" bIns="0" rtlCol="0" anchor="t">
                <a:spAutoFit/>
              </a:bodyPr>
              <a:lstStyle/>
              <a:p>
                <a:pPr>
                  <a:lnSpc>
                    <a:spcPct val="85000"/>
                  </a:lnSpc>
                  <a:spcAft>
                    <a:spcPts val="600"/>
                  </a:spcAft>
                  <a:defRPr/>
                </a:pPr>
                <a:r>
                  <a:rPr lang="en-IN" b="1" dirty="0">
                    <a:solidFill>
                      <a:srgbClr val="2E2E38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Objective: </a:t>
                </a:r>
              </a:p>
              <a:p>
                <a:pPr marL="285607" indent="-285607">
                  <a:lnSpc>
                    <a:spcPct val="85000"/>
                  </a:lnSpc>
                  <a:spcAft>
                    <a:spcPts val="600"/>
                  </a:spcAft>
                  <a:buClr>
                    <a:schemeClr val="tx2"/>
                  </a:buClr>
                  <a:buFont typeface="EYInterstate Light" panose="02000506000000020004" pitchFamily="2" charset="0"/>
                  <a:buChar char="•"/>
                  <a:defRPr/>
                </a:pPr>
                <a:r>
                  <a:rPr lang="en-IN" dirty="0">
                    <a:solidFill>
                      <a:schemeClr val="bg1"/>
                    </a:solidFill>
                    <a:latin typeface="Times New Roman" panose="02020603050405020304" pitchFamily="18" charset="0"/>
                    <a:ea typeface="+mn-lt"/>
                    <a:cs typeface="Times New Roman" panose="02020603050405020304" pitchFamily="18" charset="0"/>
                  </a:rPr>
                  <a:t>Determining the</a:t>
                </a:r>
                <a:r>
                  <a:rPr lang="en-IN" b="1" dirty="0">
                    <a:solidFill>
                      <a:schemeClr val="bg1"/>
                    </a:solidFill>
                    <a:latin typeface="Times New Roman" panose="02020603050405020304" pitchFamily="18" charset="0"/>
                    <a:ea typeface="+mn-lt"/>
                    <a:cs typeface="Times New Roman" panose="02020603050405020304" pitchFamily="18" charset="0"/>
                  </a:rPr>
                  <a:t> model parameters to match the market prices.</a:t>
                </a:r>
                <a:endParaRPr lang="en-US" dirty="0">
                  <a:solidFill>
                    <a:schemeClr val="bg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pPr defTabSz="913943">
                  <a:lnSpc>
                    <a:spcPct val="85000"/>
                  </a:lnSpc>
                  <a:spcAft>
                    <a:spcPts val="600"/>
                  </a:spcAft>
                  <a:buClr>
                    <a:srgbClr val="27ACAA"/>
                  </a:buClr>
                  <a:buSzPct val="70000"/>
                  <a:defRPr/>
                </a:pPr>
                <a:endParaRPr lang="en-IN" b="1" dirty="0">
                  <a:solidFill>
                    <a:srgbClr val="2E2E38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pPr>
                  <a:lnSpc>
                    <a:spcPct val="85000"/>
                  </a:lnSpc>
                  <a:spcAft>
                    <a:spcPts val="600"/>
                  </a:spcAft>
                  <a:buClr>
                    <a:srgbClr val="27ACAA"/>
                  </a:buClr>
                  <a:buSzPct val="70000"/>
                  <a:defRPr/>
                </a:pPr>
                <a:r>
                  <a:rPr lang="en-IN" b="1" dirty="0">
                    <a:solidFill>
                      <a:srgbClr val="2E2E38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Methodology:  </a:t>
                </a:r>
              </a:p>
              <a:p>
                <a:pPr marL="285607" marR="0" lvl="0" indent="-285607" algn="just" defTabSz="914400" rtl="0" eaLnBrk="1" fontAlgn="auto" latinLnBrk="0" hangingPunct="1">
                  <a:lnSpc>
                    <a:spcPct val="85000"/>
                  </a:lnSpc>
                  <a:spcBef>
                    <a:spcPts val="0"/>
                  </a:spcBef>
                  <a:spcAft>
                    <a:spcPts val="600"/>
                  </a:spcAft>
                  <a:buClr>
                    <a:srgbClr val="FFE600"/>
                  </a:buClr>
                  <a:buSzPct val="100000"/>
                  <a:buFont typeface="EYInterstate Light" panose="02000506000000020004" pitchFamily="2" charset="0"/>
                  <a:buChar char="•"/>
                  <a:tabLst/>
                  <a:defRPr/>
                </a:pPr>
                <a:r>
                  <a:rPr lang="en-IN" dirty="0">
                    <a:solidFill>
                      <a:srgbClr val="2E2E38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The Vol surface was interpolated to obtain a finer grid.</a:t>
                </a:r>
                <a:endParaRPr lang="en-IN" b="1" dirty="0">
                  <a:solidFill>
                    <a:srgbClr val="2E2E38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pPr marL="285607" indent="-285607" algn="just">
                  <a:lnSpc>
                    <a:spcPct val="85000"/>
                  </a:lnSpc>
                  <a:spcAft>
                    <a:spcPts val="600"/>
                  </a:spcAft>
                  <a:buClr>
                    <a:schemeClr val="tx2"/>
                  </a:buClr>
                  <a:buSzPct val="100000"/>
                  <a:buFont typeface="EYInterstate Light" panose="02000506000000020004" pitchFamily="2" charset="0"/>
                  <a:buChar char="•"/>
                  <a:defRPr/>
                </a:pPr>
                <a:r>
                  <a:rPr lang="en-IN" dirty="0">
                    <a:solidFill>
                      <a:srgbClr val="2E2E38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Calibrating Heston stochastic volatility model to real market data by using Differential Evolution optimization technique.</a:t>
                </a:r>
              </a:p>
              <a:p>
                <a:pPr marL="285750" indent="-285750" algn="just">
                  <a:lnSpc>
                    <a:spcPct val="85000"/>
                  </a:lnSpc>
                  <a:spcAft>
                    <a:spcPts val="600"/>
                  </a:spcAft>
                  <a:buClr>
                    <a:schemeClr val="tx2"/>
                  </a:buClr>
                  <a:buSzPct val="100000"/>
                  <a:buFont typeface="Arial" panose="020B0604020202020204" pitchFamily="34" charset="0"/>
                  <a:buChar char="•"/>
                  <a:defRPr/>
                </a:pPr>
                <a:r>
                  <a:rPr lang="en-IN" dirty="0">
                    <a:solidFill>
                      <a:srgbClr val="2E2E38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Objective Function – </a:t>
                </a:r>
              </a:p>
              <a:p>
                <a:pPr algn="ctr">
                  <a:lnSpc>
                    <a:spcPct val="85000"/>
                  </a:lnSpc>
                  <a:spcAft>
                    <a:spcPts val="600"/>
                  </a:spcAft>
                  <a:buClr>
                    <a:schemeClr val="tx2"/>
                  </a:buClr>
                  <a:buSzPct val="100000"/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IN" i="1" dirty="0" smtClean="0">
                          <a:solidFill>
                            <a:srgbClr val="2E2E38"/>
                          </a:solidFill>
                          <a:latin typeface="Cambria Math" panose="02040503050406030204" pitchFamily="18" charset="0"/>
                          <a:cs typeface="Times New Roman" panose="02020603050405020304" pitchFamily="18" charset="0"/>
                        </a:rPr>
                        <m:t>𝐴𝑏𝑠𝑜𝑙𝑢𝑡𝑒</m:t>
                      </m:r>
                      <m:r>
                        <a:rPr lang="en-IN" i="1" dirty="0" smtClean="0">
                          <a:solidFill>
                            <a:srgbClr val="2E2E38"/>
                          </a:solidFill>
                          <a:latin typeface="Cambria Math" panose="02040503050406030204" pitchFamily="18" charset="0"/>
                          <a:cs typeface="Times New Roman" panose="02020603050405020304" pitchFamily="18" charset="0"/>
                        </a:rPr>
                        <m:t> </m:t>
                      </m:r>
                      <m:r>
                        <a:rPr lang="en-IN" i="1" dirty="0" smtClean="0">
                          <a:solidFill>
                            <a:srgbClr val="2E2E38"/>
                          </a:solidFill>
                          <a:latin typeface="Cambria Math" panose="02040503050406030204" pitchFamily="18" charset="0"/>
                          <a:cs typeface="Times New Roman" panose="02020603050405020304" pitchFamily="18" charset="0"/>
                        </a:rPr>
                        <m:t>𝐸𝑟𝑟𝑜𝑟</m:t>
                      </m:r>
                      <m:r>
                        <a:rPr lang="en-IN" b="0" i="1" dirty="0" smtClean="0">
                          <a:solidFill>
                            <a:srgbClr val="2E2E38"/>
                          </a:solidFill>
                          <a:latin typeface="Cambria Math" panose="02040503050406030204" pitchFamily="18" charset="0"/>
                          <a:cs typeface="Times New Roman" panose="02020603050405020304" pitchFamily="18" charset="0"/>
                        </a:rPr>
                        <m:t>=</m:t>
                      </m:r>
                      <m:nary>
                        <m:naryPr>
                          <m:chr m:val="∑"/>
                          <m:supHide m:val="on"/>
                          <m:ctrlPr>
                            <a:rPr lang="en-IN" b="0" i="1" dirty="0" smtClean="0">
                              <a:solidFill>
                                <a:srgbClr val="2E2E38"/>
                              </a:solidFill>
                              <a:latin typeface="Cambria Math" panose="02040503050406030204" pitchFamily="18" charset="0"/>
                              <a:cs typeface="Times New Roman" panose="02020603050405020304" pitchFamily="18" charset="0"/>
                            </a:rPr>
                          </m:ctrlPr>
                        </m:naryPr>
                        <m:sub>
                          <m:r>
                            <m:rPr>
                              <m:brk m:alnAt="7"/>
                            </m:rPr>
                            <a:rPr lang="en-IN" b="0" i="1" dirty="0" smtClean="0">
                              <a:solidFill>
                                <a:srgbClr val="2E2E38"/>
                              </a:solidFill>
                              <a:latin typeface="Cambria Math" panose="02040503050406030204" pitchFamily="18" charset="0"/>
                              <a:cs typeface="Times New Roman" panose="02020603050405020304" pitchFamily="18" charset="0"/>
                            </a:rPr>
                            <m:t>𝐶</m:t>
                          </m:r>
                          <m:r>
                            <a:rPr lang="en-IN" b="0" i="1" dirty="0" smtClean="0">
                              <a:solidFill>
                                <a:srgbClr val="2E2E38"/>
                              </a:solidFill>
                              <a:latin typeface="Cambria Math" panose="02040503050406030204" pitchFamily="18" charset="0"/>
                              <a:cs typeface="Times New Roman" panose="02020603050405020304" pitchFamily="18" charset="0"/>
                            </a:rPr>
                            <m:t>𝑎𝑙𝑙</m:t>
                          </m:r>
                          <m:r>
                            <a:rPr lang="en-IN" b="0" i="1" dirty="0" smtClean="0">
                              <a:solidFill>
                                <a:srgbClr val="2E2E38"/>
                              </a:solidFill>
                              <a:latin typeface="Cambria Math" panose="02040503050406030204" pitchFamily="18" charset="0"/>
                              <a:cs typeface="Times New Roman" panose="02020603050405020304" pitchFamily="18" charset="0"/>
                            </a:rPr>
                            <m:t> </m:t>
                          </m:r>
                          <m:r>
                            <a:rPr lang="en-IN" b="0" i="1" dirty="0" smtClean="0">
                              <a:solidFill>
                                <a:srgbClr val="2E2E38"/>
                              </a:solidFill>
                              <a:latin typeface="Cambria Math" panose="02040503050406030204" pitchFamily="18" charset="0"/>
                              <a:cs typeface="Times New Roman" panose="02020603050405020304" pitchFamily="18" charset="0"/>
                            </a:rPr>
                            <m:t>𝑆𝑡𝑟𝑖𝑘𝑒𝑠</m:t>
                          </m:r>
                        </m:sub>
                        <m:sup/>
                        <m:e>
                          <m:r>
                            <a:rPr lang="en-IN" i="1" dirty="0">
                              <a:solidFill>
                                <a:srgbClr val="2E2E38"/>
                              </a:solidFill>
                              <a:latin typeface="Cambria Math" panose="02040503050406030204" pitchFamily="18" charset="0"/>
                              <a:cs typeface="Times New Roman" panose="02020603050405020304" pitchFamily="18" charset="0"/>
                            </a:rPr>
                            <m:t>𝑎𝑏𝑠</m:t>
                          </m:r>
                          <m:d>
                            <m:dPr>
                              <m:ctrlPr>
                                <a:rPr lang="en-IN" i="1" dirty="0">
                                  <a:solidFill>
                                    <a:srgbClr val="2E2E38"/>
                                  </a:solidFill>
                                  <a:latin typeface="Cambria Math" panose="02040503050406030204" pitchFamily="18" charset="0"/>
                                  <a:cs typeface="Times New Roman" panose="02020603050405020304" pitchFamily="18" charset="0"/>
                                </a:rPr>
                              </m:ctrlPr>
                            </m:dPr>
                            <m:e>
                              <m:r>
                                <a:rPr lang="en-IN" i="1" dirty="0">
                                  <a:solidFill>
                                    <a:srgbClr val="2E2E38"/>
                                  </a:solidFill>
                                  <a:latin typeface="Cambria Math" panose="02040503050406030204" pitchFamily="18" charset="0"/>
                                  <a:cs typeface="Times New Roman" panose="02020603050405020304" pitchFamily="18" charset="0"/>
                                </a:rPr>
                                <m:t>𝐻𝑒𝑠𝑡𝑜𝑛</m:t>
                              </m:r>
                              <m:r>
                                <a:rPr lang="en-IN" i="1" dirty="0">
                                  <a:solidFill>
                                    <a:srgbClr val="2E2E38"/>
                                  </a:solidFill>
                                  <a:latin typeface="Cambria Math" panose="02040503050406030204" pitchFamily="18" charset="0"/>
                                  <a:cs typeface="Times New Roman" panose="02020603050405020304" pitchFamily="18" charset="0"/>
                                </a:rPr>
                                <m:t> </m:t>
                              </m:r>
                              <m:r>
                                <a:rPr lang="en-IN" i="1" dirty="0">
                                  <a:solidFill>
                                    <a:srgbClr val="2E2E38"/>
                                  </a:solidFill>
                                  <a:latin typeface="Cambria Math" panose="02040503050406030204" pitchFamily="18" charset="0"/>
                                  <a:cs typeface="Times New Roman" panose="02020603050405020304" pitchFamily="18" charset="0"/>
                                </a:rPr>
                                <m:t>𝑃𝑟𝑖𝑐𝑒</m:t>
                              </m:r>
                              <m:r>
                                <a:rPr lang="en-IN" i="1" dirty="0">
                                  <a:solidFill>
                                    <a:srgbClr val="2E2E38"/>
                                  </a:solidFill>
                                  <a:latin typeface="Cambria Math" panose="02040503050406030204" pitchFamily="18" charset="0"/>
                                  <a:cs typeface="Times New Roman" panose="02020603050405020304" pitchFamily="18" charset="0"/>
                                </a:rPr>
                                <m:t> −</m:t>
                              </m:r>
                              <m:r>
                                <a:rPr lang="en-IN" i="1" dirty="0">
                                  <a:solidFill>
                                    <a:srgbClr val="2E2E38"/>
                                  </a:solidFill>
                                  <a:latin typeface="Cambria Math" panose="02040503050406030204" pitchFamily="18" charset="0"/>
                                  <a:cs typeface="Times New Roman" panose="02020603050405020304" pitchFamily="18" charset="0"/>
                                </a:rPr>
                                <m:t>𝑀𝑎𝑟𝑘𝑒𝑡</m:t>
                              </m:r>
                              <m:r>
                                <a:rPr lang="en-IN" i="1" dirty="0">
                                  <a:solidFill>
                                    <a:srgbClr val="2E2E38"/>
                                  </a:solidFill>
                                  <a:latin typeface="Cambria Math" panose="02040503050406030204" pitchFamily="18" charset="0"/>
                                  <a:cs typeface="Times New Roman" panose="02020603050405020304" pitchFamily="18" charset="0"/>
                                </a:rPr>
                                <m:t> </m:t>
                              </m:r>
                              <m:r>
                                <a:rPr lang="en-IN" i="1" dirty="0">
                                  <a:solidFill>
                                    <a:srgbClr val="2E2E38"/>
                                  </a:solidFill>
                                  <a:latin typeface="Cambria Math" panose="02040503050406030204" pitchFamily="18" charset="0"/>
                                  <a:cs typeface="Times New Roman" panose="02020603050405020304" pitchFamily="18" charset="0"/>
                                </a:rPr>
                                <m:t>𝑃𝑟𝑖𝑐𝑒</m:t>
                              </m:r>
                            </m:e>
                          </m:d>
                        </m:e>
                      </m:nary>
                      <m:r>
                        <a:rPr lang="en-IN" b="0" i="1" dirty="0" smtClean="0">
                          <a:solidFill>
                            <a:srgbClr val="2E2E38"/>
                          </a:solidFill>
                          <a:latin typeface="Cambria Math" panose="02040503050406030204" pitchFamily="18" charset="0"/>
                          <a:cs typeface="Times New Roman" panose="02020603050405020304" pitchFamily="18" charset="0"/>
                        </a:rPr>
                        <m:t>+</m:t>
                      </m:r>
                      <m:nary>
                        <m:naryPr>
                          <m:chr m:val="∑"/>
                          <m:supHide m:val="on"/>
                          <m:ctrlPr>
                            <a:rPr lang="en-IN" i="1" dirty="0">
                              <a:solidFill>
                                <a:srgbClr val="2E2E38"/>
                              </a:solidFill>
                              <a:latin typeface="Cambria Math" panose="02040503050406030204" pitchFamily="18" charset="0"/>
                              <a:cs typeface="Times New Roman" panose="02020603050405020304" pitchFamily="18" charset="0"/>
                            </a:rPr>
                          </m:ctrlPr>
                        </m:naryPr>
                        <m:sub>
                          <m:r>
                            <a:rPr lang="en-IN" b="0" i="1" dirty="0" smtClean="0">
                              <a:solidFill>
                                <a:srgbClr val="2E2E38"/>
                              </a:solidFill>
                              <a:latin typeface="Cambria Math" panose="02040503050406030204" pitchFamily="18" charset="0"/>
                              <a:cs typeface="Times New Roman" panose="02020603050405020304" pitchFamily="18" charset="0"/>
                            </a:rPr>
                            <m:t>𝑃𝑢𝑡</m:t>
                          </m:r>
                          <m:r>
                            <a:rPr lang="en-IN" i="1" dirty="0">
                              <a:solidFill>
                                <a:srgbClr val="2E2E38"/>
                              </a:solidFill>
                              <a:latin typeface="Cambria Math" panose="02040503050406030204" pitchFamily="18" charset="0"/>
                              <a:cs typeface="Times New Roman" panose="02020603050405020304" pitchFamily="18" charset="0"/>
                            </a:rPr>
                            <m:t> </m:t>
                          </m:r>
                          <m:r>
                            <a:rPr lang="en-IN" i="1" dirty="0">
                              <a:solidFill>
                                <a:srgbClr val="2E2E38"/>
                              </a:solidFill>
                              <a:latin typeface="Cambria Math" panose="02040503050406030204" pitchFamily="18" charset="0"/>
                              <a:cs typeface="Times New Roman" panose="02020603050405020304" pitchFamily="18" charset="0"/>
                            </a:rPr>
                            <m:t>𝑆𝑡𝑟𝑖𝑘𝑒𝑠</m:t>
                          </m:r>
                        </m:sub>
                        <m:sup/>
                        <m:e>
                          <m:r>
                            <a:rPr lang="en-IN" i="1" dirty="0">
                              <a:solidFill>
                                <a:srgbClr val="2E2E38"/>
                              </a:solidFill>
                              <a:latin typeface="Cambria Math" panose="02040503050406030204" pitchFamily="18" charset="0"/>
                              <a:cs typeface="Times New Roman" panose="02020603050405020304" pitchFamily="18" charset="0"/>
                            </a:rPr>
                            <m:t>𝑎𝑏𝑠</m:t>
                          </m:r>
                          <m:d>
                            <m:dPr>
                              <m:ctrlPr>
                                <a:rPr lang="en-IN" i="1" dirty="0">
                                  <a:solidFill>
                                    <a:srgbClr val="2E2E38"/>
                                  </a:solidFill>
                                  <a:latin typeface="Cambria Math" panose="02040503050406030204" pitchFamily="18" charset="0"/>
                                  <a:cs typeface="Times New Roman" panose="02020603050405020304" pitchFamily="18" charset="0"/>
                                </a:rPr>
                              </m:ctrlPr>
                            </m:dPr>
                            <m:e>
                              <m:r>
                                <a:rPr lang="en-IN" i="1" dirty="0">
                                  <a:solidFill>
                                    <a:srgbClr val="2E2E38"/>
                                  </a:solidFill>
                                  <a:latin typeface="Cambria Math" panose="02040503050406030204" pitchFamily="18" charset="0"/>
                                  <a:cs typeface="Times New Roman" panose="02020603050405020304" pitchFamily="18" charset="0"/>
                                </a:rPr>
                                <m:t>𝐻𝑒𝑠𝑡𝑜𝑛</m:t>
                              </m:r>
                              <m:r>
                                <a:rPr lang="en-IN" i="1" dirty="0">
                                  <a:solidFill>
                                    <a:srgbClr val="2E2E38"/>
                                  </a:solidFill>
                                  <a:latin typeface="Cambria Math" panose="02040503050406030204" pitchFamily="18" charset="0"/>
                                  <a:cs typeface="Times New Roman" panose="02020603050405020304" pitchFamily="18" charset="0"/>
                                </a:rPr>
                                <m:t> </m:t>
                              </m:r>
                              <m:r>
                                <a:rPr lang="en-IN" i="1" dirty="0">
                                  <a:solidFill>
                                    <a:srgbClr val="2E2E38"/>
                                  </a:solidFill>
                                  <a:latin typeface="Cambria Math" panose="02040503050406030204" pitchFamily="18" charset="0"/>
                                  <a:cs typeface="Times New Roman" panose="02020603050405020304" pitchFamily="18" charset="0"/>
                                </a:rPr>
                                <m:t>𝑃𝑟𝑖𝑐𝑒</m:t>
                              </m:r>
                              <m:r>
                                <a:rPr lang="en-IN" i="1" dirty="0">
                                  <a:solidFill>
                                    <a:srgbClr val="2E2E38"/>
                                  </a:solidFill>
                                  <a:latin typeface="Cambria Math" panose="02040503050406030204" pitchFamily="18" charset="0"/>
                                  <a:cs typeface="Times New Roman" panose="02020603050405020304" pitchFamily="18" charset="0"/>
                                </a:rPr>
                                <m:t> −</m:t>
                              </m:r>
                              <m:r>
                                <a:rPr lang="en-IN" i="1" dirty="0">
                                  <a:solidFill>
                                    <a:srgbClr val="2E2E38"/>
                                  </a:solidFill>
                                  <a:latin typeface="Cambria Math" panose="02040503050406030204" pitchFamily="18" charset="0"/>
                                  <a:cs typeface="Times New Roman" panose="02020603050405020304" pitchFamily="18" charset="0"/>
                                </a:rPr>
                                <m:t>𝑀𝑎𝑟𝑘𝑒𝑡</m:t>
                              </m:r>
                              <m:r>
                                <a:rPr lang="en-IN" i="1" dirty="0">
                                  <a:solidFill>
                                    <a:srgbClr val="2E2E38"/>
                                  </a:solidFill>
                                  <a:latin typeface="Cambria Math" panose="02040503050406030204" pitchFamily="18" charset="0"/>
                                  <a:cs typeface="Times New Roman" panose="02020603050405020304" pitchFamily="18" charset="0"/>
                                </a:rPr>
                                <m:t> </m:t>
                              </m:r>
                              <m:r>
                                <a:rPr lang="en-IN" i="1" dirty="0">
                                  <a:solidFill>
                                    <a:srgbClr val="2E2E38"/>
                                  </a:solidFill>
                                  <a:latin typeface="Cambria Math" panose="02040503050406030204" pitchFamily="18" charset="0"/>
                                  <a:cs typeface="Times New Roman" panose="02020603050405020304" pitchFamily="18" charset="0"/>
                                </a:rPr>
                                <m:t>𝑃𝑟𝑖𝑐𝑒</m:t>
                              </m:r>
                            </m:e>
                          </m:d>
                        </m:e>
                      </m:nary>
                    </m:oMath>
                  </m:oMathPara>
                </a14:m>
                <a:endParaRPr lang="en-IN" dirty="0">
                  <a:solidFill>
                    <a:srgbClr val="2E2E38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pPr marL="285607" indent="-285607" algn="just">
                  <a:lnSpc>
                    <a:spcPct val="85000"/>
                  </a:lnSpc>
                  <a:spcAft>
                    <a:spcPts val="600"/>
                  </a:spcAft>
                  <a:buClr>
                    <a:schemeClr val="tx2"/>
                  </a:buClr>
                  <a:buSzPct val="100000"/>
                  <a:buFont typeface="EYInterstate Light" panose="02000506000000020004" pitchFamily="2" charset="0"/>
                  <a:buChar char="•"/>
                  <a:defRPr/>
                </a:pPr>
                <a:r>
                  <a:rPr lang="en-IN" dirty="0">
                    <a:solidFill>
                      <a:srgbClr val="2E2E38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Parameter Constraints - </a:t>
                </a:r>
                <a14:m>
                  <m:oMath xmlns:m="http://schemas.openxmlformats.org/officeDocument/2006/math">
                    <m:r>
                      <a:rPr lang="en-IN" b="0" i="0" smtClean="0">
                        <a:solidFill>
                          <a:srgbClr val="2E2E38"/>
                        </a:solidFill>
                        <a:latin typeface="Cambria Math" panose="02040503050406030204" pitchFamily="18" charset="0"/>
                        <a:cs typeface="Times New Roman" panose="02020603050405020304" pitchFamily="18" charset="0"/>
                      </a:rPr>
                      <m:t>−1≤</m:t>
                    </m:r>
                    <m:r>
                      <m:rPr>
                        <m:sty m:val="p"/>
                      </m:rPr>
                      <a:rPr lang="el-GR" i="1" smtClean="0">
                        <a:solidFill>
                          <a:srgbClr val="2E2E38"/>
                        </a:solidFill>
                        <a:latin typeface="Cambria Math" panose="02040503050406030204" pitchFamily="18" charset="0"/>
                        <a:cs typeface="Times New Roman" panose="02020603050405020304" pitchFamily="18" charset="0"/>
                      </a:rPr>
                      <m:t>ρ</m:t>
                    </m:r>
                    <m:r>
                      <a:rPr lang="en-IN" b="0" i="1" smtClean="0">
                        <a:solidFill>
                          <a:srgbClr val="2E2E38"/>
                        </a:solidFill>
                        <a:latin typeface="Cambria Math" panose="02040503050406030204" pitchFamily="18" charset="0"/>
                        <a:cs typeface="Times New Roman" panose="02020603050405020304" pitchFamily="18" charset="0"/>
                      </a:rPr>
                      <m:t>≤1,    </m:t>
                    </m:r>
                    <m:r>
                      <m:rPr>
                        <m:sty m:val="p"/>
                      </m:rPr>
                      <a:rPr lang="el-GR" b="0" i="1" smtClean="0">
                        <a:solidFill>
                          <a:srgbClr val="2E2E38"/>
                        </a:solidFill>
                        <a:latin typeface="Cambria Math" panose="02040503050406030204" pitchFamily="18" charset="0"/>
                        <a:cs typeface="Times New Roman" panose="02020603050405020304" pitchFamily="18" charset="0"/>
                      </a:rPr>
                      <m:t>κ</m:t>
                    </m:r>
                    <m:r>
                      <a:rPr lang="en-IN" b="0" i="1" smtClean="0">
                        <a:solidFill>
                          <a:srgbClr val="2E2E38"/>
                        </a:solidFill>
                        <a:latin typeface="Cambria Math" panose="02040503050406030204" pitchFamily="18" charset="0"/>
                        <a:cs typeface="Times New Roman" panose="02020603050405020304" pitchFamily="18" charset="0"/>
                      </a:rPr>
                      <m:t>,</m:t>
                    </m:r>
                    <m:r>
                      <m:rPr>
                        <m:sty m:val="p"/>
                      </m:rPr>
                      <a:rPr lang="el-GR" b="0" i="1" smtClean="0">
                        <a:solidFill>
                          <a:srgbClr val="2E2E38"/>
                        </a:solidFill>
                        <a:latin typeface="Cambria Math" panose="02040503050406030204" pitchFamily="18" charset="0"/>
                        <a:cs typeface="Times New Roman" panose="02020603050405020304" pitchFamily="18" charset="0"/>
                      </a:rPr>
                      <m:t>θ</m:t>
                    </m:r>
                    <m:r>
                      <a:rPr lang="en-IN" b="0" i="1" smtClean="0">
                        <a:solidFill>
                          <a:srgbClr val="2E2E38"/>
                        </a:solidFill>
                        <a:latin typeface="Cambria Math" panose="02040503050406030204" pitchFamily="18" charset="0"/>
                        <a:cs typeface="Times New Roman" panose="02020603050405020304" pitchFamily="18" charset="0"/>
                      </a:rPr>
                      <m:t>,</m:t>
                    </m:r>
                    <m:r>
                      <m:rPr>
                        <m:sty m:val="p"/>
                      </m:rPr>
                      <a:rPr lang="el-GR" b="0" i="1" smtClean="0">
                        <a:solidFill>
                          <a:srgbClr val="2E2E38"/>
                        </a:solidFill>
                        <a:latin typeface="Cambria Math" panose="02040503050406030204" pitchFamily="18" charset="0"/>
                        <a:cs typeface="Times New Roman" panose="02020603050405020304" pitchFamily="18" charset="0"/>
                      </a:rPr>
                      <m:t>σ</m:t>
                    </m:r>
                    <m:r>
                      <a:rPr lang="en-IN" b="0" i="1" smtClean="0">
                        <a:solidFill>
                          <a:srgbClr val="2E2E38"/>
                        </a:solidFill>
                        <a:latin typeface="Cambria Math" panose="02040503050406030204" pitchFamily="18" charset="0"/>
                        <a:cs typeface="Times New Roman" panose="02020603050405020304" pitchFamily="18" charset="0"/>
                      </a:rPr>
                      <m:t>,</m:t>
                    </m:r>
                    <m:sSub>
                      <m:sSubPr>
                        <m:ctrlPr>
                          <a:rPr lang="en-IN" b="0" i="1" smtClean="0">
                            <a:solidFill>
                              <a:srgbClr val="2E2E38"/>
                            </a:solidFill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el-GR" i="1">
                            <a:solidFill>
                              <a:srgbClr val="2E2E38"/>
                            </a:solidFill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ν</m:t>
                        </m:r>
                      </m:e>
                      <m:sub>
                        <m:r>
                          <a:rPr lang="en-IN" b="0" i="1" smtClean="0">
                            <a:solidFill>
                              <a:srgbClr val="2E2E38"/>
                            </a:solidFill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0</m:t>
                        </m:r>
                      </m:sub>
                    </m:sSub>
                    <m:r>
                      <a:rPr lang="en-IN" b="0" i="1" smtClean="0">
                        <a:solidFill>
                          <a:srgbClr val="2E2E38"/>
                        </a:solidFill>
                        <a:latin typeface="Cambria Math" panose="02040503050406030204" pitchFamily="18" charset="0"/>
                        <a:cs typeface="Times New Roman" panose="02020603050405020304" pitchFamily="18" charset="0"/>
                      </a:rPr>
                      <m:t>&gt;0</m:t>
                    </m:r>
                  </m:oMath>
                </a14:m>
                <a:endParaRPr lang="en-IN" dirty="0">
                  <a:solidFill>
                    <a:srgbClr val="2E2E38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pPr marL="742950" lvl="1" indent="-285750">
                  <a:lnSpc>
                    <a:spcPct val="85000"/>
                  </a:lnSpc>
                  <a:spcAft>
                    <a:spcPts val="600"/>
                  </a:spcAft>
                  <a:buClr>
                    <a:schemeClr val="tx2"/>
                  </a:buClr>
                  <a:buSzPct val="100000"/>
                  <a:buFont typeface="EYInterstate Light" panose="02000506000000020004" pitchFamily="2" charset="0"/>
                  <a:buChar char="•"/>
                </a:pPr>
                <a:r>
                  <a:rPr lang="en-IN" dirty="0">
                    <a:solidFill>
                      <a:schemeClr val="bg1"/>
                    </a:solidFill>
                    <a:latin typeface="Times New Roman" panose="02020603050405020304" pitchFamily="18" charset="0"/>
                    <a:ea typeface="+mn-lt"/>
                    <a:cs typeface="Times New Roman" panose="02020603050405020304" pitchFamily="18" charset="0"/>
                  </a:rPr>
                  <a:t>fixed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IN" b="0" i="1" dirty="0" smtClean="0">
                            <a:solidFill>
                              <a:srgbClr val="2E2E38"/>
                            </a:solidFill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</m:ctrlPr>
                      </m:sSubPr>
                      <m:e>
                        <m:r>
                          <a:rPr lang="el-GR" i="1" dirty="0" smtClean="0">
                            <a:solidFill>
                              <a:srgbClr val="2E2E38"/>
                            </a:solidFill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𝜈</m:t>
                        </m:r>
                      </m:e>
                      <m:sub>
                        <m:r>
                          <a:rPr lang="en-IN" b="0" i="1" dirty="0" smtClean="0">
                            <a:solidFill>
                              <a:srgbClr val="2E2E38"/>
                            </a:solidFill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0</m:t>
                        </m:r>
                      </m:sub>
                    </m:sSub>
                    <m:r>
                      <a:rPr lang="en-IN" i="1" dirty="0" smtClean="0">
                        <a:solidFill>
                          <a:schemeClr val="bg1"/>
                        </a:solidFill>
                        <a:latin typeface="Cambria Math" panose="02040503050406030204" pitchFamily="18" charset="0"/>
                        <a:ea typeface="+mn-lt"/>
                        <a:cs typeface="Times New Roman" panose="02020603050405020304" pitchFamily="18" charset="0"/>
                      </a:rPr>
                      <m:t>=</m:t>
                    </m:r>
                    <m:sSup>
                      <m:sSupPr>
                        <m:ctrlPr>
                          <a:rPr lang="en-IN" i="1" dirty="0" smtClean="0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  <a:ea typeface="+mn-lt"/>
                            <a:cs typeface="Times New Roman" panose="02020603050405020304" pitchFamily="18" charset="0"/>
                          </a:rPr>
                        </m:ctrlPr>
                      </m:sSupPr>
                      <m:e>
                        <m:r>
                          <a:rPr lang="en-IN" i="1" dirty="0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  <a:ea typeface="+mn-lt"/>
                            <a:cs typeface="Times New Roman" panose="02020603050405020304" pitchFamily="18" charset="0"/>
                          </a:rPr>
                          <m:t>(</m:t>
                        </m:r>
                        <m:r>
                          <a:rPr lang="en-IN" i="1" dirty="0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  <a:ea typeface="+mn-lt"/>
                            <a:cs typeface="Times New Roman" panose="02020603050405020304" pitchFamily="18" charset="0"/>
                          </a:rPr>
                          <m:t>𝐴𝑇𝑀</m:t>
                        </m:r>
                        <m:r>
                          <a:rPr lang="en-IN" i="1" dirty="0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  <a:ea typeface="+mn-lt"/>
                            <a:cs typeface="Times New Roman" panose="02020603050405020304" pitchFamily="18" charset="0"/>
                          </a:rPr>
                          <m:t> </m:t>
                        </m:r>
                        <m:r>
                          <a:rPr lang="en-IN" i="1" dirty="0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  <a:ea typeface="+mn-lt"/>
                            <a:cs typeface="Times New Roman" panose="02020603050405020304" pitchFamily="18" charset="0"/>
                          </a:rPr>
                          <m:t>𝑣𝑜𝑙</m:t>
                        </m:r>
                        <m:r>
                          <a:rPr lang="en-IN" i="1" dirty="0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  <a:ea typeface="+mn-lt"/>
                            <a:cs typeface="Times New Roman" panose="02020603050405020304" pitchFamily="18" charset="0"/>
                          </a:rPr>
                          <m:t>)</m:t>
                        </m:r>
                      </m:e>
                      <m:sup>
                        <m:r>
                          <a:rPr lang="en-IN" b="0" i="1" dirty="0" smtClean="0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  <a:ea typeface="+mn-lt"/>
                            <a:cs typeface="Times New Roman" panose="02020603050405020304" pitchFamily="18" charset="0"/>
                          </a:rPr>
                          <m:t>2</m:t>
                        </m:r>
                      </m:sup>
                    </m:sSup>
                  </m:oMath>
                </a14:m>
                <a:endParaRPr lang="en-IN" baseline="30000" dirty="0">
                  <a:solidFill>
                    <a:schemeClr val="bg1"/>
                  </a:solidFill>
                  <a:latin typeface="Times New Roman" panose="02020603050405020304" pitchFamily="18" charset="0"/>
                  <a:ea typeface="+mn-lt"/>
                  <a:cs typeface="Times New Roman" panose="02020603050405020304" pitchFamily="18" charset="0"/>
                </a:endParaRPr>
              </a:p>
              <a:p>
                <a:pPr marL="742950" lvl="1" indent="-285750">
                  <a:lnSpc>
                    <a:spcPct val="85000"/>
                  </a:lnSpc>
                  <a:spcAft>
                    <a:spcPts val="600"/>
                  </a:spcAft>
                  <a:buClr>
                    <a:schemeClr val="tx2"/>
                  </a:buClr>
                  <a:buSzPct val="100000"/>
                  <a:buFont typeface="EYInterstate Light" panose="02000506000000020004" pitchFamily="2" charset="0"/>
                  <a:buChar char="•"/>
                </a:pPr>
                <a:r>
                  <a:rPr lang="en-IN" dirty="0">
                    <a:solidFill>
                      <a:schemeClr val="bg1"/>
                    </a:solidFill>
                    <a:latin typeface="Times New Roman" panose="02020603050405020304" pitchFamily="18" charset="0"/>
                    <a:ea typeface="+mn-lt"/>
                    <a:cs typeface="Times New Roman" panose="02020603050405020304" pitchFamily="18" charset="0"/>
                  </a:rPr>
                  <a:t>Fixed </a:t>
                </a:r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el-GR" i="1">
                        <a:solidFill>
                          <a:srgbClr val="2E2E38"/>
                        </a:solidFill>
                        <a:latin typeface="Cambria Math" panose="02040503050406030204" pitchFamily="18" charset="0"/>
                        <a:cs typeface="Times New Roman" panose="02020603050405020304" pitchFamily="18" charset="0"/>
                      </a:rPr>
                      <m:t>κ</m:t>
                    </m:r>
                    <m:r>
                      <a:rPr lang="en-IN" i="1" dirty="0" smtClean="0">
                        <a:solidFill>
                          <a:schemeClr val="bg1"/>
                        </a:solidFill>
                        <a:latin typeface="Cambria Math" panose="02040503050406030204" pitchFamily="18" charset="0"/>
                        <a:ea typeface="+mn-lt"/>
                        <a:cs typeface="Times New Roman" panose="02020603050405020304" pitchFamily="18" charset="0"/>
                      </a:rPr>
                      <m:t>=0.5</m:t>
                    </m:r>
                  </m:oMath>
                </a14:m>
                <a:endParaRPr lang="en-IN" dirty="0">
                  <a:solidFill>
                    <a:schemeClr val="bg1"/>
                  </a:solidFill>
                  <a:latin typeface="Times New Roman" panose="02020603050405020304" pitchFamily="18" charset="0"/>
                  <a:ea typeface="+mn-lt"/>
                  <a:cs typeface="Times New Roman" panose="02020603050405020304" pitchFamily="18" charset="0"/>
                </a:endParaRPr>
              </a:p>
              <a:p>
                <a:pPr marL="742950" lvl="1" indent="-285750">
                  <a:lnSpc>
                    <a:spcPct val="85000"/>
                  </a:lnSpc>
                  <a:spcAft>
                    <a:spcPts val="600"/>
                  </a:spcAft>
                  <a:buClr>
                    <a:schemeClr val="tx2"/>
                  </a:buClr>
                  <a:buSzPct val="100000"/>
                  <a:buFont typeface="EYInterstate Light" panose="02000506000000020004" pitchFamily="2" charset="0"/>
                  <a:buChar char="•"/>
                </a:pPr>
                <a:r>
                  <a:rPr lang="en-IN" dirty="0">
                    <a:solidFill>
                      <a:schemeClr val="bg1"/>
                    </a:solidFill>
                    <a:latin typeface="Times New Roman" panose="02020603050405020304" pitchFamily="18" charset="0"/>
                    <a:ea typeface="+mn-lt"/>
                    <a:cs typeface="Times New Roman" panose="02020603050405020304" pitchFamily="18" charset="0"/>
                  </a:rPr>
                  <a:t>Calibrated </a:t>
                </a:r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el-GR" i="1">
                        <a:solidFill>
                          <a:srgbClr val="2E2E38"/>
                        </a:solidFill>
                        <a:latin typeface="Cambria Math" panose="02040503050406030204" pitchFamily="18" charset="0"/>
                        <a:cs typeface="Times New Roman" panose="02020603050405020304" pitchFamily="18" charset="0"/>
                      </a:rPr>
                      <m:t>ρ</m:t>
                    </m:r>
                    <m:r>
                      <a:rPr lang="el-GR" i="1">
                        <a:solidFill>
                          <a:srgbClr val="2E2E38"/>
                        </a:solidFill>
                        <a:latin typeface="Cambria Math" panose="02040503050406030204" pitchFamily="18" charset="0"/>
                        <a:cs typeface="Times New Roman" panose="02020603050405020304" pitchFamily="18" charset="0"/>
                      </a:rPr>
                      <m:t>, </m:t>
                    </m:r>
                    <m:r>
                      <m:rPr>
                        <m:sty m:val="p"/>
                      </m:rPr>
                      <a:rPr lang="el-GR" b="0" i="1" smtClean="0">
                        <a:solidFill>
                          <a:srgbClr val="2E2E38"/>
                        </a:solidFill>
                        <a:latin typeface="Cambria Math" panose="02040503050406030204" pitchFamily="18" charset="0"/>
                        <a:cs typeface="Times New Roman" panose="02020603050405020304" pitchFamily="18" charset="0"/>
                      </a:rPr>
                      <m:t>θ</m:t>
                    </m:r>
                    <m:r>
                      <a:rPr lang="en-IN" b="0" i="1" smtClean="0">
                        <a:solidFill>
                          <a:srgbClr val="2E2E38"/>
                        </a:solidFill>
                        <a:latin typeface="Cambria Math" panose="02040503050406030204" pitchFamily="18" charset="0"/>
                        <a:cs typeface="Times New Roman" panose="02020603050405020304" pitchFamily="18" charset="0"/>
                      </a:rPr>
                      <m:t>, </m:t>
                    </m:r>
                    <m:r>
                      <m:rPr>
                        <m:sty m:val="p"/>
                      </m:rPr>
                      <a:rPr lang="el-GR" b="0" i="1" smtClean="0">
                        <a:solidFill>
                          <a:srgbClr val="2E2E38"/>
                        </a:solidFill>
                        <a:latin typeface="Cambria Math" panose="02040503050406030204" pitchFamily="18" charset="0"/>
                        <a:cs typeface="Times New Roman" panose="02020603050405020304" pitchFamily="18" charset="0"/>
                      </a:rPr>
                      <m:t>σ</m:t>
                    </m:r>
                  </m:oMath>
                </a14:m>
                <a:endParaRPr lang="en-IN" dirty="0">
                  <a:solidFill>
                    <a:schemeClr val="bg1"/>
                  </a:solidFill>
                  <a:latin typeface="Times New Roman" panose="02020603050405020304" pitchFamily="18" charset="0"/>
                  <a:ea typeface="+mn-lt"/>
                  <a:cs typeface="Times New Roman" panose="02020603050405020304" pitchFamily="18" charset="0"/>
                </a:endParaRPr>
              </a:p>
              <a:p>
                <a:pPr marL="285750" indent="-285750">
                  <a:lnSpc>
                    <a:spcPct val="85000"/>
                  </a:lnSpc>
                  <a:spcAft>
                    <a:spcPts val="600"/>
                  </a:spcAft>
                  <a:buClr>
                    <a:schemeClr val="tx2"/>
                  </a:buClr>
                  <a:buSzPct val="100000"/>
                  <a:buFont typeface="Arial" panose="020B0604020202020204" pitchFamily="34" charset="0"/>
                  <a:buChar char="•"/>
                </a:pPr>
                <a:r>
                  <a:rPr lang="en-IN" dirty="0">
                    <a:solidFill>
                      <a:schemeClr val="bg1"/>
                    </a:solidFill>
                    <a:latin typeface="Times New Roman" panose="02020603050405020304" pitchFamily="18" charset="0"/>
                    <a:ea typeface="+mn-lt"/>
                    <a:cs typeface="Times New Roman" panose="02020603050405020304" pitchFamily="18" charset="0"/>
                  </a:rPr>
                  <a:t>Calibrated Values:  </a:t>
                </a:r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el-GR" i="1" smtClean="0">
                        <a:solidFill>
                          <a:srgbClr val="2E2E38"/>
                        </a:solidFill>
                        <a:latin typeface="Cambria Math" panose="02040503050406030204" pitchFamily="18" charset="0"/>
                        <a:cs typeface="Times New Roman" panose="02020603050405020304" pitchFamily="18" charset="0"/>
                      </a:rPr>
                      <m:t>ρ</m:t>
                    </m:r>
                    <m:r>
                      <a:rPr lang="en-IN" b="0" i="1" smtClean="0">
                        <a:solidFill>
                          <a:srgbClr val="2E2E38"/>
                        </a:solidFill>
                        <a:latin typeface="Cambria Math" panose="02040503050406030204" pitchFamily="18" charset="0"/>
                        <a:cs typeface="Times New Roman" panose="02020603050405020304" pitchFamily="18" charset="0"/>
                      </a:rPr>
                      <m:t>=−0.7014588,  </m:t>
                    </m:r>
                    <m:r>
                      <m:rPr>
                        <m:sty m:val="p"/>
                      </m:rPr>
                      <a:rPr lang="el-GR" i="1">
                        <a:solidFill>
                          <a:srgbClr val="2E2E38"/>
                        </a:solidFill>
                        <a:latin typeface="Cambria Math" panose="02040503050406030204" pitchFamily="18" charset="0"/>
                        <a:cs typeface="Times New Roman" panose="02020603050405020304" pitchFamily="18" charset="0"/>
                      </a:rPr>
                      <m:t>θ</m:t>
                    </m:r>
                    <m:r>
                      <a:rPr lang="en-IN" b="0" i="1" smtClean="0">
                        <a:solidFill>
                          <a:srgbClr val="2E2E38"/>
                        </a:solidFill>
                        <a:latin typeface="Cambria Math" panose="02040503050406030204" pitchFamily="18" charset="0"/>
                        <a:cs typeface="Times New Roman" panose="02020603050405020304" pitchFamily="18" charset="0"/>
                      </a:rPr>
                      <m:t>=0.06821138,  </m:t>
                    </m:r>
                    <m:r>
                      <m:rPr>
                        <m:sty m:val="p"/>
                      </m:rPr>
                      <a:rPr lang="el-GR" i="1">
                        <a:solidFill>
                          <a:srgbClr val="2E2E38"/>
                        </a:solidFill>
                        <a:latin typeface="Cambria Math" panose="02040503050406030204" pitchFamily="18" charset="0"/>
                        <a:cs typeface="Times New Roman" panose="02020603050405020304" pitchFamily="18" charset="0"/>
                      </a:rPr>
                      <m:t>σ</m:t>
                    </m:r>
                    <m:r>
                      <a:rPr lang="en-IN" b="0" i="1" smtClean="0">
                        <a:solidFill>
                          <a:srgbClr val="2E2E38"/>
                        </a:solidFill>
                        <a:latin typeface="Cambria Math" panose="02040503050406030204" pitchFamily="18" charset="0"/>
                        <a:cs typeface="Times New Roman" panose="02020603050405020304" pitchFamily="18" charset="0"/>
                      </a:rPr>
                      <m:t>=0.43436511</m:t>
                    </m:r>
                  </m:oMath>
                </a14:m>
                <a:endParaRPr lang="en-IN" dirty="0">
                  <a:solidFill>
                    <a:schemeClr val="bg1"/>
                  </a:solidFill>
                  <a:latin typeface="Times New Roman" panose="02020603050405020304" pitchFamily="18" charset="0"/>
                  <a:ea typeface="+mn-lt"/>
                  <a:cs typeface="Times New Roman" panose="02020603050405020304" pitchFamily="18" charset="0"/>
                </a:endParaRPr>
              </a:p>
              <a:p>
                <a:pPr algn="ctr">
                  <a:lnSpc>
                    <a:spcPct val="85000"/>
                  </a:lnSpc>
                  <a:spcAft>
                    <a:spcPts val="600"/>
                  </a:spcAft>
                  <a:buClr>
                    <a:schemeClr val="tx2"/>
                  </a:buClr>
                  <a:buSzPct val="100000"/>
                  <a:defRPr/>
                </a:pPr>
                <a:endParaRPr lang="en-IN" dirty="0">
                  <a:solidFill>
                    <a:srgbClr val="2E2E38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pPr>
                  <a:lnSpc>
                    <a:spcPct val="85000"/>
                  </a:lnSpc>
                  <a:spcAft>
                    <a:spcPts val="600"/>
                  </a:spcAft>
                  <a:buClr>
                    <a:schemeClr val="tx2"/>
                  </a:buClr>
                  <a:buSzPct val="100000"/>
                  <a:defRPr/>
                </a:pPr>
                <a:endParaRPr lang="en-IN" dirty="0">
                  <a:solidFill>
                    <a:srgbClr val="2E2E38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mc:Choice>
        <mc:Fallback xmlns="">
          <p:sp>
            <p:nvSpPr>
              <p:cNvPr id="4" name="TextBox 3">
                <a:extLst>
                  <a:ext uri="{FF2B5EF4-FFF2-40B4-BE49-F238E27FC236}">
                    <a16:creationId xmlns:a16="http://schemas.microsoft.com/office/drawing/2014/main" id="{CA45C4EC-A881-4999-8B27-73F99152842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04800" y="1434015"/>
                <a:ext cx="11582400" cy="5038861"/>
              </a:xfrm>
              <a:prstGeom prst="rect">
                <a:avLst/>
              </a:prstGeom>
              <a:blipFill>
                <a:blip r:embed="rId2"/>
                <a:stretch>
                  <a:fillRect l="-1211" t="-1693"/>
                </a:stretch>
              </a:blipFill>
            </p:spPr>
            <p:txBody>
              <a:bodyPr/>
              <a:lstStyle/>
              <a:p>
                <a:r>
                  <a:rPr lang="en-IN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87184210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Picture 2">
            <a:extLst>
              <a:ext uri="{FF2B5EF4-FFF2-40B4-BE49-F238E27FC236}">
                <a16:creationId xmlns:a16="http://schemas.microsoft.com/office/drawing/2014/main" id="{EB22F249-5D9A-4F4C-8F13-45B640D6765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08143" y="1093303"/>
            <a:ext cx="7775713" cy="51186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01517792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00" name="Picture 4">
            <a:extLst>
              <a:ext uri="{FF2B5EF4-FFF2-40B4-BE49-F238E27FC236}">
                <a16:creationId xmlns:a16="http://schemas.microsoft.com/office/drawing/2014/main" id="{93DF951A-469D-4DB2-9D09-A298B8E1AF6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25756" y="1076806"/>
            <a:ext cx="7540487" cy="52768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10536544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Content Placeholder 4" descr="Chart, line chart&#10;&#10;Description automatically generated">
            <a:extLst>
              <a:ext uri="{FF2B5EF4-FFF2-40B4-BE49-F238E27FC236}">
                <a16:creationId xmlns:a16="http://schemas.microsoft.com/office/drawing/2014/main" id="{43E0D6F8-DB89-4437-9854-D9117B8CF8AE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90725" y="1076325"/>
            <a:ext cx="8210550" cy="5338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4152832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>
            <a:extLst>
              <a:ext uri="{FF2B5EF4-FFF2-40B4-BE49-F238E27FC236}">
                <a16:creationId xmlns:a16="http://schemas.microsoft.com/office/drawing/2014/main" id="{EAB1C137-C419-4384-AEB3-029FCFACBA9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76450" y="1095375"/>
            <a:ext cx="8039100" cy="5343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19250904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7866C0E-BC2F-4EA7-B048-4CBD243D92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0080" y="2074363"/>
            <a:ext cx="2752354" cy="2709275"/>
          </a:xfrm>
          <a:prstGeom prst="ellipse">
            <a:avLst/>
          </a:prstGeom>
          <a:solidFill>
            <a:srgbClr val="262626"/>
          </a:solidFill>
          <a:ln w="174625" cmpd="thinThick">
            <a:solidFill>
              <a:srgbClr val="262626"/>
            </a:solidFill>
          </a:ln>
        </p:spPr>
        <p:txBody>
          <a:bodyPr vert="horz" lIns="91440" tIns="45720" rIns="91440" bIns="45720" rtlCol="0" anchor="ctr">
            <a:normAutofit fontScale="90000"/>
          </a:bodyPr>
          <a:lstStyle/>
          <a:p>
            <a:pPr algn="ctr"/>
            <a:r>
              <a:rPr lang="en-US" sz="2600" kern="1200" dirty="0">
                <a:solidFill>
                  <a:srgbClr val="FFFFFF"/>
                </a:solidFill>
                <a:latin typeface="+mj-lt"/>
                <a:ea typeface="+mj-ea"/>
                <a:cs typeface="+mj-cs"/>
              </a:rPr>
              <a:t>Implied Volatility Mesh vs</a:t>
            </a:r>
            <a:br>
              <a:rPr lang="en-US" sz="2600" kern="1200" dirty="0">
                <a:solidFill>
                  <a:srgbClr val="FFFFFF"/>
                </a:solidFill>
                <a:latin typeface="+mj-lt"/>
                <a:ea typeface="+mj-ea"/>
                <a:cs typeface="+mj-cs"/>
              </a:rPr>
            </a:br>
            <a:r>
              <a:rPr lang="en-US" sz="2600" kern="1200" dirty="0">
                <a:solidFill>
                  <a:srgbClr val="FFFFFF"/>
                </a:solidFill>
                <a:latin typeface="+mj-lt"/>
                <a:ea typeface="+mj-ea"/>
                <a:cs typeface="+mj-cs"/>
              </a:rPr>
              <a:t> </a:t>
            </a:r>
            <a:r>
              <a:rPr lang="en-US" sz="2600" dirty="0">
                <a:solidFill>
                  <a:srgbClr val="FFFFFF"/>
                </a:solidFill>
              </a:rPr>
              <a:t>Heston Implied</a:t>
            </a:r>
            <a:r>
              <a:rPr lang="en-US" sz="2600" kern="1200" dirty="0">
                <a:solidFill>
                  <a:srgbClr val="FFFFFF"/>
                </a:solidFill>
                <a:latin typeface="+mj-lt"/>
                <a:ea typeface="+mj-ea"/>
                <a:cs typeface="+mj-cs"/>
              </a:rPr>
              <a:t> Volatility Markers</a:t>
            </a:r>
          </a:p>
        </p:txBody>
      </p:sp>
      <p:pic>
        <p:nvPicPr>
          <p:cNvPr id="6" name="Content Placeholder 6">
            <a:extLst>
              <a:ext uri="{FF2B5EF4-FFF2-40B4-BE49-F238E27FC236}">
                <a16:creationId xmlns:a16="http://schemas.microsoft.com/office/drawing/2014/main" id="{84974FC3-BC68-4166-938D-F340EB13259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95726" y="1000125"/>
            <a:ext cx="7734299" cy="52895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106437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D48F4F00-F36E-4E46-97C9-C9CBE24446DE}"/>
              </a:ext>
            </a:extLst>
          </p:cNvPr>
          <p:cNvSpPr txBox="1"/>
          <p:nvPr/>
        </p:nvSpPr>
        <p:spPr>
          <a:xfrm>
            <a:off x="321137" y="5488663"/>
            <a:ext cx="1277719" cy="1128952"/>
          </a:xfrm>
          <a:prstGeom prst="rect">
            <a:avLst/>
          </a:prstGeom>
          <a:solidFill>
            <a:srgbClr val="000E0E"/>
          </a:solidFill>
        </p:spPr>
        <p:txBody>
          <a:bodyPr wrap="square" lIns="0" tIns="36557" rIns="0" bIns="0" rtlCol="0">
            <a:spAutoFit/>
          </a:bodyPr>
          <a:lstStyle/>
          <a:p>
            <a:pPr>
              <a:lnSpc>
                <a:spcPct val="85000"/>
              </a:lnSpc>
              <a:spcAft>
                <a:spcPts val="600"/>
              </a:spcAft>
              <a:buClr>
                <a:srgbClr val="27ACAA"/>
              </a:buClr>
              <a:buSzPct val="70000"/>
            </a:pPr>
            <a:endParaRPr lang="en-US" sz="1199" dirty="0">
              <a:solidFill>
                <a:prstClr val="white"/>
              </a:solidFill>
              <a:latin typeface="EYInterstate Light"/>
            </a:endParaRPr>
          </a:p>
          <a:p>
            <a:pPr>
              <a:lnSpc>
                <a:spcPct val="85000"/>
              </a:lnSpc>
              <a:spcAft>
                <a:spcPts val="600"/>
              </a:spcAft>
              <a:buClr>
                <a:srgbClr val="27ACAA"/>
              </a:buClr>
              <a:buSzPct val="70000"/>
            </a:pPr>
            <a:endParaRPr lang="en-US" sz="1199" dirty="0">
              <a:solidFill>
                <a:prstClr val="white"/>
              </a:solidFill>
              <a:latin typeface="EYInterstate Light"/>
            </a:endParaRPr>
          </a:p>
          <a:p>
            <a:pPr>
              <a:lnSpc>
                <a:spcPct val="85000"/>
              </a:lnSpc>
              <a:spcAft>
                <a:spcPts val="600"/>
              </a:spcAft>
              <a:buClr>
                <a:srgbClr val="27ACAA"/>
              </a:buClr>
              <a:buSzPct val="70000"/>
            </a:pPr>
            <a:endParaRPr lang="en-US" sz="1199" dirty="0">
              <a:solidFill>
                <a:prstClr val="white"/>
              </a:solidFill>
              <a:latin typeface="EYInterstate Light"/>
            </a:endParaRPr>
          </a:p>
          <a:p>
            <a:pPr>
              <a:lnSpc>
                <a:spcPct val="85000"/>
              </a:lnSpc>
              <a:spcAft>
                <a:spcPts val="600"/>
              </a:spcAft>
              <a:buClr>
                <a:srgbClr val="27ACAA"/>
              </a:buClr>
              <a:buSzPct val="70000"/>
            </a:pPr>
            <a:endParaRPr lang="en-US" sz="1199" dirty="0">
              <a:solidFill>
                <a:prstClr val="white"/>
              </a:solidFill>
              <a:latin typeface="EYInterstate Light"/>
            </a:endParaRPr>
          </a:p>
          <a:p>
            <a:pPr>
              <a:lnSpc>
                <a:spcPct val="85000"/>
              </a:lnSpc>
              <a:spcAft>
                <a:spcPts val="600"/>
              </a:spcAft>
              <a:buClr>
                <a:srgbClr val="27ACAA"/>
              </a:buClr>
              <a:buSzPct val="70000"/>
            </a:pPr>
            <a:endParaRPr lang="en-US" sz="1199" dirty="0">
              <a:solidFill>
                <a:prstClr val="white"/>
              </a:solidFill>
              <a:latin typeface="EYInterstate Light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145CA686-E156-D843-99EB-4C2CD4ABAFE7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/>
          <a:stretch/>
        </p:blipFill>
        <p:spPr>
          <a:xfrm>
            <a:off x="0" y="1780"/>
            <a:ext cx="12188827" cy="6854430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ABF3CE3E-3B80-7D4E-8045-5F50442AF250}"/>
              </a:ext>
            </a:extLst>
          </p:cNvPr>
          <p:cNvSpPr/>
          <p:nvPr/>
        </p:nvSpPr>
        <p:spPr>
          <a:xfrm>
            <a:off x="6486874" y="1780"/>
            <a:ext cx="5680922" cy="6854431"/>
          </a:xfrm>
          <a:prstGeom prst="rect">
            <a:avLst/>
          </a:prstGeom>
          <a:solidFill>
            <a:schemeClr val="bg2">
              <a:lumMod val="85000"/>
              <a:lumOff val="15000"/>
              <a:alpha val="9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>
              <a:defRPr/>
            </a:pPr>
            <a:endParaRPr lang="en-US" sz="1199" dirty="0">
              <a:solidFill>
                <a:srgbClr val="FFFFFF"/>
              </a:solidFill>
              <a:latin typeface="Barlow"/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2898C0DB-E5DA-494E-A120-785B8140DB8A}"/>
              </a:ext>
            </a:extLst>
          </p:cNvPr>
          <p:cNvSpPr txBox="1">
            <a:spLocks/>
          </p:cNvSpPr>
          <p:nvPr/>
        </p:nvSpPr>
        <p:spPr>
          <a:xfrm>
            <a:off x="6948258" y="345178"/>
            <a:ext cx="3996273" cy="859504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3943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2399" b="0" kern="1200">
                <a:solidFill>
                  <a:schemeClr val="bg1"/>
                </a:solidFill>
                <a:latin typeface="EYInterstate Light" panose="02000506000000020004" pitchFamily="2" charset="0"/>
                <a:ea typeface="+mj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IN" sz="1999" b="1" dirty="0">
                <a:solidFill>
                  <a:srgbClr val="FFFFFF"/>
                </a:solidFill>
                <a:latin typeface="Barlow"/>
              </a:rPr>
              <a:t>Table of Contents</a:t>
            </a:r>
          </a:p>
        </p:txBody>
      </p:sp>
      <p:graphicFrame>
        <p:nvGraphicFramePr>
          <p:cNvPr id="10" name="Table 9">
            <a:extLst>
              <a:ext uri="{FF2B5EF4-FFF2-40B4-BE49-F238E27FC236}">
                <a16:creationId xmlns:a16="http://schemas.microsoft.com/office/drawing/2014/main" id="{EC2AF4D8-ACFD-AF45-90E2-B1DFA484F25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24899300"/>
              </p:ext>
            </p:extLst>
          </p:nvPr>
        </p:nvGraphicFramePr>
        <p:xfrm>
          <a:off x="6649934" y="881199"/>
          <a:ext cx="5053617" cy="370264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63741">
                  <a:extLst>
                    <a:ext uri="{9D8B030D-6E8A-4147-A177-3AD203B41FA5}">
                      <a16:colId xmlns:a16="http://schemas.microsoft.com/office/drawing/2014/main" val="2166873101"/>
                    </a:ext>
                  </a:extLst>
                </a:gridCol>
                <a:gridCol w="4689876">
                  <a:extLst>
                    <a:ext uri="{9D8B030D-6E8A-4147-A177-3AD203B41FA5}">
                      <a16:colId xmlns:a16="http://schemas.microsoft.com/office/drawing/2014/main" val="3939943450"/>
                    </a:ext>
                  </a:extLst>
                </a:gridCol>
              </a:tblGrid>
              <a:tr h="220387">
                <a:tc>
                  <a:txBody>
                    <a:bodyPr/>
                    <a:lstStyle/>
                    <a:p>
                      <a:pPr algn="ctr"/>
                      <a:endParaRPr lang="en-US" sz="1200" b="1" dirty="0">
                        <a:solidFill>
                          <a:schemeClr val="bg1"/>
                        </a:solidFill>
                        <a:latin typeface="Barlow"/>
                      </a:endParaRPr>
                    </a:p>
                  </a:txBody>
                  <a:tcPr marL="0" marR="0" marT="45696" marB="45696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2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 b="1" kern="1200" dirty="0">
                        <a:solidFill>
                          <a:schemeClr val="bg1"/>
                        </a:solidFill>
                        <a:latin typeface="Barlow"/>
                        <a:ea typeface="+mn-ea"/>
                        <a:cs typeface="+mn-cs"/>
                      </a:endParaRPr>
                    </a:p>
                  </a:txBody>
                  <a:tcPr marL="91392" marR="91392" marT="45696" marB="45696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2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8963481"/>
                  </a:ext>
                </a:extLst>
              </a:tr>
              <a:tr h="220387"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>
                          <a:solidFill>
                            <a:schemeClr val="bg1"/>
                          </a:solidFill>
                          <a:latin typeface="Barlow"/>
                        </a:rPr>
                        <a:t>01</a:t>
                      </a:r>
                    </a:p>
                  </a:txBody>
                  <a:tcPr marL="0" marR="0" marT="45696" marB="45696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b="1" kern="1200" dirty="0">
                          <a:solidFill>
                            <a:schemeClr val="bg1"/>
                          </a:solidFill>
                          <a:latin typeface="Barlow"/>
                          <a:ea typeface="+mn-ea"/>
                          <a:cs typeface="+mn-cs"/>
                        </a:rPr>
                        <a:t>Market Data</a:t>
                      </a:r>
                    </a:p>
                  </a:txBody>
                  <a:tcPr marL="91392" marR="91392" marT="45696" marB="45696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8220663"/>
                  </a:ext>
                </a:extLst>
              </a:tr>
              <a:tr h="207200"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>
                          <a:solidFill>
                            <a:schemeClr val="bg1"/>
                          </a:solidFill>
                          <a:latin typeface="Barlow"/>
                        </a:rPr>
                        <a:t>02</a:t>
                      </a:r>
                    </a:p>
                  </a:txBody>
                  <a:tcPr marL="0" marR="0" marT="45696" marB="45696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b="1" kern="1200" dirty="0">
                          <a:solidFill>
                            <a:schemeClr val="bg1"/>
                          </a:solidFill>
                          <a:latin typeface="Barlow"/>
                          <a:ea typeface="+mn-ea"/>
                          <a:cs typeface="+mn-cs"/>
                        </a:rPr>
                        <a:t>Dupire Implementation</a:t>
                      </a:r>
                    </a:p>
                  </a:txBody>
                  <a:tcPr marL="91392" marR="91392" marT="45696" marB="45696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81961821"/>
                  </a:ext>
                </a:extLst>
              </a:tr>
              <a:tr h="207200">
                <a:tc>
                  <a:txBody>
                    <a:bodyPr/>
                    <a:lstStyle/>
                    <a:p>
                      <a:pPr algn="ctr"/>
                      <a:endParaRPr lang="en-US" sz="1100" b="0" dirty="0">
                        <a:solidFill>
                          <a:schemeClr val="bg1"/>
                        </a:solidFill>
                        <a:latin typeface="Barlow"/>
                      </a:endParaRPr>
                    </a:p>
                  </a:txBody>
                  <a:tcPr marL="0" marR="0" marT="45696" marB="45696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39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kern="1200" dirty="0">
                          <a:solidFill>
                            <a:schemeClr val="bg1"/>
                          </a:solidFill>
                          <a:latin typeface="Barlow"/>
                          <a:ea typeface="+mn-ea"/>
                          <a:cs typeface="+mn-cs"/>
                        </a:rPr>
                        <a:t>Introduction</a:t>
                      </a:r>
                    </a:p>
                  </a:txBody>
                  <a:tcPr marL="365570" marR="91392" marT="45696" marB="45696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47655526"/>
                  </a:ext>
                </a:extLst>
              </a:tr>
              <a:tr h="207200">
                <a:tc>
                  <a:txBody>
                    <a:bodyPr/>
                    <a:lstStyle/>
                    <a:p>
                      <a:pPr algn="ctr"/>
                      <a:endParaRPr lang="en-US" sz="1100" b="0" dirty="0">
                        <a:solidFill>
                          <a:schemeClr val="bg1"/>
                        </a:solidFill>
                        <a:latin typeface="Barlow"/>
                      </a:endParaRPr>
                    </a:p>
                  </a:txBody>
                  <a:tcPr marL="0" marR="0" marT="45696" marB="45696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39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kern="1200" dirty="0">
                          <a:solidFill>
                            <a:schemeClr val="bg1"/>
                          </a:solidFill>
                          <a:latin typeface="Barlow"/>
                          <a:ea typeface="+mn-ea"/>
                          <a:cs typeface="+mn-cs"/>
                        </a:rPr>
                        <a:t>Steps</a:t>
                      </a:r>
                    </a:p>
                  </a:txBody>
                  <a:tcPr marL="365570" marR="91392" marT="45696" marB="45696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78775947"/>
                  </a:ext>
                </a:extLst>
              </a:tr>
              <a:tr h="207200">
                <a:tc>
                  <a:txBody>
                    <a:bodyPr/>
                    <a:lstStyle/>
                    <a:p>
                      <a:pPr algn="ctr"/>
                      <a:endParaRPr lang="en-US" sz="1100" b="0" dirty="0">
                        <a:solidFill>
                          <a:schemeClr val="bg1"/>
                        </a:solidFill>
                        <a:latin typeface="Barlow"/>
                      </a:endParaRPr>
                    </a:p>
                  </a:txBody>
                  <a:tcPr marL="0" marR="0" marT="45696" marB="45696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b="0" kern="1200" dirty="0">
                          <a:solidFill>
                            <a:schemeClr val="bg1"/>
                          </a:solidFill>
                          <a:latin typeface="Barlow"/>
                          <a:ea typeface="+mn-ea"/>
                          <a:cs typeface="+mn-cs"/>
                        </a:rPr>
                        <a:t>Plots</a:t>
                      </a:r>
                    </a:p>
                  </a:txBody>
                  <a:tcPr marL="365570" marR="91392" marT="45696" marB="45696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70667900"/>
                  </a:ext>
                </a:extLst>
              </a:tr>
              <a:tr h="207200">
                <a:tc>
                  <a:txBody>
                    <a:bodyPr/>
                    <a:lstStyle/>
                    <a:p>
                      <a:pPr algn="ctr"/>
                      <a:endParaRPr lang="en-US" sz="1100" b="0" dirty="0">
                        <a:solidFill>
                          <a:schemeClr val="bg1"/>
                        </a:solidFill>
                        <a:latin typeface="Barlow"/>
                      </a:endParaRPr>
                    </a:p>
                  </a:txBody>
                  <a:tcPr marL="0" marR="0" marT="45696" marB="45696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b="0" kern="1200" dirty="0">
                          <a:solidFill>
                            <a:schemeClr val="bg1"/>
                          </a:solidFill>
                          <a:latin typeface="Barlow"/>
                          <a:ea typeface="+mn-ea"/>
                          <a:cs typeface="+mn-cs"/>
                        </a:rPr>
                        <a:t>Key Learnings</a:t>
                      </a:r>
                    </a:p>
                  </a:txBody>
                  <a:tcPr marL="365570" marR="91392" marT="45696" marB="45696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36499135"/>
                  </a:ext>
                </a:extLst>
              </a:tr>
              <a:tr h="207200"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>
                          <a:solidFill>
                            <a:schemeClr val="bg1"/>
                          </a:solidFill>
                          <a:latin typeface="Barlow"/>
                        </a:rPr>
                        <a:t>03</a:t>
                      </a:r>
                    </a:p>
                  </a:txBody>
                  <a:tcPr marL="0" marR="0" marT="45696" marB="45696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b="1" kern="1200" dirty="0">
                          <a:solidFill>
                            <a:schemeClr val="bg1"/>
                          </a:solidFill>
                          <a:latin typeface="Barlow"/>
                          <a:ea typeface="+mn-ea"/>
                          <a:cs typeface="+mn-cs"/>
                        </a:rPr>
                        <a:t>Heston Implementation</a:t>
                      </a:r>
                    </a:p>
                  </a:txBody>
                  <a:tcPr marL="91392" marR="91392" marT="45696" marB="45696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16391571"/>
                  </a:ext>
                </a:extLst>
              </a:tr>
              <a:tr h="207200">
                <a:tc>
                  <a:txBody>
                    <a:bodyPr/>
                    <a:lstStyle/>
                    <a:p>
                      <a:pPr algn="ctr"/>
                      <a:endParaRPr lang="en-US" sz="1100" b="0" dirty="0">
                        <a:solidFill>
                          <a:schemeClr val="bg1"/>
                        </a:solidFill>
                        <a:latin typeface="Barlow"/>
                      </a:endParaRPr>
                    </a:p>
                  </a:txBody>
                  <a:tcPr marL="0" marR="0" marT="45696" marB="45696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39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kern="1200" dirty="0">
                          <a:solidFill>
                            <a:schemeClr val="bg1"/>
                          </a:solidFill>
                          <a:latin typeface="Barlow"/>
                          <a:ea typeface="+mn-ea"/>
                          <a:cs typeface="+mn-cs"/>
                        </a:rPr>
                        <a:t>Introduction</a:t>
                      </a:r>
                    </a:p>
                  </a:txBody>
                  <a:tcPr marL="365570" marR="91392" marT="45696" marB="45696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20830941"/>
                  </a:ext>
                </a:extLst>
              </a:tr>
              <a:tr h="207200">
                <a:tc>
                  <a:txBody>
                    <a:bodyPr/>
                    <a:lstStyle/>
                    <a:p>
                      <a:pPr algn="ctr"/>
                      <a:endParaRPr lang="en-US" sz="1100" b="0" dirty="0">
                        <a:solidFill>
                          <a:schemeClr val="bg1"/>
                        </a:solidFill>
                        <a:latin typeface="Barlow"/>
                      </a:endParaRPr>
                    </a:p>
                  </a:txBody>
                  <a:tcPr marL="0" marR="0" marT="45696" marB="45696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39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kern="1200" dirty="0">
                          <a:solidFill>
                            <a:schemeClr val="bg1"/>
                          </a:solidFill>
                          <a:latin typeface="Barlow"/>
                          <a:ea typeface="+mn-ea"/>
                          <a:cs typeface="+mn-cs"/>
                        </a:rPr>
                        <a:t>Steps</a:t>
                      </a:r>
                    </a:p>
                  </a:txBody>
                  <a:tcPr marL="365570" marR="91392" marT="45696" marB="45696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14656332"/>
                  </a:ext>
                </a:extLst>
              </a:tr>
              <a:tr h="207200">
                <a:tc>
                  <a:txBody>
                    <a:bodyPr/>
                    <a:lstStyle/>
                    <a:p>
                      <a:pPr algn="ctr"/>
                      <a:endParaRPr lang="en-US" sz="1100" b="0" dirty="0">
                        <a:solidFill>
                          <a:schemeClr val="bg1"/>
                        </a:solidFill>
                        <a:latin typeface="Barlow"/>
                      </a:endParaRPr>
                    </a:p>
                  </a:txBody>
                  <a:tcPr marL="0" marR="0" marT="45696" marB="45696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b="0" kern="1200" dirty="0">
                          <a:solidFill>
                            <a:schemeClr val="bg1"/>
                          </a:solidFill>
                          <a:latin typeface="Barlow"/>
                          <a:ea typeface="+mn-ea"/>
                          <a:cs typeface="+mn-cs"/>
                        </a:rPr>
                        <a:t>Plots</a:t>
                      </a:r>
                    </a:p>
                  </a:txBody>
                  <a:tcPr marL="365570" marR="91392" marT="45696" marB="45696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80185623"/>
                  </a:ext>
                </a:extLst>
              </a:tr>
              <a:tr h="207200">
                <a:tc>
                  <a:txBody>
                    <a:bodyPr/>
                    <a:lstStyle/>
                    <a:p>
                      <a:pPr algn="ctr"/>
                      <a:endParaRPr lang="en-US" sz="1100" b="0" dirty="0">
                        <a:solidFill>
                          <a:schemeClr val="bg1"/>
                        </a:solidFill>
                        <a:latin typeface="Barlow"/>
                      </a:endParaRPr>
                    </a:p>
                  </a:txBody>
                  <a:tcPr marL="0" marR="0" marT="45696" marB="45696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39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kern="1200" dirty="0">
                          <a:solidFill>
                            <a:schemeClr val="bg1"/>
                          </a:solidFill>
                          <a:latin typeface="Barlow"/>
                          <a:ea typeface="+mn-ea"/>
                          <a:cs typeface="+mn-cs"/>
                        </a:rPr>
                        <a:t>Key Learnings</a:t>
                      </a:r>
                    </a:p>
                  </a:txBody>
                  <a:tcPr marL="365570" marR="91392" marT="45696" marB="45696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49218417"/>
                  </a:ext>
                </a:extLst>
              </a:tr>
              <a:tr h="207200"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>
                          <a:solidFill>
                            <a:schemeClr val="bg1"/>
                          </a:solidFill>
                          <a:latin typeface="Barlow"/>
                        </a:rPr>
                        <a:t>04</a:t>
                      </a:r>
                    </a:p>
                  </a:txBody>
                  <a:tcPr marL="0" marR="0" marT="45696" marB="45696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b="1" kern="1200" dirty="0">
                          <a:solidFill>
                            <a:schemeClr val="bg1"/>
                          </a:solidFill>
                          <a:latin typeface="Barlow"/>
                          <a:ea typeface="+mn-ea"/>
                          <a:cs typeface="+mn-cs"/>
                        </a:rPr>
                        <a:t>Pricing</a:t>
                      </a:r>
                    </a:p>
                  </a:txBody>
                  <a:tcPr marL="91392" marR="91392" marT="45696" marB="45696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1677774"/>
                  </a:ext>
                </a:extLst>
              </a:tr>
              <a:tr h="207200">
                <a:tc>
                  <a:txBody>
                    <a:bodyPr/>
                    <a:lstStyle/>
                    <a:p>
                      <a:pPr algn="ctr"/>
                      <a:endParaRPr lang="en-US" sz="1100" b="0" dirty="0">
                        <a:solidFill>
                          <a:schemeClr val="bg1"/>
                        </a:solidFill>
                        <a:latin typeface="Barlow"/>
                      </a:endParaRPr>
                    </a:p>
                  </a:txBody>
                  <a:tcPr marL="0" marR="0" marT="45696" marB="45696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b="0" kern="1200" dirty="0">
                          <a:solidFill>
                            <a:schemeClr val="bg1"/>
                          </a:solidFill>
                          <a:latin typeface="Barlow"/>
                          <a:ea typeface="+mn-ea"/>
                          <a:cs typeface="+mn-cs"/>
                        </a:rPr>
                        <a:t>Plots</a:t>
                      </a:r>
                    </a:p>
                  </a:txBody>
                  <a:tcPr marL="365570" marR="91392" marT="45696" marB="45696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76233364"/>
                  </a:ext>
                </a:extLst>
              </a:tr>
            </a:tbl>
          </a:graphicData>
        </a:graphic>
      </p:graphicFrame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E0EF70BE-8AE9-794F-A014-1E26C9FE6E6C}"/>
              </a:ext>
            </a:extLst>
          </p:cNvPr>
          <p:cNvCxnSpPr>
            <a:cxnSpLocks/>
          </p:cNvCxnSpPr>
          <p:nvPr/>
        </p:nvCxnSpPr>
        <p:spPr>
          <a:xfrm>
            <a:off x="7059873" y="743051"/>
            <a:ext cx="1315649" cy="0"/>
          </a:xfrm>
          <a:prstGeom prst="line">
            <a:avLst/>
          </a:prstGeom>
          <a:ln w="28575">
            <a:solidFill>
              <a:schemeClr val="tx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7" name="Group 4">
            <a:extLst>
              <a:ext uri="{FF2B5EF4-FFF2-40B4-BE49-F238E27FC236}">
                <a16:creationId xmlns:a16="http://schemas.microsoft.com/office/drawing/2014/main" id="{0ED4C472-134B-41FD-AE18-0F33DC640A57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51544" y="5684263"/>
            <a:ext cx="686842" cy="804701"/>
            <a:chOff x="6529" y="3125"/>
            <a:chExt cx="772" cy="904"/>
          </a:xfrm>
        </p:grpSpPr>
        <p:sp>
          <p:nvSpPr>
            <p:cNvPr id="28" name="Freeform 5">
              <a:extLst>
                <a:ext uri="{FF2B5EF4-FFF2-40B4-BE49-F238E27FC236}">
                  <a16:creationId xmlns:a16="http://schemas.microsoft.com/office/drawing/2014/main" id="{9099CA3C-A05E-4FDC-A817-9C65EAFDFFA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rgbClr val="2E2E38"/>
                </a:solidFill>
                <a:latin typeface="EYInterstate Light"/>
              </a:endParaRPr>
            </a:p>
          </p:txBody>
        </p:sp>
        <p:sp>
          <p:nvSpPr>
            <p:cNvPr id="29" name="Freeform 6">
              <a:extLst>
                <a:ext uri="{FF2B5EF4-FFF2-40B4-BE49-F238E27FC236}">
                  <a16:creationId xmlns:a16="http://schemas.microsoft.com/office/drawing/2014/main" id="{675EF0FF-C05F-4861-B059-EF4F7DDE4E5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en-IN" sz="1798" dirty="0">
                <a:solidFill>
                  <a:srgbClr val="2E2E38"/>
                </a:solidFill>
                <a:latin typeface="EYInterstate Ligh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11043711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9" name="Content Placeholder 8">
                <a:extLst>
                  <a:ext uri="{FF2B5EF4-FFF2-40B4-BE49-F238E27FC236}">
                    <a16:creationId xmlns:a16="http://schemas.microsoft.com/office/drawing/2014/main" id="{8332D299-D8F3-675E-6940-12A4EAFE5F73}"/>
                  </a:ext>
                </a:extLst>
              </p:cNvPr>
              <p:cNvSpPr>
                <a:spLocks noGrp="1"/>
              </p:cNvSpPr>
              <p:nvPr>
                <p:ph idx="1"/>
              </p:nvPr>
            </p:nvSpPr>
            <p:spPr>
              <a:xfrm>
                <a:off x="1201031" y="5670301"/>
                <a:ext cx="9789937" cy="947335"/>
              </a:xfrm>
            </p:spPr>
            <p:txBody>
              <a:bodyPr anchor="ctr">
                <a:normAutofit/>
              </a:bodyPr>
              <a:lstStyle/>
              <a:p>
                <a:pPr algn="ctr"/>
                <a14:m>
                  <m:oMath xmlns:m="http://schemas.openxmlformats.org/officeDocument/2006/math">
                    <m:sSub>
                      <m:sSubPr>
                        <m:ctrlPr>
                          <a:rPr lang="el-GR" sz="200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el-GR" sz="200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θ</m:t>
                        </m:r>
                      </m:e>
                      <m:sub>
                        <m:r>
                          <a:rPr lang="en-IN" sz="2000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2</m:t>
                        </m:r>
                      </m:sub>
                    </m:sSub>
                    <m:r>
                      <a:rPr lang="en-IN" sz="2000" b="0" i="1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=</m:t>
                    </m:r>
                    <m:sSub>
                      <m:sSubPr>
                        <m:ctrlPr>
                          <a:rPr lang="el-GR" sz="2000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el-GR" sz="2000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θ</m:t>
                        </m:r>
                      </m:e>
                      <m:sub>
                        <m:r>
                          <a:rPr lang="en-IN" sz="2000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1</m:t>
                        </m:r>
                      </m:sub>
                    </m:sSub>
                    <m:r>
                      <a:rPr lang="en-IN" sz="2000" b="0" i="1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+0.</m:t>
                    </m:r>
                  </m:oMath>
                </a14:m>
                <a:r>
                  <a:rPr lang="en-US" sz="2000" dirty="0">
                    <a:solidFill>
                      <a:schemeClr val="tx1"/>
                    </a:solidFill>
                  </a:rPr>
                  <a:t>1</a:t>
                </a:r>
              </a:p>
            </p:txBody>
          </p:sp>
        </mc:Choice>
        <mc:Fallback xmlns="">
          <p:sp>
            <p:nvSpPr>
              <p:cNvPr id="9" name="Content Placeholder 8">
                <a:extLst>
                  <a:ext uri="{FF2B5EF4-FFF2-40B4-BE49-F238E27FC236}">
                    <a16:creationId xmlns:a16="http://schemas.microsoft.com/office/drawing/2014/main" id="{8332D299-D8F3-675E-6940-12A4EAFE5F73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xfrm>
                <a:off x="1201031" y="5670301"/>
                <a:ext cx="9789937" cy="947335"/>
              </a:xfrm>
              <a:blipFill>
                <a:blip r:embed="rId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IN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3" name="Picture 2" descr="Chart, line chart&#10;&#10;Description automatically generated">
            <a:extLst>
              <a:ext uri="{FF2B5EF4-FFF2-40B4-BE49-F238E27FC236}">
                <a16:creationId xmlns:a16="http://schemas.microsoft.com/office/drawing/2014/main" id="{77888B34-F07C-44EE-B154-299ECE1626A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81273" y="1032343"/>
            <a:ext cx="7029451" cy="47933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3630465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Content Placeholder 4" descr="Chart, line chart&#10;&#10;Description automatically generated">
            <a:extLst>
              <a:ext uri="{FF2B5EF4-FFF2-40B4-BE49-F238E27FC236}">
                <a16:creationId xmlns:a16="http://schemas.microsoft.com/office/drawing/2014/main" id="{1F34E32F-4E6D-434D-BE96-C92B5B53A4E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16373" y="974911"/>
            <a:ext cx="6758607" cy="4755777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9" name="Content Placeholder 8">
                <a:extLst>
                  <a:ext uri="{FF2B5EF4-FFF2-40B4-BE49-F238E27FC236}">
                    <a16:creationId xmlns:a16="http://schemas.microsoft.com/office/drawing/2014/main" id="{8332D299-D8F3-675E-6940-12A4EAFE5F73}"/>
                  </a:ext>
                </a:extLst>
              </p:cNvPr>
              <p:cNvSpPr>
                <a:spLocks noGrp="1"/>
              </p:cNvSpPr>
              <p:nvPr>
                <p:ph idx="1"/>
              </p:nvPr>
            </p:nvSpPr>
            <p:spPr>
              <a:xfrm>
                <a:off x="1200709" y="5651369"/>
                <a:ext cx="9789937" cy="947335"/>
              </a:xfrm>
            </p:spPr>
            <p:txBody>
              <a:bodyPr anchor="ctr">
                <a:normAutofit/>
              </a:bodyPr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l-GR" sz="240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m:rPr>
                              <m:sty m:val="p"/>
                            </m:rPr>
                            <a:rPr lang="el-GR" sz="24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ρ</m:t>
                          </m:r>
                        </m:e>
                        <m:sub>
                          <m:r>
                            <a:rPr lang="en-IN" sz="24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  <m:r>
                        <a:rPr lang="en-IN" sz="24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sSub>
                        <m:sSubPr>
                          <m:ctrlPr>
                            <a:rPr lang="el-GR" sz="24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m:rPr>
                              <m:sty m:val="p"/>
                            </m:rPr>
                            <a:rPr lang="el-GR" sz="24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ρ</m:t>
                          </m:r>
                        </m:e>
                        <m:sub>
                          <m:r>
                            <a:rPr lang="en-IN" sz="24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  <m:r>
                        <a:rPr lang="en-IN" sz="24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+0.3</m:t>
                      </m:r>
                    </m:oMath>
                  </m:oMathPara>
                </a14:m>
                <a:endParaRPr lang="en-IN" sz="2400" b="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pPr algn="ctr"/>
                <a:r>
                  <a:rPr lang="en-US" sz="24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Controls skewness (asymmetry)</a:t>
                </a:r>
              </a:p>
            </p:txBody>
          </p:sp>
        </mc:Choice>
        <mc:Fallback xmlns="">
          <p:sp>
            <p:nvSpPr>
              <p:cNvPr id="9" name="Content Placeholder 8">
                <a:extLst>
                  <a:ext uri="{FF2B5EF4-FFF2-40B4-BE49-F238E27FC236}">
                    <a16:creationId xmlns:a16="http://schemas.microsoft.com/office/drawing/2014/main" id="{8332D299-D8F3-675E-6940-12A4EAFE5F73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xfrm>
                <a:off x="1200709" y="5651369"/>
                <a:ext cx="9789937" cy="947335"/>
              </a:xfrm>
              <a:blipFill>
                <a:blip r:embed="rId3"/>
                <a:stretch>
                  <a:fillRect b="-8387"/>
                </a:stretch>
              </a:blipFill>
            </p:spPr>
            <p:txBody>
              <a:bodyPr/>
              <a:lstStyle/>
              <a:p>
                <a:r>
                  <a:rPr lang="en-IN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4036134258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9" name="Content Placeholder 8">
                <a:extLst>
                  <a:ext uri="{FF2B5EF4-FFF2-40B4-BE49-F238E27FC236}">
                    <a16:creationId xmlns:a16="http://schemas.microsoft.com/office/drawing/2014/main" id="{8332D299-D8F3-675E-6940-12A4EAFE5F73}"/>
                  </a:ext>
                </a:extLst>
              </p:cNvPr>
              <p:cNvSpPr>
                <a:spLocks noGrp="1"/>
              </p:cNvSpPr>
              <p:nvPr>
                <p:ph idx="1"/>
              </p:nvPr>
            </p:nvSpPr>
            <p:spPr>
              <a:xfrm>
                <a:off x="1200709" y="5632319"/>
                <a:ext cx="9789937" cy="947335"/>
              </a:xfrm>
            </p:spPr>
            <p:txBody>
              <a:bodyPr anchor="ctr">
                <a:normAutofit/>
              </a:bodyPr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l-GR" sz="240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m:rPr>
                              <m:sty m:val="p"/>
                            </m:rPr>
                            <a:rPr lang="el-GR" sz="240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κ</m:t>
                          </m:r>
                        </m:e>
                        <m:sub>
                          <m:r>
                            <a:rPr lang="en-IN" sz="24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  <m:r>
                        <a:rPr lang="en-IN" sz="24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sSub>
                        <m:sSubPr>
                          <m:ctrlPr>
                            <a:rPr lang="el-GR" sz="24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m:rPr>
                              <m:sty m:val="p"/>
                            </m:rPr>
                            <a:rPr lang="el-GR" sz="24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κ</m:t>
                          </m:r>
                        </m:e>
                        <m:sub>
                          <m:r>
                            <a:rPr lang="en-IN" sz="24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  <m:r>
                        <a:rPr lang="en-IN" sz="24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+2</m:t>
                      </m:r>
                    </m:oMath>
                  </m:oMathPara>
                </a14:m>
                <a:endParaRPr lang="en-IN" sz="2400" b="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pPr algn="ctr"/>
                <a:r>
                  <a:rPr lang="en-US" sz="24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Controls curvature. Higher </a:t>
                </a:r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el-GR" sz="2400" i="1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κ</m:t>
                    </m:r>
                  </m:oMath>
                </a14:m>
                <a:r>
                  <a:rPr lang="en-US" sz="24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corresponds to flatter vol structure</a:t>
                </a:r>
              </a:p>
            </p:txBody>
          </p:sp>
        </mc:Choice>
        <mc:Fallback xmlns="">
          <p:sp>
            <p:nvSpPr>
              <p:cNvPr id="9" name="Content Placeholder 8">
                <a:extLst>
                  <a:ext uri="{FF2B5EF4-FFF2-40B4-BE49-F238E27FC236}">
                    <a16:creationId xmlns:a16="http://schemas.microsoft.com/office/drawing/2014/main" id="{8332D299-D8F3-675E-6940-12A4EAFE5F73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xfrm>
                <a:off x="1200709" y="5632319"/>
                <a:ext cx="9789937" cy="947335"/>
              </a:xfrm>
              <a:blipFill>
                <a:blip r:embed="rId2"/>
                <a:stretch>
                  <a:fillRect b="-8387"/>
                </a:stretch>
              </a:blipFill>
            </p:spPr>
            <p:txBody>
              <a:bodyPr/>
              <a:lstStyle/>
              <a:p>
                <a:r>
                  <a:rPr lang="en-IN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6" name="Picture 2">
            <a:extLst>
              <a:ext uri="{FF2B5EF4-FFF2-40B4-BE49-F238E27FC236}">
                <a16:creationId xmlns:a16="http://schemas.microsoft.com/office/drawing/2014/main" id="{D4C9B618-69F6-48A4-817C-F664E4B7FA9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03971" y="972859"/>
            <a:ext cx="7183414" cy="47408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04193550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9" name="Content Placeholder 8">
                <a:extLst>
                  <a:ext uri="{FF2B5EF4-FFF2-40B4-BE49-F238E27FC236}">
                    <a16:creationId xmlns:a16="http://schemas.microsoft.com/office/drawing/2014/main" id="{8332D299-D8F3-675E-6940-12A4EAFE5F73}"/>
                  </a:ext>
                </a:extLst>
              </p:cNvPr>
              <p:cNvSpPr>
                <a:spLocks noGrp="1"/>
              </p:cNvSpPr>
              <p:nvPr>
                <p:ph idx="1"/>
              </p:nvPr>
            </p:nvSpPr>
            <p:spPr>
              <a:xfrm>
                <a:off x="1201030" y="5603744"/>
                <a:ext cx="9789937" cy="947335"/>
              </a:xfrm>
            </p:spPr>
            <p:txBody>
              <a:bodyPr anchor="ctr">
                <a:normAutofit/>
              </a:bodyPr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IN" sz="20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sSub>
                            <m:sSubPr>
                              <m:ctrlPr>
                                <a:rPr lang="en-IN" sz="2000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IN" sz="2000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𝑣</m:t>
                              </m:r>
                            </m:e>
                            <m:sub>
                              <m:r>
                                <a:rPr lang="en-IN" sz="2000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0</m:t>
                              </m:r>
                            </m:sub>
                          </m:sSub>
                        </m:e>
                        <m:sub>
                          <m:r>
                            <a:rPr lang="en-IN" sz="20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  <m:r>
                        <a:rPr lang="en-IN" sz="20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sSub>
                        <m:sSubPr>
                          <m:ctrlPr>
                            <a:rPr lang="en-IN" sz="20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sSub>
                            <m:sSubPr>
                              <m:ctrlPr>
                                <a:rPr lang="en-IN" sz="2000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IN" sz="2000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𝑣</m:t>
                              </m:r>
                            </m:e>
                            <m:sub>
                              <m:r>
                                <a:rPr lang="en-IN" sz="2000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0</m:t>
                              </m:r>
                            </m:sub>
                          </m:sSub>
                        </m:e>
                        <m:sub>
                          <m:r>
                            <a:rPr lang="en-IN" sz="20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  <m:r>
                        <a:rPr lang="en-IN" sz="20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+0.05</m:t>
                      </m:r>
                    </m:oMath>
                  </m:oMathPara>
                </a14:m>
                <a:endParaRPr lang="en-US" sz="20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9" name="Content Placeholder 8">
                <a:extLst>
                  <a:ext uri="{FF2B5EF4-FFF2-40B4-BE49-F238E27FC236}">
                    <a16:creationId xmlns:a16="http://schemas.microsoft.com/office/drawing/2014/main" id="{8332D299-D8F3-675E-6940-12A4EAFE5F73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xfrm>
                <a:off x="1201030" y="5603744"/>
                <a:ext cx="9789937" cy="947335"/>
              </a:xfrm>
              <a:blipFill>
                <a:blip r:embed="rId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IN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4" name="Picture 4">
            <a:extLst>
              <a:ext uri="{FF2B5EF4-FFF2-40B4-BE49-F238E27FC236}">
                <a16:creationId xmlns:a16="http://schemas.microsoft.com/office/drawing/2014/main" id="{36BACAD0-D04A-4E81-8080-080AC5EC75D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83653" y="1055753"/>
            <a:ext cx="7024690" cy="47464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95322880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A0E81BF-99F6-49FF-ADA8-B3CC4AD2A8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sz="3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Key Learning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A603084-3F2B-4F2B-83E3-963FC2F1B92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1" y="1137920"/>
            <a:ext cx="10972800" cy="4834800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IN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Heston model does not require stock prices to follow a GBM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IN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Because the market is incomplete, there exist infinitely many risk-neutral measures.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IN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Highly sensitive to changes in the parameter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IN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Tougher to calibrate – Heston model is known for being unstabl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IN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Provides a very close fit to the market prices if calibration is done carefully and correctly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IN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Heston model suffers when it comes to predicting the option prices for short term options as the model fails to capture the high implied volatility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IN" sz="2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21662911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8FBA963-295E-4DE8-AB74-AB24E0C1AC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2627312"/>
            <a:ext cx="10515600" cy="1325563"/>
          </a:xfrm>
        </p:spPr>
        <p:txBody>
          <a:bodyPr/>
          <a:lstStyle/>
          <a:p>
            <a:pPr algn="ctr"/>
            <a:r>
              <a:rPr lang="en-IN" sz="4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Pricing</a:t>
            </a:r>
          </a:p>
        </p:txBody>
      </p:sp>
    </p:spTree>
    <p:extLst>
      <p:ext uri="{BB962C8B-B14F-4D97-AF65-F5344CB8AC3E}">
        <p14:creationId xmlns:p14="http://schemas.microsoft.com/office/powerpoint/2010/main" val="1132268727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2" name="Title 1">
                <a:extLst>
                  <a:ext uri="{FF2B5EF4-FFF2-40B4-BE49-F238E27FC236}">
                    <a16:creationId xmlns:a16="http://schemas.microsoft.com/office/drawing/2014/main" id="{5AAA577D-B9C1-49CD-8C22-4A9732C979D0}"/>
                  </a:ext>
                </a:extLst>
              </p:cNvPr>
              <p:cNvSpPr>
                <a:spLocks noGrp="1"/>
              </p:cNvSpPr>
              <p:nvPr>
                <p:ph type="title"/>
              </p:nvPr>
            </p:nvSpPr>
            <p:spPr/>
            <p:txBody>
              <a:bodyPr>
                <a:noAutofit/>
              </a:bodyPr>
              <a:lstStyle/>
              <a:p>
                <a:pPr algn="ctr"/>
                <a:r>
                  <a:rPr lang="en-IN" sz="32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Bull-Call Spread </a:t>
                </a:r>
                <a14:m>
                  <m:oMath xmlns:m="http://schemas.openxmlformats.org/officeDocument/2006/math">
                    <m:r>
                      <a:rPr lang="en-IN" sz="3200" b="0" i="1" smtClean="0">
                        <a:latin typeface="Cambria Math" panose="02040503050406030204" pitchFamily="18" charset="0"/>
                      </a:rPr>
                      <m:t>→</m:t>
                    </m:r>
                  </m:oMath>
                </a14:m>
                <a:r>
                  <a:rPr lang="en-IN" sz="32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call(low strike) - call(high strike)  </a:t>
                </a:r>
              </a:p>
            </p:txBody>
          </p:sp>
        </mc:Choice>
        <mc:Fallback xmlns="">
          <p:sp>
            <p:nvSpPr>
              <p:cNvPr id="2" name="Title 1">
                <a:extLst>
                  <a:ext uri="{FF2B5EF4-FFF2-40B4-BE49-F238E27FC236}">
                    <a16:creationId xmlns:a16="http://schemas.microsoft.com/office/drawing/2014/main" id="{5AAA577D-B9C1-49CD-8C22-4A9732C979D0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title"/>
              </p:nvPr>
            </p:nvSpPr>
            <p:spPr>
              <a:blipFill>
                <a:blip r:embed="rId2"/>
                <a:stretch>
                  <a:fillRect t="-34021" b="-11340"/>
                </a:stretch>
              </a:blipFill>
            </p:spPr>
            <p:txBody>
              <a:bodyPr/>
              <a:lstStyle/>
              <a:p>
                <a:r>
                  <a:rPr lang="en-IN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6150" name="Picture 6">
            <a:extLst>
              <a:ext uri="{FF2B5EF4-FFF2-40B4-BE49-F238E27FC236}">
                <a16:creationId xmlns:a16="http://schemas.microsoft.com/office/drawing/2014/main" id="{8EF93503-46D1-4D9C-884E-F49DC5298ED4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4216" y="1690688"/>
            <a:ext cx="5801784" cy="43513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52" name="Picture 8">
            <a:extLst>
              <a:ext uri="{FF2B5EF4-FFF2-40B4-BE49-F238E27FC236}">
                <a16:creationId xmlns:a16="http://schemas.microsoft.com/office/drawing/2014/main" id="{D55B319D-1B95-46D7-8251-828DD20F55D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95975" y="1690688"/>
            <a:ext cx="5801784" cy="43513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33206680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2" name="Title 1">
                <a:extLst>
                  <a:ext uri="{FF2B5EF4-FFF2-40B4-BE49-F238E27FC236}">
                    <a16:creationId xmlns:a16="http://schemas.microsoft.com/office/drawing/2014/main" id="{5A5275FD-1029-4F5C-9793-317192967A88}"/>
                  </a:ext>
                </a:extLst>
              </p:cNvPr>
              <p:cNvSpPr>
                <a:spLocks noGrp="1"/>
              </p:cNvSpPr>
              <p:nvPr>
                <p:ph type="title"/>
              </p:nvPr>
            </p:nvSpPr>
            <p:spPr/>
            <p:txBody>
              <a:bodyPr>
                <a:noAutofit/>
              </a:bodyPr>
              <a:lstStyle/>
              <a:p>
                <a:pPr algn="ctr">
                  <a:lnSpc>
                    <a:spcPct val="100000"/>
                  </a:lnSpc>
                  <a:spcBef>
                    <a:spcPts val="1200"/>
                  </a:spcBef>
                </a:pPr>
                <a:r>
                  <a:rPr lang="en-IN" sz="26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Butterfly Spread </a:t>
                </a:r>
                <a14:m>
                  <m:oMath xmlns:m="http://schemas.openxmlformats.org/officeDocument/2006/math">
                    <m:r>
                      <a:rPr lang="en-IN" sz="2600" b="0" i="1" smtClean="0">
                        <a:latin typeface="Cambria Math" panose="02040503050406030204" pitchFamily="18" charset="0"/>
                      </a:rPr>
                      <m:t>→</m:t>
                    </m:r>
                  </m:oMath>
                </a14:m>
                <a:r>
                  <a:rPr lang="en-IN" sz="26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call(low strike) + call(high strike) – 2*call(written strike)</a:t>
                </a:r>
                <a:br>
                  <a:rPr lang="en-IN" sz="26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</a:br>
                <a:endParaRPr lang="en-IN" sz="2600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mc:Choice>
        <mc:Fallback xmlns="">
          <p:sp>
            <p:nvSpPr>
              <p:cNvPr id="2" name="Title 1">
                <a:extLst>
                  <a:ext uri="{FF2B5EF4-FFF2-40B4-BE49-F238E27FC236}">
                    <a16:creationId xmlns:a16="http://schemas.microsoft.com/office/drawing/2014/main" id="{5A5275FD-1029-4F5C-9793-317192967A88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title"/>
              </p:nvPr>
            </p:nvSpPr>
            <p:spPr>
              <a:blipFill>
                <a:blip r:embed="rId2"/>
                <a:stretch>
                  <a:fillRect t="-16495" b="-1031"/>
                </a:stretch>
              </a:blipFill>
            </p:spPr>
            <p:txBody>
              <a:bodyPr/>
              <a:lstStyle/>
              <a:p>
                <a:r>
                  <a:rPr lang="en-IN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7170" name="Picture 2">
            <a:extLst>
              <a:ext uri="{FF2B5EF4-FFF2-40B4-BE49-F238E27FC236}">
                <a16:creationId xmlns:a16="http://schemas.microsoft.com/office/drawing/2014/main" id="{658688B6-CB0A-4B5A-A997-6B0268DAD2CE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4216" y="1690688"/>
            <a:ext cx="5801784" cy="43513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72" name="Picture 4">
            <a:extLst>
              <a:ext uri="{FF2B5EF4-FFF2-40B4-BE49-F238E27FC236}">
                <a16:creationId xmlns:a16="http://schemas.microsoft.com/office/drawing/2014/main" id="{74CE8666-B731-494B-B351-CB072FA65B7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96001" y="1690688"/>
            <a:ext cx="5801784" cy="43513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FA0F7255-5F31-4456-877E-DE3F89C95D29}"/>
              </a:ext>
            </a:extLst>
          </p:cNvPr>
          <p:cNvSpPr txBox="1"/>
          <p:nvPr/>
        </p:nvSpPr>
        <p:spPr>
          <a:xfrm>
            <a:off x="3852862" y="5978009"/>
            <a:ext cx="448627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2400" dirty="0"/>
              <a:t>Best for longer maturities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CA999B5B-9E70-4825-804F-2375ECD0FA01}"/>
                  </a:ext>
                </a:extLst>
              </p:cNvPr>
              <p:cNvSpPr txBox="1"/>
              <p:nvPr/>
            </p:nvSpPr>
            <p:spPr>
              <a:xfrm>
                <a:off x="3190875" y="1152525"/>
                <a:ext cx="6438900" cy="298543"/>
              </a:xfrm>
              <a:prstGeom prst="rect">
                <a:avLst/>
              </a:prstGeom>
              <a:noFill/>
            </p:spPr>
            <p:txBody>
              <a:bodyPr wrap="square" lIns="0" tIns="36576" rIns="0" bIns="0" rtlCol="0">
                <a:spAutoFit/>
              </a:bodyPr>
              <a:lstStyle/>
              <a:p>
                <a:pPr marL="356616" indent="-356616">
                  <a:lnSpc>
                    <a:spcPct val="85000"/>
                  </a:lnSpc>
                  <a:spcAft>
                    <a:spcPts val="600"/>
                  </a:spcAft>
                  <a:buClr>
                    <a:schemeClr val="accent2"/>
                  </a:buClr>
                  <a:buSzPct val="70000"/>
                  <a:buFont typeface="Arial" pitchFamily="34" charset="0"/>
                  <a:buChar char="►"/>
                </a:pPr>
                <a14:m>
                  <m:oMath xmlns:m="http://schemas.openxmlformats.org/officeDocument/2006/math">
                    <m:r>
                      <a:rPr kumimoji="0" lang="en-IN" sz="2000" b="0" i="1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2E2E38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+mj-ea"/>
                      </a:rPr>
                      <m:t>𝑙𝑜𝑤</m:t>
                    </m:r>
                    <m:r>
                      <a:rPr kumimoji="0" lang="en-IN" sz="2000" b="0" i="1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2E2E38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+mj-ea"/>
                      </a:rPr>
                      <m:t> </m:t>
                    </m:r>
                    <m:r>
                      <a:rPr kumimoji="0" lang="en-IN" sz="2000" b="0" i="1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2E2E38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+mj-ea"/>
                      </a:rPr>
                      <m:t>𝑠𝑡𝑟𝑖𝑘𝑒</m:t>
                    </m:r>
                    <m:r>
                      <a:rPr kumimoji="0" lang="en-IN" sz="2000" b="0" i="1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2E2E38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+mj-ea"/>
                      </a:rPr>
                      <m:t> &lt; </m:t>
                    </m:r>
                    <m:r>
                      <a:rPr kumimoji="0" lang="en-IN" sz="2000" b="0" i="1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2E2E38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+mj-ea"/>
                      </a:rPr>
                      <m:t>𝑤𝑟𝑖𝑡𝑡𝑒𝑛</m:t>
                    </m:r>
                    <m:r>
                      <a:rPr kumimoji="0" lang="en-IN" sz="2000" b="0" i="1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2E2E38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+mj-ea"/>
                      </a:rPr>
                      <m:t> </m:t>
                    </m:r>
                    <m:r>
                      <a:rPr kumimoji="0" lang="en-IN" sz="2000" b="0" i="1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2E2E38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+mj-ea"/>
                      </a:rPr>
                      <m:t>𝑠𝑡𝑟𝑖𝑘𝑒</m:t>
                    </m:r>
                    <m:r>
                      <a:rPr kumimoji="0" lang="en-IN" sz="2000" b="0" i="1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2E2E38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+mj-ea"/>
                      </a:rPr>
                      <m:t> &lt; </m:t>
                    </m:r>
                    <m:r>
                      <a:rPr kumimoji="0" lang="en-IN" sz="2000" b="0" i="1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2E2E38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+mj-ea"/>
                      </a:rPr>
                      <m:t>h𝑖𝑔h</m:t>
                    </m:r>
                    <m:r>
                      <a:rPr kumimoji="0" lang="en-IN" sz="2000" b="0" i="1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2E2E38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+mj-ea"/>
                      </a:rPr>
                      <m:t> </m:t>
                    </m:r>
                    <m:r>
                      <a:rPr kumimoji="0" lang="en-IN" sz="2000" b="0" i="1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2E2E38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+mj-ea"/>
                      </a:rPr>
                      <m:t>𝑠𝑡𝑟𝑖𝑘𝑒</m:t>
                    </m:r>
                  </m:oMath>
                </a14:m>
                <a:endParaRPr lang="en-IN" sz="1200" dirty="0" err="1">
                  <a:solidFill>
                    <a:schemeClr val="bg1"/>
                  </a:solidFill>
                </a:endParaRPr>
              </a:p>
            </p:txBody>
          </p:sp>
        </mc:Choice>
        <mc:Fallback xmlns="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CA999B5B-9E70-4825-804F-2375ECD0FA0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190875" y="1152525"/>
                <a:ext cx="6438900" cy="298543"/>
              </a:xfrm>
              <a:prstGeom prst="rect">
                <a:avLst/>
              </a:prstGeom>
              <a:blipFill>
                <a:blip r:embed="rId5"/>
                <a:stretch>
                  <a:fillRect l="-1514" t="-2041" b="-36735"/>
                </a:stretch>
              </a:blipFill>
            </p:spPr>
            <p:txBody>
              <a:bodyPr/>
              <a:lstStyle/>
              <a:p>
                <a:r>
                  <a:rPr lang="en-IN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582404549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 descr="Chart, line chart&#10;&#10;Description automatically generated">
            <a:extLst>
              <a:ext uri="{FF2B5EF4-FFF2-40B4-BE49-F238E27FC236}">
                <a16:creationId xmlns:a16="http://schemas.microsoft.com/office/drawing/2014/main" id="{A8B45B1A-8181-4A36-AE7F-BFA0E97CDDF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192001" y="1656762"/>
            <a:ext cx="5390400" cy="4042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6" name="Picture 4" descr="Chart, line chart&#10;&#10;Description automatically generated">
            <a:extLst>
              <a:ext uri="{FF2B5EF4-FFF2-40B4-BE49-F238E27FC236}">
                <a16:creationId xmlns:a16="http://schemas.microsoft.com/office/drawing/2014/main" id="{88B1943E-657F-4EA5-AC08-9F669CA385B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10380" y="1656762"/>
            <a:ext cx="5390400" cy="4042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44DB28D2-1143-4EB8-9E75-DA36E61B77EF}"/>
              </a:ext>
            </a:extLst>
          </p:cNvPr>
          <p:cNvSpPr txBox="1"/>
          <p:nvPr/>
        </p:nvSpPr>
        <p:spPr>
          <a:xfrm>
            <a:off x="7244155" y="1433195"/>
            <a:ext cx="5390400" cy="640800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pPr marL="356438" indent="-356438" defTabSz="913943">
              <a:spcBef>
                <a:spcPct val="20000"/>
              </a:spcBef>
              <a:buClr>
                <a:schemeClr val="tx2"/>
              </a:buClr>
              <a:buSzPct val="110000"/>
            </a:pPr>
            <a:r>
              <a:rPr lang="en-GB" b="1" kern="1200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Worth only for shorter maturities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" name="Title 1">
                <a:extLst>
                  <a:ext uri="{FF2B5EF4-FFF2-40B4-BE49-F238E27FC236}">
                    <a16:creationId xmlns:a16="http://schemas.microsoft.com/office/drawing/2014/main" id="{99987661-5195-48EE-88A6-541F50B77D78}"/>
                  </a:ext>
                </a:extLst>
              </p:cNvPr>
              <p:cNvSpPr>
                <a:spLocks noGrp="1"/>
              </p:cNvSpPr>
              <p:nvPr>
                <p:ph type="title"/>
              </p:nvPr>
            </p:nvSpPr>
            <p:spPr>
              <a:xfrm>
                <a:off x="609601" y="473357"/>
                <a:ext cx="10972800" cy="590880"/>
              </a:xfrm>
            </p:spPr>
            <p:txBody>
              <a:bodyPr vert="horz" lIns="0" tIns="0" rIns="0" bIns="0" rtlCol="0" anchor="t" anchorCtr="0">
                <a:normAutofit/>
              </a:bodyPr>
              <a:lstStyle/>
              <a:p>
                <a:pPr algn="ctr"/>
                <a:r>
                  <a:rPr lang="en-US" b="0" kern="12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Long Straddle </a:t>
                </a:r>
                <a14:m>
                  <m:oMath xmlns:m="http://schemas.openxmlformats.org/officeDocument/2006/math">
                    <m:r>
                      <a:rPr lang="en-US" b="0" i="1" kern="1200">
                        <a:latin typeface="Cambria Math" panose="02040503050406030204" pitchFamily="18" charset="0"/>
                      </a:rPr>
                      <m:t>→</m:t>
                    </m:r>
                  </m:oMath>
                </a14:m>
                <a:r>
                  <a:rPr lang="en-US" b="0" kern="12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Call(Strike) + Put(Strike)</a:t>
                </a:r>
              </a:p>
            </p:txBody>
          </p:sp>
        </mc:Choice>
        <mc:Fallback xmlns="">
          <p:sp>
            <p:nvSpPr>
              <p:cNvPr id="2" name="Title 1">
                <a:extLst>
                  <a:ext uri="{FF2B5EF4-FFF2-40B4-BE49-F238E27FC236}">
                    <a16:creationId xmlns:a16="http://schemas.microsoft.com/office/drawing/2014/main" id="{99987661-5195-48EE-88A6-541F50B77D78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title"/>
              </p:nvPr>
            </p:nvSpPr>
            <p:spPr>
              <a:xfrm>
                <a:off x="609601" y="473357"/>
                <a:ext cx="10972800" cy="590880"/>
              </a:xfrm>
              <a:blipFill>
                <a:blip r:embed="rId4"/>
                <a:stretch>
                  <a:fillRect t="-25773"/>
                </a:stretch>
              </a:blipFill>
            </p:spPr>
            <p:txBody>
              <a:bodyPr/>
              <a:lstStyle/>
              <a:p>
                <a:r>
                  <a:rPr lang="en-IN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708901464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3">
            <a:extLst>
              <a:ext uri="{FF2B5EF4-FFF2-40B4-BE49-F238E27FC236}">
                <a16:creationId xmlns:a16="http://schemas.microsoft.com/office/drawing/2014/main" id="{9E8B1236-ECD8-7049-8952-F2ADFDDE3AD2}"/>
              </a:ext>
            </a:extLst>
          </p:cNvPr>
          <p:cNvSpPr/>
          <p:nvPr/>
        </p:nvSpPr>
        <p:spPr>
          <a:xfrm>
            <a:off x="625096" y="1043347"/>
            <a:ext cx="4567241" cy="3624640"/>
          </a:xfrm>
          <a:custGeom>
            <a:avLst/>
            <a:gdLst>
              <a:gd name="connsiteX0" fmla="*/ 19456 w 4572000"/>
              <a:gd name="connsiteY0" fmla="*/ 797668 h 3628417"/>
              <a:gd name="connsiteX1" fmla="*/ 4572000 w 4572000"/>
              <a:gd name="connsiteY1" fmla="*/ 0 h 3628417"/>
              <a:gd name="connsiteX2" fmla="*/ 4572000 w 4572000"/>
              <a:gd name="connsiteY2" fmla="*/ 3628417 h 3628417"/>
              <a:gd name="connsiteX3" fmla="*/ 0 w 4572000"/>
              <a:gd name="connsiteY3" fmla="*/ 3628417 h 3628417"/>
              <a:gd name="connsiteX4" fmla="*/ 19456 w 4572000"/>
              <a:gd name="connsiteY4" fmla="*/ 797668 h 36284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572000" h="3628417">
                <a:moveTo>
                  <a:pt x="19456" y="797668"/>
                </a:moveTo>
                <a:lnTo>
                  <a:pt x="4572000" y="0"/>
                </a:lnTo>
                <a:lnTo>
                  <a:pt x="4572000" y="3628417"/>
                </a:lnTo>
                <a:lnTo>
                  <a:pt x="0" y="3628417"/>
                </a:lnTo>
                <a:lnTo>
                  <a:pt x="19456" y="797668"/>
                </a:lnTo>
                <a:close/>
              </a:path>
            </a:pathLst>
          </a:custGeom>
          <a:solidFill>
            <a:schemeClr val="bg2">
              <a:alpha val="56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0" marR="0" lvl="0" indent="0" algn="ctr" defTabSz="9134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98" b="0" i="0" u="none" strike="noStrike" kern="1200" cap="none" spc="0" normalizeH="0" baseline="0" noProof="0" dirty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Barlow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17318" y="2529469"/>
            <a:ext cx="4281757" cy="2138518"/>
          </a:xfrm>
        </p:spPr>
        <p:txBody>
          <a:bodyPr>
            <a:noAutofit/>
          </a:bodyPr>
          <a:lstStyle/>
          <a:p>
            <a:pPr>
              <a:lnSpc>
                <a:spcPct val="100000"/>
              </a:lnSpc>
            </a:pPr>
            <a:r>
              <a:rPr lang="en-US" sz="3198" b="1" spc="-150" dirty="0">
                <a:solidFill>
                  <a:schemeClr val="tx2"/>
                </a:solidFill>
                <a:latin typeface="Barlow"/>
              </a:rPr>
              <a:t>Q &amp; A</a:t>
            </a:r>
            <a:endParaRPr lang="en-IN" sz="1499" dirty="0">
              <a:latin typeface="Barlow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412307926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3574681-85B1-4B5B-BB34-1BD3ADCA32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419513"/>
            <a:ext cx="10515600" cy="715556"/>
          </a:xfrm>
        </p:spPr>
        <p:txBody>
          <a:bodyPr>
            <a:normAutofit/>
          </a:bodyPr>
          <a:lstStyle/>
          <a:p>
            <a:pPr algn="ctr"/>
            <a:r>
              <a:rPr lang="en-IN" sz="3200" dirty="0">
                <a:solidFill>
                  <a:schemeClr val="bg1"/>
                </a:solidFill>
              </a:rPr>
              <a:t>Market Data</a:t>
            </a: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B6AA15B1-7CB8-C65E-300F-6EA27C2751D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8750" y="1597390"/>
            <a:ext cx="9334500" cy="715557"/>
          </a:xfrm>
        </p:spPr>
        <p:txBody>
          <a:bodyPr>
            <a:normAutofit/>
          </a:bodyPr>
          <a:lstStyle/>
          <a:p>
            <a:pPr algn="ctr"/>
            <a:r>
              <a:rPr lang="en-US" sz="1800" dirty="0"/>
              <a:t>Underlying Asset – S&amp;P 500, </a:t>
            </a:r>
            <a:r>
              <a:rPr lang="en-IN" sz="1800" b="0" i="0" u="none" strike="noStrike" dirty="0">
                <a:solidFill>
                  <a:srgbClr val="000000"/>
                </a:solidFill>
                <a:effectLst/>
              </a:rPr>
              <a:t>Trade date : Fri, 31 Dec 2021</a:t>
            </a:r>
            <a:r>
              <a:rPr lang="en-IN" sz="1800" dirty="0"/>
              <a:t>, </a:t>
            </a:r>
            <a:r>
              <a:rPr lang="en-IN" sz="1800" b="0" i="0" u="none" strike="noStrike" dirty="0">
                <a:solidFill>
                  <a:srgbClr val="000000"/>
                </a:solidFill>
                <a:effectLst/>
              </a:rPr>
              <a:t>Spot:4766.18</a:t>
            </a:r>
            <a:r>
              <a:rPr lang="en-IN" sz="1800" dirty="0"/>
              <a:t>, </a:t>
            </a:r>
            <a:r>
              <a:rPr lang="en-IN" sz="1800" b="0" i="0" u="none" strike="noStrike" dirty="0">
                <a:solidFill>
                  <a:srgbClr val="000000"/>
                </a:solidFill>
                <a:effectLst/>
              </a:rPr>
              <a:t>Currency : USD</a:t>
            </a:r>
            <a:r>
              <a:rPr lang="en-IN" sz="1800" dirty="0"/>
              <a:t>, </a:t>
            </a:r>
            <a:r>
              <a:rPr lang="en-IN" sz="1800" b="0" i="0" u="none" strike="noStrike" dirty="0">
                <a:solidFill>
                  <a:srgbClr val="000000"/>
                </a:solidFill>
                <a:effectLst/>
              </a:rPr>
              <a:t>Exchange : CBOE</a:t>
            </a:r>
            <a:r>
              <a:rPr lang="en-IN" sz="1800" dirty="0"/>
              <a:t> </a:t>
            </a:r>
            <a:endParaRPr lang="en-US" sz="1800" dirty="0"/>
          </a:p>
          <a:p>
            <a:pPr algn="ctr"/>
            <a:endParaRPr lang="en-US" sz="500" dirty="0"/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6FD94CE2-C77D-43C4-BDD8-9056776034A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8200" y="2522034"/>
            <a:ext cx="10515600" cy="2830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893131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91C2C6D-8234-4530-A390-42F33A1E1B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189287"/>
            <a:ext cx="10515600" cy="1325563"/>
          </a:xfrm>
        </p:spPr>
        <p:txBody>
          <a:bodyPr/>
          <a:lstStyle/>
          <a:p>
            <a:pPr algn="ctr"/>
            <a:r>
              <a:rPr lang="en-IN" sz="4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Dupire Implementation</a:t>
            </a:r>
          </a:p>
        </p:txBody>
      </p:sp>
    </p:spTree>
    <p:extLst>
      <p:ext uri="{BB962C8B-B14F-4D97-AF65-F5344CB8AC3E}">
        <p14:creationId xmlns:p14="http://schemas.microsoft.com/office/powerpoint/2010/main" val="231186222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33BDA76-746E-4465-A2DA-8161112F15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Introduction to Local Volatility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>
                <a:extLst>
                  <a:ext uri="{FF2B5EF4-FFF2-40B4-BE49-F238E27FC236}">
                    <a16:creationId xmlns:a16="http://schemas.microsoft.com/office/drawing/2014/main" id="{EE80BF10-B6F6-4584-B658-7154D7A20382}"/>
                  </a:ext>
                </a:extLst>
              </p:cNvPr>
              <p:cNvSpPr>
                <a:spLocks noGrp="1"/>
              </p:cNvSpPr>
              <p:nvPr>
                <p:ph idx="1"/>
              </p:nvPr>
            </p:nvSpPr>
            <p:spPr>
              <a:xfrm>
                <a:off x="342900" y="1866900"/>
                <a:ext cx="11160123" cy="3057525"/>
              </a:xfrm>
            </p:spPr>
            <p:txBody>
              <a:bodyPr>
                <a:normAutofit/>
              </a:bodyPr>
              <a:lstStyle/>
              <a:p>
                <a:pPr marL="342900" indent="-342900">
                  <a:buFont typeface="Arial" panose="020B0604020202020204" pitchFamily="34" charset="0"/>
                  <a:buChar char="•"/>
                </a:pPr>
                <a:r>
                  <a:rPr lang="en-IN" sz="28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The drawback of the Black Scholes model is that, it assumes volatility is constant and doesn’t have a skew.</a:t>
                </a:r>
              </a:p>
              <a:p>
                <a:pPr marL="342900" indent="-342900">
                  <a:buFont typeface="Arial" panose="020B0604020202020204" pitchFamily="34" charset="0"/>
                  <a:buChar char="•"/>
                </a:pPr>
                <a:r>
                  <a:rPr lang="en-IN" sz="28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Local Volatility model proposed to replace the constant volatility </a:t>
                </a:r>
                <a:r>
                  <a:rPr lang="en-IN" sz="2800" i="1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σ </a:t>
                </a:r>
                <a:r>
                  <a:rPr lang="en-IN" sz="28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with that which is a deterministic function of </a:t>
                </a:r>
                <a:r>
                  <a:rPr lang="en-IN" sz="2800" i="1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S</a:t>
                </a:r>
                <a:r>
                  <a:rPr lang="en-IN" sz="2800" i="1" baseline="-250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t</a:t>
                </a:r>
                <a:r>
                  <a:rPr lang="en-IN" sz="2800" i="1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</a:t>
                </a:r>
                <a:r>
                  <a:rPr lang="en-IN" sz="28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and </a:t>
                </a:r>
                <a:r>
                  <a:rPr lang="en-IN" sz="2800" i="1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t</a:t>
                </a:r>
                <a:r>
                  <a:rPr lang="en-IN" sz="28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.</a:t>
                </a:r>
              </a:p>
              <a:p>
                <a:pPr marL="342900" indent="-342900">
                  <a:buFont typeface="Arial" panose="020B0604020202020204" pitchFamily="34" charset="0"/>
                  <a:buChar char="•"/>
                </a:pPr>
                <a:r>
                  <a:rPr lang="en-IN" sz="28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The equation of geometric Brownian motion becomes: </a:t>
                </a:r>
              </a:p>
              <a:p>
                <a:pPr marL="342900" indent="-342900">
                  <a:buFont typeface="Arial" panose="020B0604020202020204" pitchFamily="34" charset="0"/>
                  <a:buChar char="•"/>
                </a:pPr>
                <a:endParaRPr lang="en-IN" sz="2800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IN" sz="2800" i="1" dirty="0" smtClean="0">
                          <a:latin typeface="Cambria Math" panose="02040503050406030204" pitchFamily="18" charset="0"/>
                        </a:rPr>
                        <m:t>𝑑</m:t>
                      </m:r>
                      <m:sSub>
                        <m:sSubPr>
                          <m:ctrlPr>
                            <a:rPr lang="en-IN" sz="2800" i="1" dirty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IN" sz="2800" i="1" dirty="0">
                              <a:latin typeface="Cambria Math" panose="02040503050406030204" pitchFamily="18" charset="0"/>
                            </a:rPr>
                            <m:t>𝑆</m:t>
                          </m:r>
                        </m:e>
                        <m:sub>
                          <m:r>
                            <a:rPr lang="en-IN" sz="2800" i="1" dirty="0">
                              <a:latin typeface="Cambria Math" panose="02040503050406030204" pitchFamily="18" charset="0"/>
                            </a:rPr>
                            <m:t>𝑡</m:t>
                          </m:r>
                        </m:sub>
                      </m:sSub>
                      <m:r>
                        <a:rPr lang="en-IN" sz="2800" i="1" dirty="0">
                          <a:latin typeface="Cambria Math" panose="02040503050406030204" pitchFamily="18" charset="0"/>
                        </a:rPr>
                        <m:t>= µ</m:t>
                      </m:r>
                      <m:sSub>
                        <m:sSubPr>
                          <m:ctrlPr>
                            <a:rPr lang="en-IN" sz="2800" i="1" dirty="0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IN" sz="2800" b="0" i="1" dirty="0" smtClean="0">
                              <a:latin typeface="Cambria Math" panose="02040503050406030204" pitchFamily="18" charset="0"/>
                            </a:rPr>
                            <m:t>𝑆</m:t>
                          </m:r>
                        </m:e>
                        <m:sub>
                          <m:r>
                            <a:rPr lang="en-IN" sz="2800" b="0" i="1" dirty="0" smtClean="0">
                              <a:latin typeface="Cambria Math" panose="02040503050406030204" pitchFamily="18" charset="0"/>
                            </a:rPr>
                            <m:t>𝑡</m:t>
                          </m:r>
                        </m:sub>
                      </m:sSub>
                      <m:r>
                        <a:rPr lang="en-IN" sz="2800" i="1" baseline="-25000" dirty="0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n-IN" sz="2800" i="1" dirty="0">
                          <a:latin typeface="Cambria Math" panose="02040503050406030204" pitchFamily="18" charset="0"/>
                        </a:rPr>
                        <m:t>+ </m:t>
                      </m:r>
                      <m:r>
                        <a:rPr lang="en-IN" sz="2800" i="1" dirty="0">
                          <a:latin typeface="Cambria Math" panose="02040503050406030204" pitchFamily="18" charset="0"/>
                        </a:rPr>
                        <m:t>𝜎</m:t>
                      </m:r>
                      <m:d>
                        <m:dPr>
                          <m:ctrlPr>
                            <a:rPr lang="en-IN" sz="2800" i="1" dirty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en-IN" sz="2800" i="1" dirty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IN" sz="2800" i="1" dirty="0">
                                  <a:latin typeface="Cambria Math" panose="02040503050406030204" pitchFamily="18" charset="0"/>
                                </a:rPr>
                                <m:t>𝑆</m:t>
                              </m:r>
                            </m:e>
                            <m:sub>
                              <m:r>
                                <a:rPr lang="en-IN" sz="2800" i="1" dirty="0">
                                  <a:latin typeface="Cambria Math" panose="02040503050406030204" pitchFamily="18" charset="0"/>
                                </a:rPr>
                                <m:t>𝑡</m:t>
                              </m:r>
                            </m:sub>
                          </m:sSub>
                          <m:r>
                            <a:rPr lang="en-IN" sz="2800" i="1" dirty="0">
                              <a:latin typeface="Cambria Math" panose="02040503050406030204" pitchFamily="18" charset="0"/>
                            </a:rPr>
                            <m:t>, </m:t>
                          </m:r>
                          <m:r>
                            <a:rPr lang="en-IN" sz="2800" i="1" dirty="0">
                              <a:latin typeface="Cambria Math" panose="02040503050406030204" pitchFamily="18" charset="0"/>
                            </a:rPr>
                            <m:t>𝑡</m:t>
                          </m:r>
                        </m:e>
                      </m:d>
                      <m:sSub>
                        <m:sSubPr>
                          <m:ctrlPr>
                            <a:rPr lang="en-IN" sz="2800" i="1" dirty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IN" sz="2800" i="1" dirty="0">
                              <a:latin typeface="Cambria Math" panose="02040503050406030204" pitchFamily="18" charset="0"/>
                            </a:rPr>
                            <m:t>𝑆</m:t>
                          </m:r>
                        </m:e>
                        <m:sub>
                          <m:r>
                            <a:rPr lang="en-IN" sz="2800" i="1" dirty="0">
                              <a:latin typeface="Cambria Math" panose="02040503050406030204" pitchFamily="18" charset="0"/>
                            </a:rPr>
                            <m:t>𝑡</m:t>
                          </m:r>
                        </m:sub>
                      </m:sSub>
                      <m:sSub>
                        <m:sSubPr>
                          <m:ctrlPr>
                            <a:rPr lang="en-IN" sz="2800" i="1" dirty="0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IN" sz="2800" b="0" i="1" dirty="0" smtClean="0">
                              <a:latin typeface="Cambria Math" panose="02040503050406030204" pitchFamily="18" charset="0"/>
                            </a:rPr>
                            <m:t>𝑑𝑊</m:t>
                          </m:r>
                        </m:e>
                        <m:sub>
                          <m:r>
                            <a:rPr lang="en-IN" sz="2800" b="0" i="1" dirty="0" smtClean="0">
                              <a:latin typeface="Cambria Math" panose="02040503050406030204" pitchFamily="18" charset="0"/>
                            </a:rPr>
                            <m:t>𝑡</m:t>
                          </m:r>
                        </m:sub>
                      </m:sSub>
                    </m:oMath>
                  </m:oMathPara>
                </a14:m>
                <a:endParaRPr lang="en-IN" sz="2800" i="1" baseline="-25000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pPr marL="342900" indent="-342900">
                  <a:buFont typeface="Arial" panose="020B0604020202020204" pitchFamily="34" charset="0"/>
                  <a:buChar char="•"/>
                </a:pPr>
                <a:endParaRPr lang="en-IN" sz="2800" baseline="-25000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endParaRPr lang="en-IN" sz="2800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pPr marL="342900" indent="-342900">
                  <a:buFont typeface="Arial" panose="020B0604020202020204" pitchFamily="34" charset="0"/>
                  <a:buChar char="•"/>
                </a:pPr>
                <a:endParaRPr lang="en-IN" sz="2800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pPr marL="342900" indent="-342900">
                  <a:buFont typeface="Arial" panose="020B0604020202020204" pitchFamily="34" charset="0"/>
                  <a:buChar char="•"/>
                </a:pPr>
                <a:endParaRPr lang="en-IN" sz="2800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mc:Choice>
        <mc:Fallback xmlns="">
          <p:sp>
            <p:nvSpPr>
              <p:cNvPr id="3" name="Content Placeholder 2">
                <a:extLst>
                  <a:ext uri="{FF2B5EF4-FFF2-40B4-BE49-F238E27FC236}">
                    <a16:creationId xmlns:a16="http://schemas.microsoft.com/office/drawing/2014/main" id="{EE80BF10-B6F6-4584-B658-7154D7A20382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xfrm>
                <a:off x="342900" y="1866900"/>
                <a:ext cx="11160123" cy="3057525"/>
              </a:xfrm>
              <a:blipFill>
                <a:blip r:embed="rId2"/>
                <a:stretch>
                  <a:fillRect l="-1966" t="-3984"/>
                </a:stretch>
              </a:blipFill>
            </p:spPr>
            <p:txBody>
              <a:bodyPr/>
              <a:lstStyle/>
              <a:p>
                <a:r>
                  <a:rPr lang="en-IN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5C85A17-24BD-49D0-93BD-2293CA5EC2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B9238A-3BFD-4DD1-A919-67BF821F9BEB}" type="slidenum">
              <a:rPr lang="en-IN" sz="1000" smtClean="0"/>
              <a:t>6</a:t>
            </a:fld>
            <a:endParaRPr lang="en-IN" sz="1000"/>
          </a:p>
        </p:txBody>
      </p:sp>
    </p:spTree>
    <p:extLst>
      <p:ext uri="{BB962C8B-B14F-4D97-AF65-F5344CB8AC3E}">
        <p14:creationId xmlns:p14="http://schemas.microsoft.com/office/powerpoint/2010/main" val="85270634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65FC8CA-9BB1-49F0-B794-08B95E197D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sz="3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Local Volatility 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46F8C0C-F19E-4329-A6A3-922E55774A2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4311" y="1428749"/>
            <a:ext cx="10018713" cy="3124201"/>
          </a:xfrm>
        </p:spPr>
        <p:txBody>
          <a:bodyPr/>
          <a:lstStyle/>
          <a:p>
            <a:r>
              <a:rPr lang="en-IN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The formula for local volatility from implied volatility is derived from GBM, Ito’s lemma and Dupire’s equation.</a:t>
            </a:r>
          </a:p>
          <a:p>
            <a:endParaRPr lang="en-IN" sz="28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BB00A22-9699-4E08-BBEB-4055F9C3DF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B9238A-3BFD-4DD1-A919-67BF821F9BEB}" type="slidenum">
              <a:rPr lang="en-IN" sz="1050" smtClean="0"/>
              <a:t>7</a:t>
            </a:fld>
            <a:endParaRPr lang="en-IN" sz="105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B857A93-D549-49E5-967B-342D1C888BA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97867" y="3438525"/>
            <a:ext cx="8991600" cy="1917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093408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A6C7637-2003-4AA2-B54B-B44E38D5B6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sz="3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The Unknown Variables 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>
                <a:extLst>
                  <a:ext uri="{FF2B5EF4-FFF2-40B4-BE49-F238E27FC236}">
                    <a16:creationId xmlns:a16="http://schemas.microsoft.com/office/drawing/2014/main" id="{1E1FEA40-DD83-4773-9E17-2DA50A859BE9}"/>
                  </a:ext>
                </a:extLst>
              </p:cNvPr>
              <p:cNvSpPr>
                <a:spLocks noGrp="1"/>
              </p:cNvSpPr>
              <p:nvPr>
                <p:ph idx="1"/>
              </p:nvPr>
            </p:nvSpPr>
            <p:spPr>
              <a:xfrm>
                <a:off x="616900" y="1623695"/>
                <a:ext cx="10706099" cy="3072130"/>
              </a:xfrm>
            </p:spPr>
            <p:txBody>
              <a:bodyPr>
                <a:normAutofit lnSpcReduction="10000"/>
              </a:bodyPr>
              <a:lstStyle/>
              <a:p>
                <a:pPr marL="342900" indent="-342900">
                  <a:buFont typeface="Arial" panose="020B0604020202020204" pitchFamily="34" charset="0"/>
                  <a:buChar char="•"/>
                </a:pPr>
                <a:r>
                  <a:rPr lang="en-IN" sz="24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There are 5 unknowns in the given formula:</a:t>
                </a:r>
              </a:p>
              <a:p>
                <a:pPr algn="ctr"/>
                <a14:m>
                  <m:oMath xmlns:m="http://schemas.openxmlformats.org/officeDocument/2006/math">
                    <m:r>
                      <a:rPr lang="en-IN" sz="2400" i="1" dirty="0" smtClean="0">
                        <a:latin typeface="Cambria Math" panose="02040503050406030204" pitchFamily="18" charset="0"/>
                      </a:rPr>
                      <m:t>𝑦</m:t>
                    </m:r>
                  </m:oMath>
                </a14:m>
                <a:r>
                  <a:rPr lang="en-IN" sz="24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, </a:t>
                </a:r>
                <a14:m>
                  <m:oMath xmlns:m="http://schemas.openxmlformats.org/officeDocument/2006/math">
                    <m:r>
                      <a:rPr lang="en-IN" sz="2400" i="1" dirty="0" smtClean="0">
                        <a:latin typeface="Cambria Math" panose="02040503050406030204" pitchFamily="18" charset="0"/>
                      </a:rPr>
                      <m:t>𝑤</m:t>
                    </m:r>
                  </m:oMath>
                </a14:m>
                <a:r>
                  <a:rPr lang="en-IN" sz="24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, </a:t>
                </a:r>
                <a14:m>
                  <m:oMath xmlns:m="http://schemas.openxmlformats.org/officeDocument/2006/math">
                    <m:f>
                      <m:fPr>
                        <m:ctrlPr>
                          <a:rPr lang="en-IN" sz="2400" i="1" dirty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IN" sz="2400" i="1" dirty="0" smtClean="0">
                            <a:latin typeface="Cambria Math" panose="02040503050406030204" pitchFamily="18" charset="0"/>
                          </a:rPr>
                          <m:t>𝑑𝑤</m:t>
                        </m:r>
                      </m:num>
                      <m:den>
                        <m:r>
                          <a:rPr lang="en-IN" sz="2400" i="1" dirty="0">
                            <a:latin typeface="Cambria Math" panose="02040503050406030204" pitchFamily="18" charset="0"/>
                          </a:rPr>
                          <m:t>𝑑𝑡</m:t>
                        </m:r>
                      </m:den>
                    </m:f>
                  </m:oMath>
                </a14:m>
                <a:r>
                  <a:rPr lang="en-IN" sz="24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, </a:t>
                </a:r>
                <a14:m>
                  <m:oMath xmlns:m="http://schemas.openxmlformats.org/officeDocument/2006/math">
                    <m:f>
                      <m:fPr>
                        <m:ctrlPr>
                          <a:rPr lang="en-IN" sz="2400" i="1" dirty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IN" sz="2400" i="1" dirty="0" smtClean="0">
                            <a:latin typeface="Cambria Math" panose="02040503050406030204" pitchFamily="18" charset="0"/>
                          </a:rPr>
                          <m:t>𝑑𝑤</m:t>
                        </m:r>
                      </m:num>
                      <m:den>
                        <m:r>
                          <a:rPr lang="en-IN" sz="2400" i="1" dirty="0" err="1">
                            <a:latin typeface="Cambria Math" panose="02040503050406030204" pitchFamily="18" charset="0"/>
                          </a:rPr>
                          <m:t>𝑑𝑦</m:t>
                        </m:r>
                      </m:den>
                    </m:f>
                  </m:oMath>
                </a14:m>
                <a:r>
                  <a:rPr lang="en-IN" sz="24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, </a:t>
                </a:r>
                <a14:m>
                  <m:oMath xmlns:m="http://schemas.openxmlformats.org/officeDocument/2006/math">
                    <m:f>
                      <m:fPr>
                        <m:ctrlPr>
                          <a:rPr lang="en-IN" sz="2400" i="1" dirty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IN" sz="2400" i="1" dirty="0" smtClean="0">
                            <a:latin typeface="Cambria Math" panose="02040503050406030204" pitchFamily="18" charset="0"/>
                          </a:rPr>
                          <m:t>𝑑</m:t>
                        </m:r>
                        <m:r>
                          <a:rPr lang="en-IN" sz="2400" i="1" baseline="24000" dirty="0">
                            <a:latin typeface="Cambria Math" panose="02040503050406030204" pitchFamily="18" charset="0"/>
                          </a:rPr>
                          <m:t>2</m:t>
                        </m:r>
                        <m:r>
                          <a:rPr lang="en-IN" sz="2400" i="1" dirty="0">
                            <a:latin typeface="Cambria Math" panose="02040503050406030204" pitchFamily="18" charset="0"/>
                          </a:rPr>
                          <m:t>𝑤</m:t>
                        </m:r>
                      </m:num>
                      <m:den>
                        <m:r>
                          <a:rPr lang="en-IN" sz="2400" i="1" dirty="0">
                            <a:latin typeface="Cambria Math" panose="02040503050406030204" pitchFamily="18" charset="0"/>
                          </a:rPr>
                          <m:t>𝑑𝑦</m:t>
                        </m:r>
                        <m:r>
                          <a:rPr lang="en-IN" sz="2400" i="1" baseline="30000" dirty="0">
                            <a:latin typeface="Cambria Math" panose="02040503050406030204" pitchFamily="18" charset="0"/>
                          </a:rPr>
                          <m:t>2</m:t>
                        </m:r>
                      </m:den>
                    </m:f>
                  </m:oMath>
                </a14:m>
                <a:endParaRPr lang="en-IN" sz="2400" baseline="30000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pPr marL="342900" indent="-342900">
                  <a:buFont typeface="Arial" panose="020B0604020202020204" pitchFamily="34" charset="0"/>
                  <a:buChar char="•"/>
                </a:pPr>
                <a:r>
                  <a:rPr lang="en-IN" sz="24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	where </a:t>
                </a:r>
                <a14:m>
                  <m:oMath xmlns:m="http://schemas.openxmlformats.org/officeDocument/2006/math">
                    <m:r>
                      <a:rPr lang="en-IN" sz="2400" i="1" dirty="0" smtClean="0">
                        <a:latin typeface="Cambria Math" panose="02040503050406030204" pitchFamily="18" charset="0"/>
                      </a:rPr>
                      <m:t>𝑦</m:t>
                    </m:r>
                    <m:r>
                      <a:rPr lang="en-IN" sz="2400" i="1" dirty="0" smtClean="0">
                        <a:latin typeface="Cambria Math" panose="02040503050406030204" pitchFamily="18" charset="0"/>
                      </a:rPr>
                      <m:t> =</m:t>
                    </m:r>
                    <m:func>
                      <m:funcPr>
                        <m:ctrlPr>
                          <a:rPr lang="en-IN" sz="2400" i="1" dirty="0" smtClean="0">
                            <a:latin typeface="Cambria Math" panose="02040503050406030204" pitchFamily="18" charset="0"/>
                          </a:rPr>
                        </m:ctrlPr>
                      </m:funcPr>
                      <m:fName>
                        <m:r>
                          <m:rPr>
                            <m:sty m:val="p"/>
                          </m:rPr>
                          <a:rPr lang="en-IN" sz="2400" i="0" dirty="0" smtClean="0">
                            <a:latin typeface="Cambria Math" panose="02040503050406030204" pitchFamily="18" charset="0"/>
                          </a:rPr>
                          <m:t>ln</m:t>
                        </m:r>
                      </m:fName>
                      <m:e>
                        <m:d>
                          <m:dPr>
                            <m:ctrlPr>
                              <a:rPr lang="en-IN" sz="2400" i="1" dirty="0" smtClean="0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f>
                              <m:fPr>
                                <m:ctrlPr>
                                  <a:rPr lang="en-IN" sz="2400" i="1" dirty="0" smtClean="0">
                                    <a:latin typeface="Cambria Math" panose="02040503050406030204" pitchFamily="18" charset="0"/>
                                  </a:rPr>
                                </m:ctrlPr>
                              </m:fPr>
                              <m:num>
                                <m:r>
                                  <a:rPr lang="en-IN" sz="2400" i="1" dirty="0" smtClean="0">
                                    <a:latin typeface="Cambria Math" panose="02040503050406030204" pitchFamily="18" charset="0"/>
                                  </a:rPr>
                                  <m:t>𝐾</m:t>
                                </m:r>
                              </m:num>
                              <m:den>
                                <m:r>
                                  <a:rPr lang="en-IN" sz="2400" i="1" dirty="0" smtClean="0">
                                    <a:latin typeface="Cambria Math" panose="02040503050406030204" pitchFamily="18" charset="0"/>
                                  </a:rPr>
                                  <m:t>𝐹</m:t>
                                </m:r>
                              </m:den>
                            </m:f>
                          </m:e>
                        </m:d>
                      </m:e>
                    </m:func>
                  </m:oMath>
                </a14:m>
                <a:r>
                  <a:rPr lang="en-IN" sz="24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and </a:t>
                </a:r>
                <a14:m>
                  <m:oMath xmlns:m="http://schemas.openxmlformats.org/officeDocument/2006/math">
                    <m:r>
                      <a:rPr lang="en-IN" sz="2400" i="1" dirty="0" smtClean="0">
                        <a:latin typeface="Cambria Math" panose="02040503050406030204" pitchFamily="18" charset="0"/>
                      </a:rPr>
                      <m:t>𝑤</m:t>
                    </m:r>
                    <m:r>
                      <a:rPr lang="en-IN" sz="2400" i="1" dirty="0" smtClean="0">
                        <a:latin typeface="Cambria Math" panose="02040503050406030204" pitchFamily="18" charset="0"/>
                      </a:rPr>
                      <m:t> = </m:t>
                    </m:r>
                    <m:sSub>
                      <m:sSubPr>
                        <m:ctrlPr>
                          <a:rPr lang="en-IN" sz="2400" i="1" dirty="0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l-GR" sz="2400" i="1" dirty="0">
                            <a:latin typeface="Cambria Math" panose="02040503050406030204" pitchFamily="18" charset="0"/>
                          </a:rPr>
                          <m:t>𝜎</m:t>
                        </m:r>
                        <m:r>
                          <a:rPr lang="en-IN" sz="2400" i="1" baseline="30000" dirty="0">
                            <a:latin typeface="Cambria Math" panose="02040503050406030204" pitchFamily="18" charset="0"/>
                          </a:rPr>
                          <m:t>2</m:t>
                        </m:r>
                      </m:e>
                      <m:sub>
                        <m:r>
                          <a:rPr lang="en-IN" sz="2400" b="0" i="1" dirty="0" smtClean="0">
                            <a:latin typeface="Cambria Math" panose="02040503050406030204" pitchFamily="18" charset="0"/>
                          </a:rPr>
                          <m:t>𝐵𝑆</m:t>
                        </m:r>
                      </m:sub>
                    </m:sSub>
                    <m:r>
                      <a:rPr lang="en-IN" sz="2400" i="1" dirty="0">
                        <a:latin typeface="Cambria Math" panose="02040503050406030204" pitchFamily="18" charset="0"/>
                      </a:rPr>
                      <m:t>𝑇</m:t>
                    </m:r>
                  </m:oMath>
                </a14:m>
                <a:endParaRPr lang="en-IN" sz="2400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pPr marL="342900" indent="-342900">
                  <a:buFont typeface="Arial" panose="020B0604020202020204" pitchFamily="34" charset="0"/>
                  <a:buChar char="•"/>
                </a:pPr>
                <a:r>
                  <a:rPr lang="en-IN" sz="24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An optimization is used to identify the appropriate interpolation function in the y direction. Then </a:t>
                </a:r>
                <a14:m>
                  <m:oMath xmlns:m="http://schemas.openxmlformats.org/officeDocument/2006/math">
                    <m:f>
                      <m:fPr>
                        <m:ctrlPr>
                          <a:rPr lang="en-IN" sz="2400" i="1" dirty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IN" sz="2400" i="1" dirty="0" smtClean="0">
                            <a:latin typeface="Cambria Math" panose="02040503050406030204" pitchFamily="18" charset="0"/>
                          </a:rPr>
                          <m:t>𝑑𝑤</m:t>
                        </m:r>
                      </m:num>
                      <m:den>
                        <m:r>
                          <a:rPr lang="en-IN" sz="2400" i="1" dirty="0" err="1">
                            <a:latin typeface="Cambria Math" panose="02040503050406030204" pitchFamily="18" charset="0"/>
                          </a:rPr>
                          <m:t>𝑑𝑦</m:t>
                        </m:r>
                      </m:den>
                    </m:f>
                  </m:oMath>
                </a14:m>
                <a:r>
                  <a:rPr lang="en-IN" sz="24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, </a:t>
                </a:r>
                <a14:m>
                  <m:oMath xmlns:m="http://schemas.openxmlformats.org/officeDocument/2006/math">
                    <m:f>
                      <m:fPr>
                        <m:ctrlPr>
                          <a:rPr lang="en-IN" sz="2400" i="1" dirty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IN" sz="2400" i="1" dirty="0" smtClean="0">
                            <a:latin typeface="Cambria Math" panose="02040503050406030204" pitchFamily="18" charset="0"/>
                          </a:rPr>
                          <m:t>𝑑</m:t>
                        </m:r>
                        <m:r>
                          <a:rPr lang="en-IN" sz="2400" i="1" baseline="24000" dirty="0">
                            <a:latin typeface="Cambria Math" panose="02040503050406030204" pitchFamily="18" charset="0"/>
                          </a:rPr>
                          <m:t>2</m:t>
                        </m:r>
                        <m:r>
                          <a:rPr lang="en-IN" sz="2400" i="1" dirty="0">
                            <a:latin typeface="Cambria Math" panose="02040503050406030204" pitchFamily="18" charset="0"/>
                          </a:rPr>
                          <m:t>𝑤</m:t>
                        </m:r>
                      </m:num>
                      <m:den>
                        <m:r>
                          <a:rPr lang="en-IN" sz="2400" i="1" dirty="0">
                            <a:latin typeface="Cambria Math" panose="02040503050406030204" pitchFamily="18" charset="0"/>
                          </a:rPr>
                          <m:t>𝑑𝑦</m:t>
                        </m:r>
                        <m:r>
                          <a:rPr lang="en-IN" sz="2400" i="1" baseline="30000" dirty="0">
                            <a:latin typeface="Cambria Math" panose="02040503050406030204" pitchFamily="18" charset="0"/>
                          </a:rPr>
                          <m:t>2</m:t>
                        </m:r>
                      </m:den>
                    </m:f>
                  </m:oMath>
                </a14:m>
                <a:r>
                  <a:rPr lang="en-IN" sz="2400" baseline="300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 </a:t>
                </a:r>
                <a:r>
                  <a:rPr lang="en-IN" sz="24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are calculated.</a:t>
                </a:r>
                <a:endParaRPr lang="en-IN" sz="2400" baseline="30000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pPr marL="342900" indent="-342900">
                  <a:buFont typeface="Arial" panose="020B0604020202020204" pitchFamily="34" charset="0"/>
                  <a:buChar char="•"/>
                </a:pPr>
                <a:r>
                  <a:rPr lang="en-IN" sz="24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Linear Interpolation of </a:t>
                </a:r>
                <a14:m>
                  <m:oMath xmlns:m="http://schemas.openxmlformats.org/officeDocument/2006/math">
                    <m:r>
                      <a:rPr lang="en-IN" sz="2400" i="1" dirty="0" smtClean="0">
                        <a:latin typeface="Cambria Math" panose="02040503050406030204" pitchFamily="18" charset="0"/>
                      </a:rPr>
                      <m:t>𝑤</m:t>
                    </m:r>
                  </m:oMath>
                </a14:m>
                <a:r>
                  <a:rPr lang="en-IN" sz="24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is used in the </a:t>
                </a:r>
                <a14:m>
                  <m:oMath xmlns:m="http://schemas.openxmlformats.org/officeDocument/2006/math">
                    <m:r>
                      <a:rPr lang="en-IN" sz="2400" i="1" dirty="0" smtClean="0">
                        <a:latin typeface="Cambria Math" panose="02040503050406030204" pitchFamily="18" charset="0"/>
                      </a:rPr>
                      <m:t>𝑡</m:t>
                    </m:r>
                  </m:oMath>
                </a14:m>
                <a:r>
                  <a:rPr lang="en-IN" sz="24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direction.</a:t>
                </a:r>
              </a:p>
              <a:p>
                <a:pPr marL="342900" indent="-342900">
                  <a:buFont typeface="Arial" panose="020B0604020202020204" pitchFamily="34" charset="0"/>
                  <a:buChar char="•"/>
                </a:pPr>
                <a:r>
                  <a:rPr lang="en-IN" sz="24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A finer grid is generated using the above interpolation</a:t>
                </a:r>
              </a:p>
              <a:p>
                <a:endParaRPr lang="en-IN" sz="2400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pPr marL="342900" indent="-342900">
                  <a:buFont typeface="Arial" panose="020B0604020202020204" pitchFamily="34" charset="0"/>
                  <a:buChar char="•"/>
                </a:pPr>
                <a:endParaRPr lang="en-IN" sz="2400" baseline="30000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pPr marL="342900" indent="-342900">
                  <a:buFont typeface="Arial" panose="020B0604020202020204" pitchFamily="34" charset="0"/>
                  <a:buChar char="•"/>
                </a:pPr>
                <a:endParaRPr lang="en-IN" sz="2400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mc:Choice>
        <mc:Fallback xmlns="">
          <p:sp>
            <p:nvSpPr>
              <p:cNvPr id="3" name="Content Placeholder 2">
                <a:extLst>
                  <a:ext uri="{FF2B5EF4-FFF2-40B4-BE49-F238E27FC236}">
                    <a16:creationId xmlns:a16="http://schemas.microsoft.com/office/drawing/2014/main" id="{1E1FEA40-DD83-4773-9E17-2DA50A859BE9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xfrm>
                <a:off x="616900" y="1623695"/>
                <a:ext cx="10706099" cy="3072130"/>
              </a:xfrm>
              <a:blipFill>
                <a:blip r:embed="rId2"/>
                <a:stretch>
                  <a:fillRect l="-1765" t="-4762"/>
                </a:stretch>
              </a:blipFill>
            </p:spPr>
            <p:txBody>
              <a:bodyPr/>
              <a:lstStyle/>
              <a:p>
                <a:r>
                  <a:rPr lang="en-IN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7B99FA9-651D-4225-89D6-28113F7F42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B9238A-3BFD-4DD1-A919-67BF821F9BEB}" type="slidenum">
              <a:rPr lang="en-IN" smtClean="0"/>
              <a:t>8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43374687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88A15B5-76D5-4998-A0CD-BCFF55F37B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sz="3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Steps 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>
                <a:extLst>
                  <a:ext uri="{FF2B5EF4-FFF2-40B4-BE49-F238E27FC236}">
                    <a16:creationId xmlns:a16="http://schemas.microsoft.com/office/drawing/2014/main" id="{5EC80116-A9EC-4865-B07B-BFACC33A7E55}"/>
                  </a:ext>
                </a:extLst>
              </p:cNvPr>
              <p:cNvSpPr>
                <a:spLocks noGrp="1"/>
              </p:cNvSpPr>
              <p:nvPr>
                <p:ph idx="1"/>
              </p:nvPr>
            </p:nvSpPr>
            <p:spPr>
              <a:xfrm>
                <a:off x="609601" y="1137920"/>
                <a:ext cx="11391899" cy="4834800"/>
              </a:xfrm>
            </p:spPr>
            <p:txBody>
              <a:bodyPr/>
              <a:lstStyle/>
              <a:p>
                <a:pPr marL="342900" indent="-342900">
                  <a:buFont typeface="Arial" panose="020B0604020202020204" pitchFamily="34" charset="0"/>
                  <a:buChar char="•"/>
                </a:pPr>
                <a:r>
                  <a:rPr lang="en-IN" sz="24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Monte Carlo simulation is used to arrive at the prices using the local volatilities after interpolation.</a:t>
                </a:r>
              </a:p>
              <a:p>
                <a:pPr marL="457200" lvl="1" algn="ctr"/>
                <a:r>
                  <a:rPr lang="en-IN" sz="24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</a:t>
                </a:r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en-IN" sz="2400" b="0" i="0" smtClean="0">
                        <a:effectLst/>
                        <a:latin typeface="Cambria Math" panose="020405030504060302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rPr>
                      <m:t>S</m:t>
                    </m:r>
                    <m:d>
                      <m:dPr>
                        <m:ctrlPr>
                          <a:rPr lang="en-IN" sz="2400" i="1">
                            <a:effectLst/>
                            <a:latin typeface="Cambria Math" panose="020405030504060302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rPr>
                        </m:ctrlPr>
                      </m:dPr>
                      <m:e>
                        <m:r>
                          <a:rPr lang="en-IN" sz="2400" i="1">
                            <a:effectLst/>
                            <a:latin typeface="Cambria Math" panose="020405030504060302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rPr>
                          <m:t>𝑡</m:t>
                        </m:r>
                      </m:e>
                    </m:d>
                    <m:r>
                      <a:rPr lang="en-IN" sz="2400" i="1">
                        <a:effectLst/>
                        <a:latin typeface="Cambria Math" panose="020405030504060302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rPr>
                      <m:t>=</m:t>
                    </m:r>
                    <m:sSub>
                      <m:sSubPr>
                        <m:ctrlPr>
                          <a:rPr lang="en-IN" sz="2400" i="1">
                            <a:effectLst/>
                            <a:latin typeface="Cambria Math" panose="020405030504060302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rPr>
                        </m:ctrlPr>
                      </m:sSubPr>
                      <m:e>
                        <m:r>
                          <a:rPr lang="en-IN" sz="2400" b="0" i="1" smtClean="0">
                            <a:effectLst/>
                            <a:latin typeface="Cambria Math" panose="020405030504060302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rPr>
                          <m:t>𝑆</m:t>
                        </m:r>
                      </m:e>
                      <m:sub>
                        <m:r>
                          <a:rPr lang="en-IN" sz="2400" i="1">
                            <a:effectLst/>
                            <a:latin typeface="Cambria Math" panose="020405030504060302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rPr>
                          <m:t>0</m:t>
                        </m:r>
                      </m:sub>
                    </m:sSub>
                    <m:func>
                      <m:funcPr>
                        <m:ctrlPr>
                          <a:rPr lang="en-IN" sz="2400" i="1">
                            <a:effectLst/>
                            <a:latin typeface="Cambria Math" panose="020405030504060302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rPr>
                        </m:ctrlPr>
                      </m:funcPr>
                      <m:fName>
                        <m:r>
                          <m:rPr>
                            <m:sty m:val="p"/>
                          </m:rPr>
                          <a:rPr lang="en-IN" sz="2400">
                            <a:effectLst/>
                            <a:latin typeface="Cambria Math" panose="020405030504060302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rPr>
                          <m:t>exp</m:t>
                        </m:r>
                      </m:fName>
                      <m:e>
                        <m:d>
                          <m:dPr>
                            <m:begChr m:val="["/>
                            <m:endChr m:val="]"/>
                            <m:ctrlPr>
                              <a:rPr lang="en-IN" sz="2400" i="1">
                                <a:effectLst/>
                                <a:latin typeface="Cambria Math" panose="02040503050406030204" pitchFamily="18" charset="0"/>
                                <a:ea typeface="Times New Roman" panose="02020603050405020304" pitchFamily="18" charset="0"/>
                                <a:cs typeface="Times New Roman" panose="02020603050405020304" pitchFamily="18" charset="0"/>
                              </a:rPr>
                            </m:ctrlPr>
                          </m:dPr>
                          <m:e>
                            <m:r>
                              <a:rPr lang="el-GR" sz="2400" i="1" dirty="0">
                                <a:latin typeface="Cambria Math" panose="02040503050406030204" pitchFamily="18" charset="0"/>
                              </a:rPr>
                              <m:t>𝜎</m:t>
                            </m:r>
                            <m:rad>
                              <m:radPr>
                                <m:degHide m:val="on"/>
                                <m:ctrlPr>
                                  <a:rPr lang="el-GR" sz="2400" i="1" dirty="0" smtClean="0">
                                    <a:latin typeface="Cambria Math" panose="02040503050406030204" pitchFamily="18" charset="0"/>
                                  </a:rPr>
                                </m:ctrlPr>
                              </m:radPr>
                              <m:deg/>
                              <m:e>
                                <m:r>
                                  <a:rPr lang="en-IN" sz="2400" b="0" i="1" dirty="0" smtClean="0">
                                    <a:latin typeface="Cambria Math" panose="02040503050406030204" pitchFamily="18" charset="0"/>
                                  </a:rPr>
                                  <m:t>𝑇</m:t>
                                </m:r>
                                <m:r>
                                  <a:rPr lang="en-IN" sz="2400" b="0" i="1" dirty="0" smtClean="0">
                                    <a:latin typeface="Cambria Math" panose="02040503050406030204" pitchFamily="18" charset="0"/>
                                  </a:rPr>
                                  <m:t>−</m:t>
                                </m:r>
                                <m:r>
                                  <a:rPr lang="en-IN" sz="2400" b="0" i="1" dirty="0" smtClean="0">
                                    <a:latin typeface="Cambria Math" panose="02040503050406030204" pitchFamily="18" charset="0"/>
                                  </a:rPr>
                                  <m:t>𝑡</m:t>
                                </m:r>
                              </m:e>
                            </m:rad>
                            <m:r>
                              <m:rPr>
                                <m:sty m:val="p"/>
                              </m:rPr>
                              <a:rPr lang="el-GR" sz="2400" i="1" dirty="0" smtClean="0">
                                <a:latin typeface="Cambria Math" panose="02040503050406030204" pitchFamily="18" charset="0"/>
                              </a:rPr>
                              <m:t>ϵ</m:t>
                            </m:r>
                            <m:r>
                              <a:rPr lang="en-IN" sz="2400" b="0" i="1" dirty="0" smtClean="0">
                                <a:latin typeface="Cambria Math" panose="02040503050406030204" pitchFamily="18" charset="0"/>
                              </a:rPr>
                              <m:t>+</m:t>
                            </m:r>
                            <m:d>
                              <m:dPr>
                                <m:ctrlPr>
                                  <a:rPr lang="en-IN" sz="2400" i="1">
                                    <a:effectLst/>
                                    <a:latin typeface="Cambria Math" panose="02040503050406030204" pitchFamily="18" charset="0"/>
                                    <a:ea typeface="Times New Roman" panose="02020603050405020304" pitchFamily="18" charset="0"/>
                                    <a:cs typeface="Times New Roman" panose="02020603050405020304" pitchFamily="18" charset="0"/>
                                  </a:rPr>
                                </m:ctrlPr>
                              </m:dPr>
                              <m:e>
                                <m:r>
                                  <a:rPr lang="en-IN" sz="2400" b="0" i="1" smtClean="0">
                                    <a:effectLst/>
                                    <a:latin typeface="Cambria Math" panose="02040503050406030204" pitchFamily="18" charset="0"/>
                                    <a:ea typeface="Times New Roman" panose="02020603050405020304" pitchFamily="18" charset="0"/>
                                    <a:cs typeface="Times New Roman" panose="02020603050405020304" pitchFamily="18" charset="0"/>
                                  </a:rPr>
                                  <m:t>𝑟</m:t>
                                </m:r>
                                <m:r>
                                  <a:rPr lang="en-IN" sz="2400" i="1">
                                    <a:effectLst/>
                                    <a:latin typeface="Cambria Math" panose="02040503050406030204" pitchFamily="18" charset="0"/>
                                    <a:ea typeface="Times New Roman" panose="02020603050405020304" pitchFamily="18" charset="0"/>
                                    <a:cs typeface="Times New Roman" panose="02020603050405020304" pitchFamily="18" charset="0"/>
                                  </a:rPr>
                                  <m:t>−</m:t>
                                </m:r>
                                <m:f>
                                  <m:fPr>
                                    <m:ctrlPr>
                                      <a:rPr lang="en-IN" sz="2400" i="1">
                                        <a:effectLst/>
                                        <a:latin typeface="Cambria Math" panose="02040503050406030204" pitchFamily="18" charset="0"/>
                                        <a:ea typeface="Times New Roman" panose="02020603050405020304" pitchFamily="18" charset="0"/>
                                        <a:cs typeface="Times New Roman" panose="02020603050405020304" pitchFamily="18" charset="0"/>
                                      </a:rPr>
                                    </m:ctrlPr>
                                  </m:fPr>
                                  <m:num>
                                    <m:r>
                                      <a:rPr lang="en-IN" sz="2400" i="1">
                                        <a:effectLst/>
                                        <a:latin typeface="Cambria Math" panose="02040503050406030204" pitchFamily="18" charset="0"/>
                                        <a:ea typeface="Times New Roman" panose="02020603050405020304" pitchFamily="18" charset="0"/>
                                        <a:cs typeface="Times New Roman" panose="02020603050405020304" pitchFamily="18" charset="0"/>
                                      </a:rPr>
                                      <m:t>1</m:t>
                                    </m:r>
                                  </m:num>
                                  <m:den>
                                    <m:r>
                                      <a:rPr lang="en-IN" sz="2400" i="1">
                                        <a:effectLst/>
                                        <a:latin typeface="Cambria Math" panose="02040503050406030204" pitchFamily="18" charset="0"/>
                                        <a:ea typeface="Times New Roman" panose="02020603050405020304" pitchFamily="18" charset="0"/>
                                        <a:cs typeface="Times New Roman" panose="02020603050405020304" pitchFamily="18" charset="0"/>
                                      </a:rPr>
                                      <m:t>2</m:t>
                                    </m:r>
                                  </m:den>
                                </m:f>
                                <m:sSup>
                                  <m:sSupPr>
                                    <m:ctrlPr>
                                      <a:rPr lang="en-IN" sz="2400" i="1">
                                        <a:effectLst/>
                                        <a:latin typeface="Cambria Math" panose="02040503050406030204" pitchFamily="18" charset="0"/>
                                        <a:ea typeface="Times New Roman" panose="02020603050405020304" pitchFamily="18" charset="0"/>
                                        <a:cs typeface="Times New Roman" panose="02020603050405020304" pitchFamily="18" charset="0"/>
                                      </a:rPr>
                                    </m:ctrlPr>
                                  </m:sSupPr>
                                  <m:e>
                                    <m:r>
                                      <a:rPr lang="el-GR" sz="2400" i="1" dirty="0">
                                        <a:latin typeface="Cambria Math" panose="02040503050406030204" pitchFamily="18" charset="0"/>
                                      </a:rPr>
                                      <m:t>𝜎</m:t>
                                    </m:r>
                                  </m:e>
                                  <m:sup>
                                    <m:r>
                                      <a:rPr lang="en-IN" sz="2400" i="1">
                                        <a:effectLst/>
                                        <a:latin typeface="Cambria Math" panose="02040503050406030204" pitchFamily="18" charset="0"/>
                                        <a:ea typeface="Times New Roman" panose="02020603050405020304" pitchFamily="18" charset="0"/>
                                        <a:cs typeface="Times New Roman" panose="02020603050405020304" pitchFamily="18" charset="0"/>
                                      </a:rPr>
                                      <m:t>2</m:t>
                                    </m:r>
                                  </m:sup>
                                </m:sSup>
                              </m:e>
                            </m:d>
                            <m:d>
                              <m:dPr>
                                <m:ctrlPr>
                                  <a:rPr lang="en-IN" sz="2400" b="0" i="1" smtClean="0">
                                    <a:effectLst/>
                                    <a:latin typeface="Cambria Math" panose="02040503050406030204" pitchFamily="18" charset="0"/>
                                    <a:ea typeface="Times New Roman" panose="02020603050405020304" pitchFamily="18" charset="0"/>
                                    <a:cs typeface="Times New Roman" panose="02020603050405020304" pitchFamily="18" charset="0"/>
                                  </a:rPr>
                                </m:ctrlPr>
                              </m:dPr>
                              <m:e>
                                <m:r>
                                  <a:rPr lang="en-IN" sz="2400" b="0" i="1" smtClean="0">
                                    <a:effectLst/>
                                    <a:latin typeface="Cambria Math" panose="02040503050406030204" pitchFamily="18" charset="0"/>
                                    <a:ea typeface="Times New Roman" panose="02020603050405020304" pitchFamily="18" charset="0"/>
                                    <a:cs typeface="Times New Roman" panose="02020603050405020304" pitchFamily="18" charset="0"/>
                                  </a:rPr>
                                  <m:t>𝑇</m:t>
                                </m:r>
                                <m:r>
                                  <a:rPr lang="en-IN" sz="2400" b="0" i="1" smtClean="0">
                                    <a:effectLst/>
                                    <a:latin typeface="Cambria Math" panose="02040503050406030204" pitchFamily="18" charset="0"/>
                                    <a:ea typeface="Times New Roman" panose="02020603050405020304" pitchFamily="18" charset="0"/>
                                    <a:cs typeface="Times New Roman" panose="02020603050405020304" pitchFamily="18" charset="0"/>
                                  </a:rPr>
                                  <m:t>−</m:t>
                                </m:r>
                                <m:r>
                                  <a:rPr lang="en-IN" sz="2400" i="1">
                                    <a:effectLst/>
                                    <a:latin typeface="Cambria Math" panose="02040503050406030204" pitchFamily="18" charset="0"/>
                                    <a:ea typeface="Times New Roman" panose="02020603050405020304" pitchFamily="18" charset="0"/>
                                    <a:cs typeface="Times New Roman" panose="02020603050405020304" pitchFamily="18" charset="0"/>
                                  </a:rPr>
                                  <m:t>𝑡</m:t>
                                </m:r>
                              </m:e>
                            </m:d>
                          </m:e>
                        </m:d>
                      </m:e>
                    </m:func>
                  </m:oMath>
                </a14:m>
                <a:endParaRPr lang="en-IN" sz="2400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pPr marL="457200" lvl="1" algn="ctr"/>
                <a:r>
                  <a:rPr lang="en-IN" sz="24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Where </a:t>
                </a:r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el-GR" sz="2400" i="1" dirty="0" smtClean="0">
                        <a:latin typeface="Cambria Math" panose="02040503050406030204" pitchFamily="18" charset="0"/>
                      </a:rPr>
                      <m:t>ϵ</m:t>
                    </m:r>
                  </m:oMath>
                </a14:m>
                <a:r>
                  <a:rPr lang="en-IN" sz="24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is a random number and </a:t>
                </a:r>
                <a14:m>
                  <m:oMath xmlns:m="http://schemas.openxmlformats.org/officeDocument/2006/math">
                    <m:r>
                      <a:rPr lang="el-GR" sz="2400" i="1" dirty="0">
                        <a:latin typeface="Cambria Math" panose="02040503050406030204" pitchFamily="18" charset="0"/>
                      </a:rPr>
                      <m:t>𝜎</m:t>
                    </m:r>
                  </m:oMath>
                </a14:m>
                <a:r>
                  <a:rPr lang="en-IN" sz="24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is the corresponding local vol</a:t>
                </a:r>
              </a:p>
              <a:p>
                <a:pPr marL="342900" indent="-342900">
                  <a:buFont typeface="Arial" panose="020B0604020202020204" pitchFamily="34" charset="0"/>
                  <a:buChar char="•"/>
                </a:pPr>
                <a14:m>
                  <m:oMath xmlns:m="http://schemas.openxmlformats.org/officeDocument/2006/math">
                    <m:r>
                      <a:rPr lang="en-IN" sz="2400" i="1" dirty="0" smtClean="0">
                        <a:latin typeface="Cambria Math" panose="02040503050406030204" pitchFamily="18" charset="0"/>
                        <a:cs typeface="Times New Roman" panose="02020603050405020304" pitchFamily="18" charset="0"/>
                      </a:rPr>
                      <m:t>𝑂𝑝𝑡𝑖𝑜𝑛</m:t>
                    </m:r>
                    <m:r>
                      <a:rPr lang="en-IN" sz="2400" i="1" dirty="0" smtClean="0">
                        <a:latin typeface="Cambria Math" panose="02040503050406030204" pitchFamily="18" charset="0"/>
                        <a:cs typeface="Times New Roman" panose="02020603050405020304" pitchFamily="18" charset="0"/>
                      </a:rPr>
                      <m:t> </m:t>
                    </m:r>
                    <m:r>
                      <a:rPr lang="en-IN" sz="2400" i="1" dirty="0" smtClean="0">
                        <a:latin typeface="Cambria Math" panose="02040503050406030204" pitchFamily="18" charset="0"/>
                        <a:cs typeface="Times New Roman" panose="02020603050405020304" pitchFamily="18" charset="0"/>
                      </a:rPr>
                      <m:t>𝑃𝑟𝑖𝑐𝑒</m:t>
                    </m:r>
                    <m:r>
                      <a:rPr lang="en-IN" sz="2400" i="1" dirty="0" smtClean="0">
                        <a:latin typeface="Cambria Math" panose="02040503050406030204" pitchFamily="18" charset="0"/>
                        <a:cs typeface="Times New Roman" panose="02020603050405020304" pitchFamily="18" charset="0"/>
                      </a:rPr>
                      <m:t> =</m:t>
                    </m:r>
                    <m:d>
                      <m:dPr>
                        <m:begChr m:val="["/>
                        <m:endChr m:val="]"/>
                        <m:ctrlPr>
                          <a:rPr lang="en-IN" sz="2400" b="0" i="1" dirty="0" smtClean="0"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</m:ctrlPr>
                      </m:dPr>
                      <m:e>
                        <m:r>
                          <a:rPr lang="en-IN" sz="2400" i="1" dirty="0" smtClean="0"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𝑎𝑣𝑔</m:t>
                        </m:r>
                        <m:d>
                          <m:dPr>
                            <m:ctrlPr>
                              <a:rPr lang="en-IN" sz="2400" i="1" dirty="0" smtClean="0">
                                <a:latin typeface="Cambria Math" panose="02040503050406030204" pitchFamily="18" charset="0"/>
                                <a:cs typeface="Times New Roman" panose="02020603050405020304" pitchFamily="18" charset="0"/>
                              </a:rPr>
                            </m:ctrlPr>
                          </m:dPr>
                          <m:e>
                            <m:r>
                              <a:rPr lang="en-IN" sz="2400" i="1" dirty="0" smtClean="0">
                                <a:latin typeface="Cambria Math" panose="02040503050406030204" pitchFamily="18" charset="0"/>
                                <a:cs typeface="Times New Roman" panose="02020603050405020304" pitchFamily="18" charset="0"/>
                              </a:rPr>
                              <m:t>𝑂𝑝𝑡𝑖𝑜𝑛</m:t>
                            </m:r>
                            <m:r>
                              <a:rPr lang="en-IN" sz="2400" i="1" dirty="0" smtClean="0">
                                <a:latin typeface="Cambria Math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a:rPr lang="en-IN" sz="2400" i="1" dirty="0" smtClean="0">
                                <a:latin typeface="Cambria Math" panose="02040503050406030204" pitchFamily="18" charset="0"/>
                                <a:cs typeface="Times New Roman" panose="02020603050405020304" pitchFamily="18" charset="0"/>
                              </a:rPr>
                              <m:t>𝑃𝑎𝑦𝑜𝑓𝑓</m:t>
                            </m:r>
                          </m:e>
                        </m:d>
                        <m:r>
                          <a:rPr lang="en-IN" sz="2400" i="1" dirty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Times New Roman" panose="02020603050405020304" pitchFamily="18" charset="0"/>
                          </a:rPr>
                          <m:t>×</m:t>
                        </m:r>
                        <m:d>
                          <m:dPr>
                            <m:ctrlPr>
                              <a:rPr lang="en-IN" sz="2400" i="1" dirty="0" smtClean="0">
                                <a:latin typeface="Cambria Math" panose="02040503050406030204" pitchFamily="18" charset="0"/>
                                <a:cs typeface="Times New Roman" panose="02020603050405020304" pitchFamily="18" charset="0"/>
                              </a:rPr>
                            </m:ctrlPr>
                          </m:dPr>
                          <m:e>
                            <m:r>
                              <a:rPr lang="en-IN" sz="2400" i="1" dirty="0" smtClean="0">
                                <a:latin typeface="Cambria Math" panose="02040503050406030204" pitchFamily="18" charset="0"/>
                                <a:cs typeface="Times New Roman" panose="02020603050405020304" pitchFamily="18" charset="0"/>
                              </a:rPr>
                              <m:t>𝑑𝑖𝑠𝑐𝑜𝑢𝑛𝑡𝑖𝑛𝑔</m:t>
                            </m:r>
                            <m:r>
                              <a:rPr lang="en-IN" sz="2400" i="1" dirty="0" smtClean="0">
                                <a:latin typeface="Cambria Math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a:rPr lang="en-IN" sz="2400" i="1" dirty="0" smtClean="0">
                                <a:latin typeface="Cambria Math" panose="02040503050406030204" pitchFamily="18" charset="0"/>
                                <a:cs typeface="Times New Roman" panose="02020603050405020304" pitchFamily="18" charset="0"/>
                              </a:rPr>
                              <m:t>𝑓𝑎𝑐𝑡𝑜𝑟</m:t>
                            </m:r>
                          </m:e>
                        </m:d>
                      </m:e>
                    </m:d>
                  </m:oMath>
                </a14:m>
                <a:endParaRPr lang="en-IN" sz="2400" b="0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endParaRPr lang="en-IN" sz="2400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pPr marL="342900" indent="-342900">
                  <a:buFont typeface="Arial" panose="020B0604020202020204" pitchFamily="34" charset="0"/>
                  <a:buChar char="•"/>
                </a:pPr>
                <a:r>
                  <a:rPr lang="en-IN" sz="24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The absolute error between Monte Carlo prices and the market prices is optimized to get the appropriate interpolation-</a:t>
                </a:r>
              </a:p>
              <a:p>
                <a:pPr marL="342900" lvl="3" indent="-342900">
                  <a:buFont typeface="Arial" panose="020B0604020202020204" pitchFamily="34" charset="0"/>
                  <a:buChar char="•"/>
                </a:pPr>
                <a:r>
                  <a:rPr lang="en-IN" sz="20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Splines of different degrees (2,3,4,5)</a:t>
                </a:r>
              </a:p>
              <a:p>
                <a:pPr marL="342900" lvl="3" indent="-342900">
                  <a:buFont typeface="Arial" panose="020B0604020202020204" pitchFamily="34" charset="0"/>
                  <a:buChar char="•"/>
                </a:pPr>
                <a:r>
                  <a:rPr lang="en-IN" sz="20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A cubic polynomial using curve fit and ‘L-BFGS-B’ </a:t>
                </a:r>
              </a:p>
              <a:p>
                <a:pPr lvl="3"/>
                <a:endParaRPr lang="en-IN" sz="2000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pPr marL="342900" indent="-342900">
                  <a:buFont typeface="Arial" panose="020B0604020202020204" pitchFamily="34" charset="0"/>
                  <a:buChar char="•"/>
                </a:pPr>
                <a:r>
                  <a:rPr lang="en-IN" sz="24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A finer grid of volatilities is also generated to price for finer strikes and maturities.</a:t>
                </a:r>
              </a:p>
            </p:txBody>
          </p:sp>
        </mc:Choice>
        <mc:Fallback xmlns="">
          <p:sp>
            <p:nvSpPr>
              <p:cNvPr id="3" name="Content Placeholder 2">
                <a:extLst>
                  <a:ext uri="{FF2B5EF4-FFF2-40B4-BE49-F238E27FC236}">
                    <a16:creationId xmlns:a16="http://schemas.microsoft.com/office/drawing/2014/main" id="{5EC80116-A9EC-4865-B07B-BFACC33A7E55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xfrm>
                <a:off x="609601" y="1137920"/>
                <a:ext cx="11391899" cy="4834800"/>
              </a:xfrm>
              <a:blipFill>
                <a:blip r:embed="rId2"/>
                <a:stretch>
                  <a:fillRect l="-1659" t="-2270"/>
                </a:stretch>
              </a:blipFill>
            </p:spPr>
            <p:txBody>
              <a:bodyPr/>
              <a:lstStyle/>
              <a:p>
                <a:r>
                  <a:rPr lang="en-IN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91106072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LYvUz1f4DY2Po7bB5.7Y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LYvUz1f4DY2Po7bB5.7YA"/>
</p:tagLst>
</file>

<file path=ppt/theme/theme1.xml><?xml version="1.0" encoding="utf-8"?>
<a:theme xmlns:a="http://schemas.openxmlformats.org/drawingml/2006/main" name="EY light background">
  <a:themeElements>
    <a:clrScheme name="Custom 8">
      <a:dk1>
        <a:srgbClr val="FFFFFF"/>
      </a:dk1>
      <a:lt1>
        <a:srgbClr val="2E2E38"/>
      </a:lt1>
      <a:dk2>
        <a:srgbClr val="FFE600"/>
      </a:dk2>
      <a:lt2>
        <a:srgbClr val="000000"/>
      </a:lt2>
      <a:accent1>
        <a:srgbClr val="2DB757"/>
      </a:accent1>
      <a:accent2>
        <a:srgbClr val="27ACAA"/>
      </a:accent2>
      <a:accent3>
        <a:srgbClr val="188CE5"/>
      </a:accent3>
      <a:accent4>
        <a:srgbClr val="3D108A"/>
      </a:accent4>
      <a:accent5>
        <a:srgbClr val="FF4136"/>
      </a:accent5>
      <a:accent6>
        <a:srgbClr val="FF6D00"/>
      </a:accent6>
      <a:hlink>
        <a:srgbClr val="0000FF"/>
      </a:hlink>
      <a:folHlink>
        <a:srgbClr val="800080"/>
      </a:folHlink>
    </a:clrScheme>
    <a:fontScheme name="Custom 1">
      <a:majorFont>
        <a:latin typeface="EYInterstate Light"/>
        <a:ea typeface=""/>
        <a:cs typeface=""/>
      </a:majorFont>
      <a:minorFont>
        <a:latin typeface="EYInterstate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t" anchorCtr="0"/>
      <a:lstStyle>
        <a:defPPr algn="ctr">
          <a:defRPr sz="12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36576" rIns="0" bIns="0" rtlCol="0">
        <a:spAutoFit/>
      </a:bodyPr>
      <a:lstStyle>
        <a:defPPr marL="356616" indent="-356616">
          <a:lnSpc>
            <a:spcPct val="85000"/>
          </a:lnSpc>
          <a:spcAft>
            <a:spcPts val="600"/>
          </a:spcAft>
          <a:buClr>
            <a:schemeClr val="accent2"/>
          </a:buClr>
          <a:buSzPct val="70000"/>
          <a:buFont typeface="Arial" pitchFamily="34" charset="0"/>
          <a:buChar char="►"/>
          <a:defRPr sz="1200" dirty="0" err="1" smtClean="0">
            <a:solidFill>
              <a:schemeClr val="bg1"/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1_EY light background">
  <a:themeElements>
    <a:clrScheme name="Custom 8">
      <a:dk1>
        <a:srgbClr val="FFFFFF"/>
      </a:dk1>
      <a:lt1>
        <a:srgbClr val="2E2E38"/>
      </a:lt1>
      <a:dk2>
        <a:srgbClr val="FFE600"/>
      </a:dk2>
      <a:lt2>
        <a:srgbClr val="000000"/>
      </a:lt2>
      <a:accent1>
        <a:srgbClr val="2DB757"/>
      </a:accent1>
      <a:accent2>
        <a:srgbClr val="27ACAA"/>
      </a:accent2>
      <a:accent3>
        <a:srgbClr val="188CE5"/>
      </a:accent3>
      <a:accent4>
        <a:srgbClr val="3D108A"/>
      </a:accent4>
      <a:accent5>
        <a:srgbClr val="FF4136"/>
      </a:accent5>
      <a:accent6>
        <a:srgbClr val="FF6D00"/>
      </a:accent6>
      <a:hlink>
        <a:srgbClr val="0000FF"/>
      </a:hlink>
      <a:folHlink>
        <a:srgbClr val="800080"/>
      </a:folHlink>
    </a:clrScheme>
    <a:fontScheme name="Custom 1">
      <a:majorFont>
        <a:latin typeface="EYInterstate Light"/>
        <a:ea typeface=""/>
        <a:cs typeface=""/>
      </a:majorFont>
      <a:minorFont>
        <a:latin typeface="EYInterstate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t" anchorCtr="0"/>
      <a:lstStyle>
        <a:defPPr algn="ctr">
          <a:defRPr sz="12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36576" rIns="0" bIns="0" rtlCol="0">
        <a:spAutoFit/>
      </a:bodyPr>
      <a:lstStyle>
        <a:defPPr marL="356616" indent="-356616">
          <a:lnSpc>
            <a:spcPct val="85000"/>
          </a:lnSpc>
          <a:spcAft>
            <a:spcPts val="600"/>
          </a:spcAft>
          <a:buClr>
            <a:schemeClr val="accent2"/>
          </a:buClr>
          <a:buSzPct val="70000"/>
          <a:buFont typeface="Arial" pitchFamily="34" charset="0"/>
          <a:buChar char="►"/>
          <a:defRPr sz="1200" dirty="0" err="1" smtClean="0">
            <a:solidFill>
              <a:schemeClr val="bg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Global_EY_widescreen_presentation_2019_v1.4.pptx" id="{669A4694-7F8C-40EA-92E1-8E6D75010CAB}" vid="{C1504121-3530-4207-81A7-E4CD6CD6B810}"/>
    </a:ext>
  </a:extLst>
</a:theme>
</file>

<file path=ppt/theme/theme3.xml><?xml version="1.0" encoding="utf-8"?>
<a:theme xmlns:a="http://schemas.openxmlformats.org/drawingml/2006/main" name="1_EY dark background">
  <a:themeElements>
    <a:clrScheme name="EY Color">
      <a:dk1>
        <a:srgbClr val="2E2E38"/>
      </a:dk1>
      <a:lt1>
        <a:sysClr val="window" lastClr="FFFFFF"/>
      </a:lt1>
      <a:dk2>
        <a:srgbClr val="FFE600"/>
      </a:dk2>
      <a:lt2>
        <a:srgbClr val="000000"/>
      </a:lt2>
      <a:accent1>
        <a:srgbClr val="2DB757"/>
      </a:accent1>
      <a:accent2>
        <a:srgbClr val="27ACAA"/>
      </a:accent2>
      <a:accent3>
        <a:srgbClr val="188CE5"/>
      </a:accent3>
      <a:accent4>
        <a:srgbClr val="3D108A"/>
      </a:accent4>
      <a:accent5>
        <a:srgbClr val="FF4136"/>
      </a:accent5>
      <a:accent6>
        <a:srgbClr val="FF6D00"/>
      </a:accent6>
      <a:hlink>
        <a:srgbClr val="0000FF"/>
      </a:hlink>
      <a:folHlink>
        <a:srgbClr val="800080"/>
      </a:folHlink>
    </a:clrScheme>
    <a:fontScheme name="Custom 1">
      <a:majorFont>
        <a:latin typeface="EYInterstate Light"/>
        <a:ea typeface=""/>
        <a:cs typeface=""/>
      </a:majorFont>
      <a:minorFont>
        <a:latin typeface="EYInterstate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t" anchorCtr="0"/>
      <a:lstStyle>
        <a:defPPr algn="ctr">
          <a:defRPr sz="12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36576" rIns="0" bIns="0" rtlCol="0">
        <a:spAutoFit/>
      </a:bodyPr>
      <a:lstStyle>
        <a:defPPr marL="356616" indent="-356616">
          <a:lnSpc>
            <a:spcPct val="85000"/>
          </a:lnSpc>
          <a:spcAft>
            <a:spcPts val="600"/>
          </a:spcAft>
          <a:buClr>
            <a:schemeClr val="accent2"/>
          </a:buClr>
          <a:buSzPct val="70000"/>
          <a:buFont typeface="Arial" pitchFamily="34" charset="0"/>
          <a:buChar char="►"/>
          <a:defRPr sz="1200" dirty="0" err="1" smtClean="0">
            <a:solidFill>
              <a:schemeClr val="bg1"/>
            </a:solidFill>
          </a:defRPr>
        </a:defPPr>
      </a:lstStyle>
    </a:txDef>
  </a:objectDefaults>
  <a:extraClrSchemeLst/>
</a:theme>
</file>

<file path=ppt/theme/theme4.xml><?xml version="1.0" encoding="utf-8"?>
<a:theme xmlns:a="http://schemas.openxmlformats.org/drawingml/2006/main" name="2_EY dark background">
  <a:themeElements>
    <a:clrScheme name="EY Color">
      <a:dk1>
        <a:srgbClr val="2E2E38"/>
      </a:dk1>
      <a:lt1>
        <a:sysClr val="window" lastClr="FFFFFF"/>
      </a:lt1>
      <a:dk2>
        <a:srgbClr val="FFE600"/>
      </a:dk2>
      <a:lt2>
        <a:srgbClr val="000000"/>
      </a:lt2>
      <a:accent1>
        <a:srgbClr val="2DB757"/>
      </a:accent1>
      <a:accent2>
        <a:srgbClr val="27ACAA"/>
      </a:accent2>
      <a:accent3>
        <a:srgbClr val="188CE5"/>
      </a:accent3>
      <a:accent4>
        <a:srgbClr val="3D108A"/>
      </a:accent4>
      <a:accent5>
        <a:srgbClr val="FF4136"/>
      </a:accent5>
      <a:accent6>
        <a:srgbClr val="FF6D00"/>
      </a:accent6>
      <a:hlink>
        <a:srgbClr val="0000FF"/>
      </a:hlink>
      <a:folHlink>
        <a:srgbClr val="800080"/>
      </a:folHlink>
    </a:clrScheme>
    <a:fontScheme name="Custom 1">
      <a:majorFont>
        <a:latin typeface="EYInterstate Light"/>
        <a:ea typeface=""/>
        <a:cs typeface=""/>
      </a:majorFont>
      <a:minorFont>
        <a:latin typeface="EYInterstate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t" anchorCtr="0"/>
      <a:lstStyle>
        <a:defPPr algn="ctr">
          <a:defRPr sz="12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36576" rIns="0" bIns="0" rtlCol="0">
        <a:spAutoFit/>
      </a:bodyPr>
      <a:lstStyle>
        <a:defPPr marL="356616" indent="-356616">
          <a:lnSpc>
            <a:spcPct val="85000"/>
          </a:lnSpc>
          <a:spcAft>
            <a:spcPts val="600"/>
          </a:spcAft>
          <a:buClr>
            <a:schemeClr val="accent2"/>
          </a:buClr>
          <a:buSzPct val="70000"/>
          <a:buFont typeface="Arial" pitchFamily="34" charset="0"/>
          <a:buChar char="►"/>
          <a:defRPr sz="1200" dirty="0" err="1" smtClean="0">
            <a:solidFill>
              <a:schemeClr val="bg1"/>
            </a:solidFill>
          </a:defRPr>
        </a:defPPr>
      </a:lstStyle>
    </a:txDef>
  </a:objectDefaults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7526</TotalTime>
  <Words>1149</Words>
  <Application>Microsoft Office PowerPoint</Application>
  <PresentationFormat>Widescreen</PresentationFormat>
  <Paragraphs>157</Paragraphs>
  <Slides>39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9</vt:i4>
      </vt:variant>
    </vt:vector>
  </HeadingPairs>
  <TitlesOfParts>
    <vt:vector size="53" baseType="lpstr">
      <vt:lpstr>Amasis MT Pro Black</vt:lpstr>
      <vt:lpstr>Arial</vt:lpstr>
      <vt:lpstr>Barlow</vt:lpstr>
      <vt:lpstr>Calibri</vt:lpstr>
      <vt:lpstr>Cambria Math</vt:lpstr>
      <vt:lpstr>EYInterstate</vt:lpstr>
      <vt:lpstr>EYInterstate Light</vt:lpstr>
      <vt:lpstr>Georgia</vt:lpstr>
      <vt:lpstr>Times New Roman</vt:lpstr>
      <vt:lpstr>EY light background</vt:lpstr>
      <vt:lpstr>1_EY light background</vt:lpstr>
      <vt:lpstr>1_EY dark background</vt:lpstr>
      <vt:lpstr>2_EY dark background</vt:lpstr>
      <vt:lpstr>think-cell Slide</vt:lpstr>
      <vt:lpstr>PowerPoint Presentation</vt:lpstr>
      <vt:lpstr>PowerPoint Presentation</vt:lpstr>
      <vt:lpstr>PowerPoint Presentation</vt:lpstr>
      <vt:lpstr>Market Data</vt:lpstr>
      <vt:lpstr>Dupire Implementation</vt:lpstr>
      <vt:lpstr>Introduction to Local Volatility</vt:lpstr>
      <vt:lpstr>Local Volatility </vt:lpstr>
      <vt:lpstr>The Unknown Variables </vt:lpstr>
      <vt:lpstr>Steps </vt:lpstr>
      <vt:lpstr>PowerPoint Presentation</vt:lpstr>
      <vt:lpstr>Checking the fit around ATM </vt:lpstr>
      <vt:lpstr>PowerPoint Presentation</vt:lpstr>
      <vt:lpstr>PowerPoint Presentation</vt:lpstr>
      <vt:lpstr>Implied Volatility Mesh vs  Local Volatility Markers</vt:lpstr>
      <vt:lpstr>PowerPoint Presentation</vt:lpstr>
      <vt:lpstr>PowerPoint Presentation</vt:lpstr>
      <vt:lpstr>Key Learnings</vt:lpstr>
      <vt:lpstr>Heston Implementation</vt:lpstr>
      <vt:lpstr>Heston model</vt:lpstr>
      <vt:lpstr>Solving by Characteristic Functions under risk neutral measure</vt:lpstr>
      <vt:lpstr>Solving by Characteristic Functions under risk neutral measure</vt:lpstr>
      <vt:lpstr>PowerPoint Presentation</vt:lpstr>
      <vt:lpstr>Heston Pricing function – COS Method</vt:lpstr>
      <vt:lpstr>Steps</vt:lpstr>
      <vt:lpstr>PowerPoint Presentation</vt:lpstr>
      <vt:lpstr>PowerPoint Presentation</vt:lpstr>
      <vt:lpstr>PowerPoint Presentation</vt:lpstr>
      <vt:lpstr>PowerPoint Presentation</vt:lpstr>
      <vt:lpstr>Implied Volatility Mesh vs  Heston Implied Volatility Markers</vt:lpstr>
      <vt:lpstr>PowerPoint Presentation</vt:lpstr>
      <vt:lpstr>PowerPoint Presentation</vt:lpstr>
      <vt:lpstr>PowerPoint Presentation</vt:lpstr>
      <vt:lpstr>PowerPoint Presentation</vt:lpstr>
      <vt:lpstr>Key Learnings</vt:lpstr>
      <vt:lpstr>Pricing</vt:lpstr>
      <vt:lpstr>Bull-Call Spread → call(low strike) - call(high strike)  </vt:lpstr>
      <vt:lpstr>Butterfly Spread → call(low strike) + call(high strike) – 2*call(written strike) </vt:lpstr>
      <vt:lpstr>Long Straddle → Call(Strike) + Put(Strike)</vt:lpstr>
      <vt:lpstr>Q &amp; A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troduction to Local Volatility</dc:title>
  <dc:creator>Ayush Upendranath Bhupal</dc:creator>
  <cp:lastModifiedBy>Ayush Upendranath Bhupal</cp:lastModifiedBy>
  <cp:revision>1</cp:revision>
  <dcterms:created xsi:type="dcterms:W3CDTF">2022-07-27T10:46:22Z</dcterms:created>
  <dcterms:modified xsi:type="dcterms:W3CDTF">2022-08-05T10:23:02Z</dcterms:modified>
</cp:coreProperties>
</file>